
<file path=[Content_Types].xml><?xml version="1.0" encoding="utf-8"?>
<Types xmlns="http://schemas.openxmlformats.org/package/2006/content-types">
  <Default Extension="jpeg" ContentType="image/jpeg"/>
  <Default Extension="mp3" ContentType="audio/m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tags/tag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2.xml" ContentType="application/vnd.openxmlformats-officedocument.drawingml.chart+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4.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5.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6.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48" r:id="rId1"/>
  </p:sldMasterIdLst>
  <p:notesMasterIdLst>
    <p:notesMasterId r:id="rId30"/>
  </p:notesMasterIdLst>
  <p:handoutMasterIdLst>
    <p:handoutMasterId r:id="rId31"/>
  </p:handoutMasterIdLst>
  <p:sldIdLst>
    <p:sldId id="3170" r:id="rId2"/>
    <p:sldId id="3172" r:id="rId3"/>
    <p:sldId id="3196" r:id="rId4"/>
    <p:sldId id="3188" r:id="rId5"/>
    <p:sldId id="3186" r:id="rId6"/>
    <p:sldId id="3193" r:id="rId7"/>
    <p:sldId id="3175" r:id="rId8"/>
    <p:sldId id="3183" r:id="rId9"/>
    <p:sldId id="3197" r:id="rId10"/>
    <p:sldId id="3187" r:id="rId11"/>
    <p:sldId id="3182" r:id="rId12"/>
    <p:sldId id="3192" r:id="rId13"/>
    <p:sldId id="3176" r:id="rId14"/>
    <p:sldId id="3198" r:id="rId15"/>
    <p:sldId id="3179" r:id="rId16"/>
    <p:sldId id="3190" r:id="rId17"/>
    <p:sldId id="3184" r:id="rId18"/>
    <p:sldId id="3191" r:id="rId19"/>
    <p:sldId id="3199" r:id="rId20"/>
    <p:sldId id="3177" r:id="rId21"/>
    <p:sldId id="3181" r:id="rId22"/>
    <p:sldId id="3185" r:id="rId23"/>
    <p:sldId id="3189" r:id="rId24"/>
    <p:sldId id="3200" r:id="rId25"/>
    <p:sldId id="3178" r:id="rId26"/>
    <p:sldId id="3195" r:id="rId27"/>
    <p:sldId id="3194" r:id="rId28"/>
    <p:sldId id="3201" r:id="rId29"/>
  </p:sldIdLst>
  <p:sldSz cx="9001125" cy="5040313"/>
  <p:notesSz cx="6858000" cy="9144000"/>
  <p:custDataLst>
    <p:tags r:id="rId32"/>
  </p:custDataLst>
  <p:defaultTex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47040" indent="-127635"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896620" indent="-257175"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45565" indent="-38735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795145" indent="-51689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1597660" algn="l" defTabSz="63881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1917065" algn="l" defTabSz="63881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2236470" algn="l" defTabSz="63881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2555875" algn="l" defTabSz="638810" rtl="0" eaLnBrk="1" latinLnBrk="0" hangingPunct="1">
      <a:defRPr kern="1200">
        <a:solidFill>
          <a:schemeClr val="tx1"/>
        </a:solidFill>
        <a:latin typeface="Calibri" panose="020F0502020204030204" pitchFamily="34" charset="0"/>
        <a:ea typeface="宋体" panose="02010600030101010101" pitchFamily="2" charset="-122"/>
        <a:cs typeface="+mn-cs"/>
      </a:defRPr>
    </a:lvl9pPr>
  </p:defaultTextStyle>
  <p:extLst>
    <p:ext uri="{EFAFB233-063F-42B5-8137-9DF3F51BA10A}">
      <p15:sldGuideLst xmlns:p15="http://schemas.microsoft.com/office/powerpoint/2012/main">
        <p15:guide id="1" orient="horz" pos="229">
          <p15:clr>
            <a:srgbClr val="A4A3A4"/>
          </p15:clr>
        </p15:guide>
        <p15:guide id="2" orient="horz" pos="2915">
          <p15:clr>
            <a:srgbClr val="A4A3A4"/>
          </p15:clr>
        </p15:guide>
        <p15:guide id="3" pos="2835">
          <p15:clr>
            <a:srgbClr val="A4A3A4"/>
          </p15:clr>
        </p15:guide>
        <p15:guide id="4" pos="390">
          <p15:clr>
            <a:srgbClr val="A4A3A4"/>
          </p15:clr>
        </p15:guide>
        <p15:guide id="5" pos="5248">
          <p15:clr>
            <a:srgbClr val="A4A3A4"/>
          </p15:clr>
        </p15:guide>
        <p15:guide id="6" pos="4836">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A4E3"/>
    <a:srgbClr val="0070C0"/>
    <a:srgbClr val="07A9E6"/>
    <a:srgbClr val="00AEEF"/>
    <a:srgbClr val="015077"/>
    <a:srgbClr val="000F21"/>
    <a:srgbClr val="133E73"/>
    <a:srgbClr val="14427A"/>
    <a:srgbClr val="051931"/>
    <a:srgbClr val="04183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819" autoAdjust="0"/>
    <p:restoredTop sz="95317" autoAdjust="0"/>
  </p:normalViewPr>
  <p:slideViewPr>
    <p:cSldViewPr>
      <p:cViewPr varScale="1">
        <p:scale>
          <a:sx n="116" d="100"/>
          <a:sy n="116" d="100"/>
        </p:scale>
        <p:origin x="582" y="114"/>
      </p:cViewPr>
      <p:guideLst>
        <p:guide orient="horz" pos="229"/>
        <p:guide orient="horz" pos="2915"/>
        <p:guide pos="2835"/>
        <p:guide pos="390"/>
        <p:guide pos="5248"/>
        <p:guide pos="4836"/>
      </p:guideLst>
    </p:cSldViewPr>
  </p:slideViewPr>
  <p:outlineViewPr>
    <p:cViewPr>
      <p:scale>
        <a:sx n="100" d="100"/>
        <a:sy n="100" d="100"/>
      </p:scale>
      <p:origin x="0" y="-9972"/>
    </p:cViewPr>
  </p:outlineViewPr>
  <p:notesTextViewPr>
    <p:cViewPr>
      <p:scale>
        <a:sx n="1" d="1"/>
        <a:sy n="1" d="1"/>
      </p:scale>
      <p:origin x="0" y="0"/>
    </p:cViewPr>
  </p:notesTextViewPr>
  <p:sorterViewPr showFormatting="0">
    <p:cViewPr>
      <p:scale>
        <a:sx n="50" d="100"/>
        <a:sy n="50" d="100"/>
      </p:scale>
      <p:origin x="0" y="0"/>
    </p:cViewPr>
  </p:sorterViewPr>
  <p:gridSpacing cx="72006" cy="72006"/>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rgbClr val="00AEE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val>
            <c:numRef>
              <c:f>Sheet1!$B$2</c:f>
              <c:numCache>
                <c:formatCode>0%</c:formatCode>
                <c:ptCount val="1"/>
                <c:pt idx="0">
                  <c:v>0.35</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系列 1</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 xmlns:c16="http://schemas.microsoft.com/office/drawing/2014/chart" uri="{C3380CC4-5D6E-409C-BE32-E72D297353CC}">
              <c16:uniqueId val="{00000000-34DA-4427-A615-BF5C27A80781}"/>
            </c:ext>
          </c:extLst>
        </c:ser>
        <c:ser>
          <c:idx val="1"/>
          <c:order val="1"/>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val>
            <c:numRef>
              <c:f>Sheet1!$C$2</c:f>
              <c:numCache>
                <c:formatCode>0%</c:formatCode>
                <c:ptCount val="1"/>
                <c:pt idx="0">
                  <c:v>0.750000000000001</c:v>
                </c:pt>
              </c:numCache>
            </c:numRef>
          </c:val>
          <c:extLst>
            <c:ext xmlns:c15="http://schemas.microsoft.com/office/drawing/2012/chart" uri="{02D57815-91ED-43cb-92C2-25804820EDAC}">
              <c15:filteredSeriesTitle>
                <c15:tx>
                  <c:strRef>
                    <c:extLst>
                      <c:ext uri="{02D57815-91ED-43cb-92C2-25804820EDAC}">
                        <c15:formulaRef>
                          <c15:sqref>Sheet1!$C$1</c15:sqref>
                        </c15:formulaRef>
                      </c:ext>
                    </c:extLst>
                    <c:strCache>
                      <c:ptCount val="1"/>
                      <c:pt idx="0">
                        <c:v>系列 2</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 xmlns:c16="http://schemas.microsoft.com/office/drawing/2014/chart" uri="{C3380CC4-5D6E-409C-BE32-E72D297353CC}">
              <c16:uniqueId val="{00000001-34DA-4427-A615-BF5C27A80781}"/>
            </c:ext>
          </c:extLst>
        </c:ser>
        <c:ser>
          <c:idx val="2"/>
          <c:order val="2"/>
          <c:spPr>
            <a:solidFill>
              <a:srgbClr val="00AEEF"/>
            </a:solidFill>
            <a:ln>
              <a:noFill/>
            </a:ln>
            <a:effectLst/>
          </c:spPr>
          <c:invertIfNegative val="0"/>
          <c:dPt>
            <c:idx val="0"/>
            <c:invertIfNegative val="0"/>
            <c:bubble3D val="0"/>
            <c:extLst>
              <c:ext xmlns:c16="http://schemas.microsoft.com/office/drawing/2014/chart" uri="{C3380CC4-5D6E-409C-BE32-E72D297353CC}">
                <c16:uniqueId val="{00000002-34DA-4427-A615-BF5C27A80781}"/>
              </c:ext>
            </c:extLst>
          </c:dPt>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val>
            <c:numRef>
              <c:f>Sheet1!$D$2</c:f>
              <c:numCache>
                <c:formatCode>0%</c:formatCode>
                <c:ptCount val="1"/>
                <c:pt idx="0">
                  <c:v>0.60000000000000098</c:v>
                </c:pt>
              </c:numCache>
            </c:numRef>
          </c:val>
          <c:extLst>
            <c:ext xmlns:c15="http://schemas.microsoft.com/office/drawing/2012/chart" uri="{02D57815-91ED-43cb-92C2-25804820EDAC}">
              <c15:filteredSeriesTitle>
                <c15:tx>
                  <c:strRef>
                    <c:extLst>
                      <c:ext uri="{02D57815-91ED-43cb-92C2-25804820EDAC}">
                        <c15:formulaRef>
                          <c15:sqref>Sheet1!$D$1</c15:sqref>
                        </c15:formulaRef>
                      </c:ext>
                    </c:extLst>
                    <c:strCache>
                      <c:ptCount val="1"/>
                      <c:pt idx="0">
                        <c:v>系列 3</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 xmlns:c16="http://schemas.microsoft.com/office/drawing/2014/chart" uri="{C3380CC4-5D6E-409C-BE32-E72D297353CC}">
              <c16:uniqueId val="{00000003-34DA-4427-A615-BF5C27A80781}"/>
            </c:ext>
          </c:extLst>
        </c:ser>
        <c:ser>
          <c:idx val="3"/>
          <c:order val="3"/>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val>
            <c:numRef>
              <c:f>Sheet1!$E$2</c:f>
              <c:numCache>
                <c:formatCode>0%</c:formatCode>
                <c:ptCount val="1"/>
                <c:pt idx="0">
                  <c:v>0.8</c:v>
                </c:pt>
              </c:numCache>
            </c:numRef>
          </c:val>
          <c:extLst>
            <c:ext xmlns:c15="http://schemas.microsoft.com/office/drawing/2012/chart" uri="{02D57815-91ED-43cb-92C2-25804820EDAC}">
              <c15:filteredSeriesTitle>
                <c15:tx>
                  <c:strRef>
                    <c:extLst>
                      <c:ext uri="{02D57815-91ED-43cb-92C2-25804820EDAC}">
                        <c15:formulaRef>
                          <c15:sqref>Sheet1!$E$1</c15:sqref>
                        </c15:formulaRef>
                      </c:ext>
                    </c:extLst>
                    <c:strCache>
                      <c:ptCount val="1"/>
                      <c:pt idx="0">
                        <c:v>系列 4</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 xmlns:c16="http://schemas.microsoft.com/office/drawing/2014/chart" uri="{C3380CC4-5D6E-409C-BE32-E72D297353CC}">
              <c16:uniqueId val="{00000004-34DA-4427-A615-BF5C27A80781}"/>
            </c:ext>
          </c:extLst>
        </c:ser>
        <c:ser>
          <c:idx val="4"/>
          <c:order val="4"/>
          <c:spPr>
            <a:solidFill>
              <a:srgbClr val="00AEE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bg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val>
            <c:numRef>
              <c:f>Sheet1!$F$2</c:f>
              <c:numCache>
                <c:formatCode>0%</c:formatCode>
                <c:ptCount val="1"/>
                <c:pt idx="0">
                  <c:v>0.60000000000000098</c:v>
                </c:pt>
              </c:numCache>
            </c:numRef>
          </c:val>
          <c:extLst>
            <c:ext xmlns:c15="http://schemas.microsoft.com/office/drawing/2012/chart" uri="{02D57815-91ED-43cb-92C2-25804820EDAC}">
              <c15:filteredSeriesTitle>
                <c15:tx>
                  <c:strRef>
                    <c:extLst>
                      <c:ext uri="{02D57815-91ED-43cb-92C2-25804820EDAC}">
                        <c15:formulaRef>
                          <c15:sqref>Sheet1!$F$1</c15:sqref>
                        </c15:formulaRef>
                      </c:ext>
                    </c:extLst>
                    <c:strCache>
                      <c:ptCount val="1"/>
                      <c:pt idx="0">
                        <c:v>系列 5</c:v>
                      </c:pt>
                    </c:strCache>
                  </c:strRef>
                </c15:tx>
              </c15:filteredSeriesTitle>
            </c:ext>
            <c:ext xmlns:c15="http://schemas.microsoft.com/office/drawing/2012/chart" uri="{02D57815-91ED-43cb-92C2-25804820EDAC}">
              <c15:filteredCategoryTitle>
                <c15:cat>
                  <c:strRef>
                    <c:extLst>
                      <c:ext uri="{02D57815-91ED-43cb-92C2-25804820EDAC}">
                        <c15:formulaRef>
                          <c15:sqref>Sheet1!$A$2</c15:sqref>
                        </c15:formulaRef>
                      </c:ext>
                    </c:extLst>
                    <c:strCache>
                      <c:ptCount val="1"/>
                      <c:pt idx="0">
                        <c:v>类别 1</c:v>
                      </c:pt>
                    </c:strCache>
                  </c:strRef>
                </c15:cat>
              </c15:filteredCategoryTitle>
            </c:ext>
            <c:ext xmlns:c16="http://schemas.microsoft.com/office/drawing/2014/chart" uri="{C3380CC4-5D6E-409C-BE32-E72D297353CC}">
              <c16:uniqueId val="{00000005-34DA-4427-A615-BF5C27A80781}"/>
            </c:ext>
          </c:extLst>
        </c:ser>
        <c:dLbls>
          <c:showLegendKey val="0"/>
          <c:showVal val="0"/>
          <c:showCatName val="0"/>
          <c:showSerName val="0"/>
          <c:showPercent val="0"/>
          <c:showBubbleSize val="0"/>
        </c:dLbls>
        <c:gapWidth val="110"/>
        <c:overlap val="-50"/>
        <c:axId val="325176304"/>
        <c:axId val="325176864"/>
      </c:barChart>
      <c:catAx>
        <c:axId val="325176304"/>
        <c:scaling>
          <c:orientation val="minMax"/>
        </c:scaling>
        <c:delete val="1"/>
        <c:axPos val="l"/>
        <c:numFmt formatCode="General" sourceLinked="1"/>
        <c:majorTickMark val="none"/>
        <c:minorTickMark val="none"/>
        <c:tickLblPos val="none"/>
        <c:crossAx val="325176864"/>
        <c:crosses val="autoZero"/>
        <c:auto val="1"/>
        <c:lblAlgn val="ctr"/>
        <c:lblOffset val="100"/>
        <c:noMultiLvlLbl val="0"/>
      </c:catAx>
      <c:valAx>
        <c:axId val="325176864"/>
        <c:scaling>
          <c:orientation val="minMax"/>
        </c:scaling>
        <c:delete val="1"/>
        <c:axPos val="b"/>
        <c:numFmt formatCode="0%" sourceLinked="1"/>
        <c:majorTickMark val="none"/>
        <c:minorTickMark val="none"/>
        <c:tickLblPos val="none"/>
        <c:crossAx val="325176304"/>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0070C0"/>
            </a:solidFill>
          </c:spPr>
          <c:invertIfNegative val="0"/>
          <c:val>
            <c:numRef>
              <c:f>Sheet1!$B$2:$B$5</c:f>
              <c:numCache>
                <c:formatCode>General</c:formatCode>
                <c:ptCount val="4"/>
                <c:pt idx="0">
                  <c:v>4.3</c:v>
                </c:pt>
                <c:pt idx="1">
                  <c:v>2.5</c:v>
                </c:pt>
                <c:pt idx="2">
                  <c:v>3.5</c:v>
                </c:pt>
                <c:pt idx="3">
                  <c:v>4.5</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系列 1</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类别 1</c:v>
                      </c:pt>
                      <c:pt idx="1">
                        <c:v>类别 2</c:v>
                      </c:pt>
                      <c:pt idx="2">
                        <c:v>类别 3</c:v>
                      </c:pt>
                      <c:pt idx="3">
                        <c:v>类别 4</c:v>
                      </c:pt>
                    </c:strCache>
                  </c:strRef>
                </c15:cat>
              </c15:filteredCategoryTitle>
            </c:ext>
            <c:ext xmlns:c16="http://schemas.microsoft.com/office/drawing/2014/chart" uri="{C3380CC4-5D6E-409C-BE32-E72D297353CC}">
              <c16:uniqueId val="{00000000-0061-4DFA-A935-D2EDED348996}"/>
            </c:ext>
          </c:extLst>
        </c:ser>
        <c:ser>
          <c:idx val="1"/>
          <c:order val="1"/>
          <c:spPr>
            <a:solidFill>
              <a:srgbClr val="00AEEF"/>
            </a:solidFill>
          </c:spPr>
          <c:invertIfNegative val="0"/>
          <c:val>
            <c:numRef>
              <c:f>Sheet1!$C$2:$C$5</c:f>
              <c:numCache>
                <c:formatCode>General</c:formatCode>
                <c:ptCount val="4"/>
                <c:pt idx="0">
                  <c:v>2.4</c:v>
                </c:pt>
                <c:pt idx="1">
                  <c:v>4.4000000000000004</c:v>
                </c:pt>
                <c:pt idx="2">
                  <c:v>1.8</c:v>
                </c:pt>
                <c:pt idx="3">
                  <c:v>2.8</c:v>
                </c:pt>
              </c:numCache>
            </c:numRef>
          </c:val>
          <c:extLst>
            <c:ext xmlns:c15="http://schemas.microsoft.com/office/drawing/2012/chart" uri="{02D57815-91ED-43cb-92C2-25804820EDAC}">
              <c15:filteredSeriesTitle>
                <c15:tx>
                  <c:strRef>
                    <c:extLst>
                      <c:ext uri="{02D57815-91ED-43cb-92C2-25804820EDAC}">
                        <c15:formulaRef>
                          <c15:sqref>Sheet1!$C$1</c15:sqref>
                        </c15:formulaRef>
                      </c:ext>
                    </c:extLst>
                    <c:strCache>
                      <c:ptCount val="1"/>
                      <c:pt idx="0">
                        <c:v>系列 2</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类别 1</c:v>
                      </c:pt>
                      <c:pt idx="1">
                        <c:v>类别 2</c:v>
                      </c:pt>
                      <c:pt idx="2">
                        <c:v>类别 3</c:v>
                      </c:pt>
                      <c:pt idx="3">
                        <c:v>类别 4</c:v>
                      </c:pt>
                    </c:strCache>
                  </c:strRef>
                </c15:cat>
              </c15:filteredCategoryTitle>
            </c:ext>
            <c:ext xmlns:c16="http://schemas.microsoft.com/office/drawing/2014/chart" uri="{C3380CC4-5D6E-409C-BE32-E72D297353CC}">
              <c16:uniqueId val="{00000001-0061-4DFA-A935-D2EDED348996}"/>
            </c:ext>
          </c:extLst>
        </c:ser>
        <c:ser>
          <c:idx val="2"/>
          <c:order val="2"/>
          <c:spPr>
            <a:solidFill>
              <a:srgbClr val="015077"/>
            </a:solidFill>
          </c:spPr>
          <c:invertIfNegative val="0"/>
          <c:val>
            <c:numRef>
              <c:f>Sheet1!$D$2:$D$5</c:f>
              <c:numCache>
                <c:formatCode>General</c:formatCode>
                <c:ptCount val="4"/>
                <c:pt idx="0">
                  <c:v>2</c:v>
                </c:pt>
                <c:pt idx="1">
                  <c:v>2</c:v>
                </c:pt>
                <c:pt idx="2">
                  <c:v>3</c:v>
                </c:pt>
                <c:pt idx="3">
                  <c:v>5</c:v>
                </c:pt>
              </c:numCache>
            </c:numRef>
          </c:val>
          <c:extLst>
            <c:ext xmlns:c15="http://schemas.microsoft.com/office/drawing/2012/chart" uri="{02D57815-91ED-43cb-92C2-25804820EDAC}">
              <c15:filteredSeriesTitle>
                <c15:tx>
                  <c:strRef>
                    <c:extLst>
                      <c:ext uri="{02D57815-91ED-43cb-92C2-25804820EDAC}">
                        <c15:formulaRef>
                          <c15:sqref>Sheet1!$D$1</c15:sqref>
                        </c15:formulaRef>
                      </c:ext>
                    </c:extLst>
                    <c:strCache>
                      <c:ptCount val="1"/>
                      <c:pt idx="0">
                        <c:v>系列 3</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4"/>
                      <c:pt idx="0">
                        <c:v>类别 1</c:v>
                      </c:pt>
                      <c:pt idx="1">
                        <c:v>类别 2</c:v>
                      </c:pt>
                      <c:pt idx="2">
                        <c:v>类别 3</c:v>
                      </c:pt>
                      <c:pt idx="3">
                        <c:v>类别 4</c:v>
                      </c:pt>
                    </c:strCache>
                  </c:strRef>
                </c15:cat>
              </c15:filteredCategoryTitle>
            </c:ext>
            <c:ext xmlns:c16="http://schemas.microsoft.com/office/drawing/2014/chart" uri="{C3380CC4-5D6E-409C-BE32-E72D297353CC}">
              <c16:uniqueId val="{00000002-0061-4DFA-A935-D2EDED348996}"/>
            </c:ext>
          </c:extLst>
        </c:ser>
        <c:dLbls>
          <c:showLegendKey val="0"/>
          <c:showVal val="0"/>
          <c:showCatName val="0"/>
          <c:showSerName val="0"/>
          <c:showPercent val="0"/>
          <c:showBubbleSize val="0"/>
        </c:dLbls>
        <c:gapWidth val="125"/>
        <c:overlap val="-25"/>
        <c:axId val="196445632"/>
        <c:axId val="196444512"/>
      </c:barChart>
      <c:catAx>
        <c:axId val="196445632"/>
        <c:scaling>
          <c:orientation val="minMax"/>
        </c:scaling>
        <c:delete val="0"/>
        <c:axPos val="b"/>
        <c:numFmt formatCode="General" sourceLinked="0"/>
        <c:majorTickMark val="none"/>
        <c:minorTickMark val="none"/>
        <c:tickLblPos val="nextTo"/>
        <c:txPr>
          <a:bodyPr rot="-60000000" spcFirstLastPara="0" vertOverflow="ellipsis" vert="horz" wrap="square" anchor="ctr" anchorCtr="1"/>
          <a:lstStyle/>
          <a:p>
            <a:pPr>
              <a:defRPr lang="zh-CN" sz="1400" b="0" i="0" u="none" strike="noStrike" kern="1200" baseline="0">
                <a:solidFill>
                  <a:schemeClr val="tx1">
                    <a:lumMod val="85000"/>
                    <a:lumOff val="15000"/>
                  </a:schemeClr>
                </a:solidFill>
                <a:latin typeface="微软雅黑" panose="020B0503020204020204" pitchFamily="34" charset="-122"/>
                <a:ea typeface="微软雅黑" panose="020B0503020204020204" pitchFamily="34" charset="-122"/>
                <a:cs typeface="+mn-cs"/>
              </a:defRPr>
            </a:pPr>
            <a:endParaRPr lang="zh-CN"/>
          </a:p>
        </c:txPr>
        <c:crossAx val="196444512"/>
        <c:crosses val="autoZero"/>
        <c:auto val="1"/>
        <c:lblAlgn val="ctr"/>
        <c:lblOffset val="100"/>
        <c:noMultiLvlLbl val="0"/>
      </c:catAx>
      <c:valAx>
        <c:axId val="196444512"/>
        <c:scaling>
          <c:orientation val="minMax"/>
        </c:scaling>
        <c:delete val="0"/>
        <c:axPos val="l"/>
        <c:majorGridlines/>
        <c:numFmt formatCode="General" sourceLinked="1"/>
        <c:majorTickMark val="none"/>
        <c:minorTickMark val="none"/>
        <c:tickLblPos val="nextTo"/>
        <c:txPr>
          <a:bodyPr rot="-60000000" spcFirstLastPara="0" vertOverflow="ellipsis" vert="horz" wrap="square" anchor="ctr" anchorCtr="1"/>
          <a:lstStyle/>
          <a:p>
            <a:pPr>
              <a:defRPr lang="zh-CN" sz="1800" b="0" i="0" u="none" strike="noStrike" kern="1200" baseline="0">
                <a:solidFill>
                  <a:schemeClr val="bg1">
                    <a:lumMod val="85000"/>
                  </a:schemeClr>
                </a:solidFill>
                <a:latin typeface="+mn-lt"/>
                <a:ea typeface="+mn-ea"/>
                <a:cs typeface="+mn-cs"/>
              </a:defRPr>
            </a:pPr>
            <a:endParaRPr lang="zh-CN"/>
          </a:p>
        </c:txPr>
        <c:crossAx val="196445632"/>
        <c:crosses val="autoZero"/>
        <c:crossBetween val="between"/>
      </c:valAx>
      <c:spPr>
        <a:ln>
          <a:noFill/>
        </a:ln>
      </c:spPr>
    </c:plotArea>
    <c:legend>
      <c:legendPos val="b"/>
      <c:overlay val="0"/>
      <c:txPr>
        <a:bodyPr rot="0" spcFirstLastPara="0" vertOverflow="ellipsis" vert="horz" wrap="square" anchor="ctr" anchorCtr="1"/>
        <a:lstStyle/>
        <a:p>
          <a:pPr>
            <a:defRPr lang="zh-CN" sz="1400" b="0" i="0" u="none" strike="noStrike" kern="1200" baseline="0">
              <a:solidFill>
                <a:schemeClr val="bg1">
                  <a:lumMod val="85000"/>
                </a:schemeClr>
              </a:solidFill>
              <a:latin typeface="微软雅黑" panose="020B0503020204020204" pitchFamily="34" charset="-122"/>
              <a:ea typeface="微软雅黑" panose="020B0503020204020204" pitchFamily="34" charset="-122"/>
              <a:cs typeface="+mn-cs"/>
            </a:defRPr>
          </a:pPr>
          <a:endParaRPr lang="zh-CN"/>
        </a:p>
      </c:txPr>
    </c:legend>
    <c:plotVisOnly val="1"/>
    <c:dispBlanksAs val="gap"/>
    <c:showDLblsOverMax val="0"/>
  </c:chart>
  <c:txPr>
    <a:bodyPr/>
    <a:lstStyle/>
    <a:p>
      <a:pPr>
        <a:defRPr lang="zh-CN" sz="1800"/>
      </a:pPr>
      <a:endParaRPr lang="zh-CN"/>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hangingPunct="1">
              <a:defRPr sz="1200" noProof="1"/>
            </a:lvl1pPr>
          </a:lstStyle>
          <a:p>
            <a:pPr>
              <a:defRPr/>
            </a:pPr>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eaLnBrk="1" hangingPunct="1">
              <a:defRPr sz="1200" noProof="1" smtClean="0"/>
            </a:lvl1pPr>
          </a:lstStyle>
          <a:p>
            <a:pPr>
              <a:defRPr/>
            </a:pPr>
            <a:fld id="{843730D4-DAA0-4961-8D66-8018B71D47DD}" type="datetimeFigureOut">
              <a:rPr lang="zh-CN" altLang="en-US"/>
              <a:t>2021/1/5</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eaLnBrk="1" hangingPunct="1">
              <a:defRPr sz="1200" noProof="1"/>
            </a:lvl1pPr>
          </a:lstStyle>
          <a:p>
            <a:pPr>
              <a:defRPr/>
            </a:pPr>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wrap="square" lIns="91440" tIns="45720" rIns="91440" bIns="45720" numCol="1" anchor="b" anchorCtr="0" compatLnSpc="1"/>
          <a:lstStyle>
            <a:lvl1pPr algn="r" eaLnBrk="1" hangingPunct="1">
              <a:defRPr sz="1200" noProof="1"/>
            </a:lvl1pPr>
          </a:lstStyle>
          <a:p>
            <a:fld id="{53CB15B2-6539-414E-885F-134AB7BAEF7A}" type="slidenum">
              <a:rPr altLang="en-US"/>
              <a:t>‹#›</a:t>
            </a:fld>
            <a:endParaRPr lang="zh-CN"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hangingPunct="1">
              <a:defRPr sz="1200" noProof="1"/>
            </a:lvl1pPr>
          </a:lstStyle>
          <a:p>
            <a:pPr>
              <a:defRPr/>
            </a:pPr>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eaLnBrk="1" hangingPunct="1">
              <a:defRPr sz="1200" noProof="1"/>
            </a:lvl1pPr>
          </a:lstStyle>
          <a:p>
            <a:pPr>
              <a:defRPr/>
            </a:pPr>
            <a:fld id="{F20F0E08-FCD4-40FB-9946-C51233C97953}" type="datetimeFigureOut">
              <a:rPr lang="zh-CN" altLang="en-US"/>
              <a:t>2021/1/5</a:t>
            </a:fld>
            <a:endParaRPr lang="zh-CN" altLang="en-US"/>
          </a:p>
        </p:txBody>
      </p:sp>
      <p:sp>
        <p:nvSpPr>
          <p:cNvPr id="2052" name="幻灯片图像占位符 3"/>
          <p:cNvSpPr>
            <a:spLocks noGrp="1" noRot="1" noChangeAspect="1" noChangeArrowheads="1"/>
          </p:cNvSpPr>
          <p:nvPr>
            <p:ph type="sldImg" idx="4294967295"/>
          </p:nvPr>
        </p:nvSpPr>
        <p:spPr bwMode="auto">
          <a:xfrm>
            <a:off x="368300" y="685800"/>
            <a:ext cx="6121400" cy="3429000"/>
          </a:xfrm>
          <a:prstGeom prst="rect">
            <a:avLst/>
          </a:prstGeom>
          <a:noFill/>
          <a:ln w="12700">
            <a:solidFill>
              <a:srgbClr val="000000"/>
            </a:solidFill>
            <a:round/>
          </a:ln>
          <a:extLst>
            <a:ext uri="{909E8E84-426E-40DD-AFC4-6F175D3DCCD1}">
              <a14:hiddenFill xmlns:a14="http://schemas.microsoft.com/office/drawing/2010/main">
                <a:solidFill>
                  <a:srgbClr val="FFFFFF"/>
                </a:solidFill>
              </a14:hiddenFill>
            </a:ext>
          </a:extLst>
        </p:spPr>
      </p:sp>
      <p:sp>
        <p:nvSpPr>
          <p:cNvPr id="3077" name="备注占位符 4"/>
          <p:cNvSpPr>
            <a:spLocks noGrp="1" noChangeArrowheads="1"/>
          </p:cNvSpPr>
          <p:nvPr>
            <p:ph type="body" sz="quarter" idx="9"/>
          </p:nvPr>
        </p:nvSpPr>
        <p:spPr bwMode="auto">
          <a:xfrm>
            <a:off x="685800" y="4343400"/>
            <a:ext cx="5486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hangingPunct="1">
              <a:defRPr sz="1200" noProof="1"/>
            </a:lvl1pPr>
          </a:lstStyle>
          <a:p>
            <a:pPr>
              <a:defRPr/>
            </a:pPr>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lstStyle>
            <a:lvl1pPr algn="r" eaLnBrk="1" hangingPunct="1">
              <a:defRPr sz="1200" noProof="1"/>
            </a:lvl1pPr>
          </a:lstStyle>
          <a:p>
            <a:fld id="{70CA4341-F6FF-475E-A543-0194832CB00B}" type="slidenum">
              <a:rPr altLang="en-US"/>
              <a:t>‹#›</a:t>
            </a:fld>
            <a:endParaRPr lang="zh-CN"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900" kern="1200">
        <a:solidFill>
          <a:schemeClr val="tx1"/>
        </a:solidFill>
        <a:latin typeface="+mn-lt"/>
        <a:ea typeface="+mn-ea"/>
        <a:cs typeface="+mn-cs"/>
      </a:defRPr>
    </a:lvl1pPr>
    <a:lvl2pPr marL="318135" algn="l" rtl="0" eaLnBrk="0" fontAlgn="base" hangingPunct="0">
      <a:spcBef>
        <a:spcPct val="30000"/>
      </a:spcBef>
      <a:spcAft>
        <a:spcPct val="0"/>
      </a:spcAft>
      <a:defRPr sz="900" kern="1200">
        <a:solidFill>
          <a:schemeClr val="tx1"/>
        </a:solidFill>
        <a:latin typeface="+mn-lt"/>
        <a:ea typeface="+mn-ea"/>
        <a:cs typeface="+mn-cs"/>
      </a:defRPr>
    </a:lvl2pPr>
    <a:lvl3pPr marL="638175" algn="l" rtl="0" eaLnBrk="0" fontAlgn="base" hangingPunct="0">
      <a:spcBef>
        <a:spcPct val="30000"/>
      </a:spcBef>
      <a:spcAft>
        <a:spcPct val="0"/>
      </a:spcAft>
      <a:defRPr sz="900" kern="1200">
        <a:solidFill>
          <a:schemeClr val="tx1"/>
        </a:solidFill>
        <a:latin typeface="+mn-lt"/>
        <a:ea typeface="+mn-ea"/>
        <a:cs typeface="+mn-cs"/>
      </a:defRPr>
    </a:lvl3pPr>
    <a:lvl4pPr marL="957580" algn="l" rtl="0" eaLnBrk="0" fontAlgn="base" hangingPunct="0">
      <a:spcBef>
        <a:spcPct val="30000"/>
      </a:spcBef>
      <a:spcAft>
        <a:spcPct val="0"/>
      </a:spcAft>
      <a:defRPr sz="900" kern="1200">
        <a:solidFill>
          <a:schemeClr val="tx1"/>
        </a:solidFill>
        <a:latin typeface="+mn-lt"/>
        <a:ea typeface="+mn-ea"/>
        <a:cs typeface="+mn-cs"/>
      </a:defRPr>
    </a:lvl4pPr>
    <a:lvl5pPr marL="1276985" algn="l" rtl="0" eaLnBrk="0" fontAlgn="base" hangingPunct="0">
      <a:spcBef>
        <a:spcPct val="30000"/>
      </a:spcBef>
      <a:spcAft>
        <a:spcPct val="0"/>
      </a:spcAft>
      <a:defRPr sz="900" kern="1200">
        <a:solidFill>
          <a:schemeClr val="tx1"/>
        </a:solidFill>
        <a:latin typeface="+mn-lt"/>
        <a:ea typeface="+mn-ea"/>
        <a:cs typeface="+mn-cs"/>
      </a:defRPr>
    </a:lvl5pPr>
    <a:lvl6pPr marL="1597025" algn="l" defTabSz="638810" rtl="0" eaLnBrk="1" latinLnBrk="0" hangingPunct="1">
      <a:defRPr sz="900" kern="1200">
        <a:solidFill>
          <a:schemeClr val="tx1"/>
        </a:solidFill>
        <a:latin typeface="+mn-lt"/>
        <a:ea typeface="+mn-ea"/>
        <a:cs typeface="+mn-cs"/>
      </a:defRPr>
    </a:lvl6pPr>
    <a:lvl7pPr marL="1916430" algn="l" defTabSz="638810" rtl="0" eaLnBrk="1" latinLnBrk="0" hangingPunct="1">
      <a:defRPr sz="900" kern="1200">
        <a:solidFill>
          <a:schemeClr val="tx1"/>
        </a:solidFill>
        <a:latin typeface="+mn-lt"/>
        <a:ea typeface="+mn-ea"/>
        <a:cs typeface="+mn-cs"/>
      </a:defRPr>
    </a:lvl7pPr>
    <a:lvl8pPr marL="2235835" algn="l" defTabSz="638810" rtl="0" eaLnBrk="1" latinLnBrk="0" hangingPunct="1">
      <a:defRPr sz="900" kern="1200">
        <a:solidFill>
          <a:schemeClr val="tx1"/>
        </a:solidFill>
        <a:latin typeface="+mn-lt"/>
        <a:ea typeface="+mn-ea"/>
        <a:cs typeface="+mn-cs"/>
      </a:defRPr>
    </a:lvl8pPr>
    <a:lvl9pPr marL="2555240" algn="l" defTabSz="63881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5123" name="备注占位符 2"/>
          <p:cNvSpPr>
            <a:spLocks noGrp="1" noChangeArrowheads="1"/>
          </p:cNvSpPr>
          <p:nvPr>
            <p:ph type="body" idx="4294967295"/>
          </p:nvPr>
        </p:nvSpPr>
        <p:spPr/>
        <p:txBody>
          <a:bodyPr/>
          <a:lstStyle/>
          <a:p>
            <a:endParaRPr lang="zh-CN" altLang="en-US"/>
          </a:p>
        </p:txBody>
      </p:sp>
      <p:sp>
        <p:nvSpPr>
          <p:cNvPr id="512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5A10EB9B-026B-4DBF-B0DF-F17B4B439C9D}" type="slidenum">
              <a:rPr altLang="en-US"/>
              <a:t>1</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1507" name="备注占位符 2"/>
          <p:cNvSpPr>
            <a:spLocks noGrp="1" noChangeArrowheads="1"/>
          </p:cNvSpPr>
          <p:nvPr>
            <p:ph type="body" idx="4294967295"/>
          </p:nvPr>
        </p:nvSpPr>
        <p:spPr/>
        <p:txBody>
          <a:bodyPr/>
          <a:lstStyle/>
          <a:p>
            <a:endParaRPr lang="zh-CN" altLang="en-US"/>
          </a:p>
        </p:txBody>
      </p:sp>
      <p:sp>
        <p:nvSpPr>
          <p:cNvPr id="21508"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16345D3C-23C6-432D-BC9E-8B62E4F27DC8}" type="slidenum">
              <a:rPr altLang="en-US"/>
              <a:t>10</a:t>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3555" name="备注占位符 2"/>
          <p:cNvSpPr>
            <a:spLocks noGrp="1" noChangeArrowheads="1"/>
          </p:cNvSpPr>
          <p:nvPr>
            <p:ph type="body" idx="4294967295"/>
          </p:nvPr>
        </p:nvSpPr>
        <p:spPr/>
        <p:txBody>
          <a:bodyPr/>
          <a:lstStyle/>
          <a:p>
            <a:endParaRPr lang="zh-CN" altLang="en-US"/>
          </a:p>
        </p:txBody>
      </p:sp>
      <p:sp>
        <p:nvSpPr>
          <p:cNvPr id="2355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5B3601C1-F537-43E9-A2B0-06B5AF4C4BE0}" type="slidenum">
              <a:rPr altLang="en-US"/>
              <a:t>11</a:t>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5603" name="备注占位符 2"/>
          <p:cNvSpPr>
            <a:spLocks noGrp="1" noChangeArrowheads="1"/>
          </p:cNvSpPr>
          <p:nvPr>
            <p:ph type="body" idx="4294967295"/>
          </p:nvPr>
        </p:nvSpPr>
        <p:spPr/>
        <p:txBody>
          <a:bodyPr/>
          <a:lstStyle/>
          <a:p>
            <a:endParaRPr lang="zh-CN" altLang="en-US"/>
          </a:p>
        </p:txBody>
      </p:sp>
      <p:sp>
        <p:nvSpPr>
          <p:cNvPr id="2560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27829C7-A71E-4408-BC14-D8CAF07AD45B}" type="slidenum">
              <a:rPr altLang="en-US"/>
              <a:t>12</a:t>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7651" name="备注占位符 2"/>
          <p:cNvSpPr>
            <a:spLocks noGrp="1" noChangeArrowheads="1"/>
          </p:cNvSpPr>
          <p:nvPr>
            <p:ph type="body" idx="4294967295"/>
          </p:nvPr>
        </p:nvSpPr>
        <p:spPr/>
        <p:txBody>
          <a:bodyPr/>
          <a:lstStyle/>
          <a:p>
            <a:endParaRPr lang="zh-CN" altLang="en-US"/>
          </a:p>
        </p:txBody>
      </p:sp>
      <p:sp>
        <p:nvSpPr>
          <p:cNvPr id="2765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A47F58C-7459-4DEE-840F-2EBC2D08B0DD}" type="slidenum">
              <a:rPr altLang="en-US"/>
              <a:t>13</a:t>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t>14</a:t>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29699" name="备注占位符 2"/>
          <p:cNvSpPr>
            <a:spLocks noGrp="1" noChangeArrowheads="1"/>
          </p:cNvSpPr>
          <p:nvPr>
            <p:ph type="body" idx="4294967295"/>
          </p:nvPr>
        </p:nvSpPr>
        <p:spPr/>
        <p:txBody>
          <a:bodyPr/>
          <a:lstStyle/>
          <a:p>
            <a:endParaRPr lang="zh-CN" altLang="en-US"/>
          </a:p>
        </p:txBody>
      </p:sp>
      <p:sp>
        <p:nvSpPr>
          <p:cNvPr id="29700"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9BD9F74D-7FA8-488F-9913-4BD0933A4EC5}" type="slidenum">
              <a:rPr altLang="en-US"/>
              <a:t>15</a:t>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1747" name="备注占位符 2"/>
          <p:cNvSpPr>
            <a:spLocks noGrp="1" noChangeArrowheads="1"/>
          </p:cNvSpPr>
          <p:nvPr>
            <p:ph type="body" idx="4294967295"/>
          </p:nvPr>
        </p:nvSpPr>
        <p:spPr/>
        <p:txBody>
          <a:bodyPr/>
          <a:lstStyle/>
          <a:p>
            <a:endParaRPr lang="zh-CN" altLang="en-US"/>
          </a:p>
        </p:txBody>
      </p:sp>
      <p:sp>
        <p:nvSpPr>
          <p:cNvPr id="31748"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B6CCB4E9-9D0A-45DF-9453-F94144BC618C}" type="slidenum">
              <a:rPr altLang="en-US"/>
              <a:t>16</a:t>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3795" name="备注占位符 2"/>
          <p:cNvSpPr>
            <a:spLocks noGrp="1" noChangeArrowheads="1"/>
          </p:cNvSpPr>
          <p:nvPr>
            <p:ph type="body" idx="4294967295"/>
          </p:nvPr>
        </p:nvSpPr>
        <p:spPr/>
        <p:txBody>
          <a:bodyPr/>
          <a:lstStyle/>
          <a:p>
            <a:endParaRPr lang="zh-CN" altLang="en-US"/>
          </a:p>
        </p:txBody>
      </p:sp>
      <p:sp>
        <p:nvSpPr>
          <p:cNvPr id="3379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C42B898C-C619-43F1-BB3A-D7D7FE7EC80F}" type="slidenum">
              <a:rPr altLang="en-US"/>
              <a:t>17</a:t>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5843" name="备注占位符 2"/>
          <p:cNvSpPr>
            <a:spLocks noGrp="1" noChangeArrowheads="1"/>
          </p:cNvSpPr>
          <p:nvPr>
            <p:ph type="body" idx="4294967295"/>
          </p:nvPr>
        </p:nvSpPr>
        <p:spPr/>
        <p:txBody>
          <a:bodyPr/>
          <a:lstStyle/>
          <a:p>
            <a:endParaRPr lang="zh-CN" altLang="en-US"/>
          </a:p>
        </p:txBody>
      </p:sp>
      <p:sp>
        <p:nvSpPr>
          <p:cNvPr id="3584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8912F663-DB0F-4E3C-9FC8-1AC94C39FE5A}" type="slidenum">
              <a:rPr altLang="en-US"/>
              <a:t>18</a:t>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t>19</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t>2</a:t>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7891" name="备注占位符 2"/>
          <p:cNvSpPr>
            <a:spLocks noGrp="1" noChangeArrowheads="1"/>
          </p:cNvSpPr>
          <p:nvPr>
            <p:ph type="body" idx="4294967295"/>
          </p:nvPr>
        </p:nvSpPr>
        <p:spPr/>
        <p:txBody>
          <a:bodyPr/>
          <a:lstStyle/>
          <a:p>
            <a:endParaRPr lang="zh-CN" altLang="en-US"/>
          </a:p>
        </p:txBody>
      </p:sp>
      <p:sp>
        <p:nvSpPr>
          <p:cNvPr id="3789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A3A60DE-3294-4AF8-B174-28228D1CAE8A}" type="slidenum">
              <a:rPr altLang="en-US"/>
              <a:t>20</a:t>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39939" name="备注占位符 2"/>
          <p:cNvSpPr>
            <a:spLocks noGrp="1" noChangeArrowheads="1"/>
          </p:cNvSpPr>
          <p:nvPr>
            <p:ph type="body" idx="4294967295"/>
          </p:nvPr>
        </p:nvSpPr>
        <p:spPr/>
        <p:txBody>
          <a:bodyPr/>
          <a:lstStyle/>
          <a:p>
            <a:endParaRPr lang="zh-CN" altLang="en-US"/>
          </a:p>
        </p:txBody>
      </p:sp>
      <p:sp>
        <p:nvSpPr>
          <p:cNvPr id="39940"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08262D4A-BD17-46EA-B4C9-4B1C5907CA78}" type="slidenum">
              <a:rPr altLang="en-US"/>
              <a:t>21</a:t>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ChangeArrowheads="1" noTextEdit="1"/>
          </p:cNvSpPr>
          <p:nvPr>
            <p:ph type="sldImg" idx="4294967295"/>
          </p:nvPr>
        </p:nvSpPr>
        <p:spPr>
          <a:xfrm>
            <a:off x="2276475" y="514350"/>
            <a:ext cx="4591050" cy="2571750"/>
          </a:xfrm>
          <a:ln>
            <a:miter lim="800000"/>
          </a:ln>
        </p:spPr>
      </p:sp>
      <p:sp>
        <p:nvSpPr>
          <p:cNvPr id="41987" name="Notes Placeholder 2"/>
          <p:cNvSpPr>
            <a:spLocks noGrp="1" noChangeArrowheads="1"/>
          </p:cNvSpPr>
          <p:nvPr>
            <p:ph type="body" idx="4294967295"/>
          </p:nvPr>
        </p:nvSpPr>
        <p:spPr/>
        <p:txBody>
          <a:bodyPr/>
          <a:lstStyle/>
          <a:p>
            <a:endParaRPr lang="en-US" altLang="en-US">
              <a:ea typeface="宋体" panose="02010600030101010101" pitchFamily="2" charset="-122"/>
            </a:endParaRPr>
          </a:p>
        </p:txBody>
      </p:sp>
      <p:sp>
        <p:nvSpPr>
          <p:cNvPr id="41988" name="Header Placeholder 3"/>
          <p:cNvSpPr>
            <a:spLocks noGrp="1" noChangeArrowheads="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r>
              <a:rPr lang="en-US" altLang="en-US"/>
              <a:t>My First Template</a:t>
            </a: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4035" name="备注占位符 2"/>
          <p:cNvSpPr>
            <a:spLocks noGrp="1" noChangeArrowheads="1"/>
          </p:cNvSpPr>
          <p:nvPr>
            <p:ph type="body" idx="4294967295"/>
          </p:nvPr>
        </p:nvSpPr>
        <p:spPr/>
        <p:txBody>
          <a:bodyPr/>
          <a:lstStyle/>
          <a:p>
            <a:endParaRPr lang="zh-CN" altLang="en-US"/>
          </a:p>
        </p:txBody>
      </p:sp>
      <p:sp>
        <p:nvSpPr>
          <p:cNvPr id="4403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8A338069-61B5-440D-ADF5-D23FC9F6D346}" type="slidenum">
              <a:rPr altLang="en-US"/>
              <a:t>23</a:t>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t>24</a:t>
            </a:fld>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6083" name="备注占位符 2"/>
          <p:cNvSpPr>
            <a:spLocks noGrp="1" noChangeArrowheads="1"/>
          </p:cNvSpPr>
          <p:nvPr>
            <p:ph type="body" idx="4294967295"/>
          </p:nvPr>
        </p:nvSpPr>
        <p:spPr/>
        <p:txBody>
          <a:bodyPr/>
          <a:lstStyle/>
          <a:p>
            <a:endParaRPr lang="zh-CN" altLang="en-US"/>
          </a:p>
        </p:txBody>
      </p:sp>
      <p:sp>
        <p:nvSpPr>
          <p:cNvPr id="4608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AE591A0-3760-4EEB-8685-57D159029A34}" type="slidenum">
              <a:rPr altLang="en-US"/>
              <a:t>25</a:t>
            </a:fld>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6083" name="备注占位符 2"/>
          <p:cNvSpPr>
            <a:spLocks noGrp="1" noChangeArrowheads="1"/>
          </p:cNvSpPr>
          <p:nvPr>
            <p:ph type="body" idx="4294967295"/>
          </p:nvPr>
        </p:nvSpPr>
        <p:spPr/>
        <p:txBody>
          <a:bodyPr/>
          <a:lstStyle/>
          <a:p>
            <a:endParaRPr lang="zh-CN" altLang="en-US"/>
          </a:p>
        </p:txBody>
      </p:sp>
      <p:sp>
        <p:nvSpPr>
          <p:cNvPr id="4608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AE591A0-3760-4EEB-8685-57D159029A34}" type="slidenum">
              <a:rPr altLang="en-US"/>
              <a:t>26</a:t>
            </a:fld>
            <a:endParaRPr lang="zh-CN"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46083" name="备注占位符 2"/>
          <p:cNvSpPr>
            <a:spLocks noGrp="1" noChangeArrowheads="1"/>
          </p:cNvSpPr>
          <p:nvPr>
            <p:ph type="body" idx="4294967295"/>
          </p:nvPr>
        </p:nvSpPr>
        <p:spPr/>
        <p:txBody>
          <a:bodyPr/>
          <a:lstStyle/>
          <a:p>
            <a:endParaRPr lang="zh-CN" altLang="en-US"/>
          </a:p>
        </p:txBody>
      </p:sp>
      <p:sp>
        <p:nvSpPr>
          <p:cNvPr id="4608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AE591A0-3760-4EEB-8685-57D159029A34}" type="slidenum">
              <a:rPr altLang="en-US"/>
              <a:t>27</a:t>
            </a:fld>
            <a:endParaRPr lang="zh-CN"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5123" name="备注占位符 2"/>
          <p:cNvSpPr>
            <a:spLocks noGrp="1" noChangeArrowheads="1"/>
          </p:cNvSpPr>
          <p:nvPr>
            <p:ph type="body" idx="4294967295"/>
          </p:nvPr>
        </p:nvSpPr>
        <p:spPr/>
        <p:txBody>
          <a:bodyPr/>
          <a:lstStyle/>
          <a:p>
            <a:endParaRPr lang="zh-CN" altLang="en-US"/>
          </a:p>
        </p:txBody>
      </p:sp>
      <p:sp>
        <p:nvSpPr>
          <p:cNvPr id="512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5A10EB9B-026B-4DBF-B0DF-F17B4B439C9D}" type="slidenum">
              <a:rPr altLang="en-US"/>
              <a:t>28</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t>3</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3315" name="备注占位符 2"/>
          <p:cNvSpPr>
            <a:spLocks noGrp="1" noChangeArrowheads="1"/>
          </p:cNvSpPr>
          <p:nvPr>
            <p:ph type="body" idx="4294967295"/>
          </p:nvPr>
        </p:nvSpPr>
        <p:spPr/>
        <p:txBody>
          <a:bodyPr/>
          <a:lstStyle/>
          <a:p>
            <a:endParaRPr lang="zh-CN" altLang="en-US"/>
          </a:p>
        </p:txBody>
      </p:sp>
      <p:sp>
        <p:nvSpPr>
          <p:cNvPr id="13316"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676A9045-8EEF-42EC-B306-3451D5A561AC}" type="slidenum">
              <a:rPr altLang="en-US"/>
              <a:t>4</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1267" name="备注占位符 2"/>
          <p:cNvSpPr>
            <a:spLocks noGrp="1" noChangeArrowheads="1"/>
          </p:cNvSpPr>
          <p:nvPr>
            <p:ph type="body" idx="4294967295"/>
          </p:nvPr>
        </p:nvSpPr>
        <p:spPr/>
        <p:txBody>
          <a:bodyPr/>
          <a:lstStyle/>
          <a:p>
            <a:endParaRPr lang="zh-CN" altLang="en-US"/>
          </a:p>
        </p:txBody>
      </p:sp>
      <p:sp>
        <p:nvSpPr>
          <p:cNvPr id="11268"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23D0C2F-9BBC-4DC0-9E16-428744801FD4}" type="slidenum">
              <a:rPr altLang="en-US"/>
              <a:t>5</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5363" name="备注占位符 2"/>
          <p:cNvSpPr>
            <a:spLocks noGrp="1" noChangeArrowheads="1"/>
          </p:cNvSpPr>
          <p:nvPr>
            <p:ph type="body" idx="4294967295"/>
          </p:nvPr>
        </p:nvSpPr>
        <p:spPr/>
        <p:txBody>
          <a:bodyPr/>
          <a:lstStyle/>
          <a:p>
            <a:endParaRPr lang="zh-CN" altLang="en-US"/>
          </a:p>
        </p:txBody>
      </p:sp>
      <p:sp>
        <p:nvSpPr>
          <p:cNvPr id="15364"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FA487FC-BDBF-4955-A2AE-666F60F4684B}" type="slidenum">
              <a:rPr altLang="en-US"/>
              <a:t>6</a:t>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7411" name="备注占位符 2"/>
          <p:cNvSpPr>
            <a:spLocks noGrp="1" noChangeArrowheads="1"/>
          </p:cNvSpPr>
          <p:nvPr>
            <p:ph type="body" idx="4294967295"/>
          </p:nvPr>
        </p:nvSpPr>
        <p:spPr/>
        <p:txBody>
          <a:bodyPr/>
          <a:lstStyle/>
          <a:p>
            <a:endParaRPr lang="zh-CN" altLang="en-US"/>
          </a:p>
        </p:txBody>
      </p:sp>
      <p:sp>
        <p:nvSpPr>
          <p:cNvPr id="1741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BBB32EE-EBE1-42F1-AAFD-C69185DD8BFA}" type="slidenum">
              <a:rPr altLang="en-US"/>
              <a:t>7</a:t>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19459" name="备注占位符 2"/>
          <p:cNvSpPr>
            <a:spLocks noGrp="1" noChangeArrowheads="1"/>
          </p:cNvSpPr>
          <p:nvPr>
            <p:ph type="body" idx="4294967295"/>
          </p:nvPr>
        </p:nvSpPr>
        <p:spPr/>
        <p:txBody>
          <a:bodyPr/>
          <a:lstStyle/>
          <a:p>
            <a:endParaRPr lang="zh-CN" altLang="en-US"/>
          </a:p>
        </p:txBody>
      </p:sp>
      <p:sp>
        <p:nvSpPr>
          <p:cNvPr id="19460"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4682E7B-842F-4305-9FA6-D4A70FEFB1CB}" type="slidenum">
              <a:rPr altLang="en-US"/>
              <a:t>8</a:t>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p:cNvSpPr>
            <a:spLocks noGrp="1" noRot="1" noChangeAspect="1" noChangeArrowheads="1" noTextEdit="1"/>
          </p:cNvSpPr>
          <p:nvPr>
            <p:ph type="sldImg" idx="4294967295"/>
          </p:nvPr>
        </p:nvSpPr>
        <p:spPr>
          <a:xfrm>
            <a:off x="368300" y="685800"/>
            <a:ext cx="6121400" cy="3429000"/>
          </a:xfrm>
          <a:ln>
            <a:miter lim="800000"/>
          </a:ln>
        </p:spPr>
      </p:sp>
      <p:sp>
        <p:nvSpPr>
          <p:cNvPr id="7171" name="备注占位符 2"/>
          <p:cNvSpPr>
            <a:spLocks noGrp="1" noChangeArrowheads="1"/>
          </p:cNvSpPr>
          <p:nvPr>
            <p:ph type="body" idx="4294967295"/>
          </p:nvPr>
        </p:nvSpPr>
        <p:spPr/>
        <p:txBody>
          <a:bodyPr/>
          <a:lstStyle/>
          <a:p>
            <a:endParaRPr lang="zh-CN" altLang="en-US"/>
          </a:p>
        </p:txBody>
      </p:sp>
      <p:sp>
        <p:nvSpPr>
          <p:cNvPr id="7172"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8492C4-473B-4884-9882-18225C6ED146}" type="slidenum">
              <a:rPr altLang="en-US"/>
              <a:t>9</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3E156C02-6AC0-4150-BF14-3C2902387D77}" type="datetimeFigureOut">
              <a:rPr lang="zh-CN" altLang="en-US"/>
              <a:t>2021/1/5</a:t>
            </a:fld>
            <a:endParaRPr lang="zh-CN" altLang="en-US"/>
          </a:p>
        </p:txBody>
      </p:sp>
      <p:sp>
        <p:nvSpPr>
          <p:cNvPr id="3" name="Footer Placeholder 4"/>
          <p:cNvSpPr>
            <a:spLocks noGrp="1"/>
          </p:cNvSpPr>
          <p:nvPr>
            <p:ph type="ftr" sz="quarter" idx="11"/>
          </p:nvPr>
        </p:nvSpPr>
        <p:spPr/>
        <p:txBody>
          <a:bodyPr/>
          <a:lstStyle>
            <a:lvl1pPr>
              <a:defRPr/>
            </a:lvl1pPr>
          </a:lstStyle>
          <a:p>
            <a:pPr>
              <a:defRPr/>
            </a:pPr>
            <a:endParaRPr lang="zh-CN" altLang="en-US"/>
          </a:p>
        </p:txBody>
      </p:sp>
      <p:sp>
        <p:nvSpPr>
          <p:cNvPr id="4" name="Slide Number Placeholder 5"/>
          <p:cNvSpPr>
            <a:spLocks noGrp="1"/>
          </p:cNvSpPr>
          <p:nvPr>
            <p:ph type="sldNum" sz="quarter" idx="12"/>
          </p:nvPr>
        </p:nvSpPr>
        <p:spPr/>
        <p:txBody>
          <a:bodyPr/>
          <a:lstStyle>
            <a:lvl1pPr>
              <a:defRPr/>
            </a:lvl1pPr>
          </a:lstStyle>
          <a:p>
            <a:fld id="{287B9ED6-FA7E-4333-AD61-EE26BDBEFB97}" type="slidenum">
              <a:rPr altLang="en-US"/>
              <a:t>‹#›</a:t>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9EE00D82-2001-449E-AD90-3BB6FC1EF930}" type="datetimeFigureOut">
              <a:rPr lang="zh-CN" altLang="en-US"/>
              <a:t>2021/1/5</a:t>
            </a:fld>
            <a:endParaRPr lang="zh-CN" altLang="en-US"/>
          </a:p>
        </p:txBody>
      </p:sp>
      <p:sp>
        <p:nvSpPr>
          <p:cNvPr id="3" name="Footer Placeholder 4"/>
          <p:cNvSpPr>
            <a:spLocks noGrp="1"/>
          </p:cNvSpPr>
          <p:nvPr>
            <p:ph type="ftr" sz="quarter" idx="11"/>
          </p:nvPr>
        </p:nvSpPr>
        <p:spPr/>
        <p:txBody>
          <a:bodyPr/>
          <a:lstStyle>
            <a:lvl1pPr>
              <a:defRPr/>
            </a:lvl1pPr>
          </a:lstStyle>
          <a:p>
            <a:pPr>
              <a:defRPr/>
            </a:pPr>
            <a:endParaRPr lang="zh-CN" altLang="en-US"/>
          </a:p>
        </p:txBody>
      </p:sp>
      <p:sp>
        <p:nvSpPr>
          <p:cNvPr id="4" name="Slide Number Placeholder 5"/>
          <p:cNvSpPr>
            <a:spLocks noGrp="1"/>
          </p:cNvSpPr>
          <p:nvPr>
            <p:ph type="sldNum" sz="quarter" idx="12"/>
          </p:nvPr>
        </p:nvSpPr>
        <p:spPr/>
        <p:txBody>
          <a:bodyPr/>
          <a:lstStyle>
            <a:lvl1pPr>
              <a:defRPr/>
            </a:lvl1pPr>
          </a:lstStyle>
          <a:p>
            <a:fld id="{CB47F294-569F-46BE-9414-D1C28A8AC9F5}" type="slidenum">
              <a:rPr altLang="en-US"/>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Pr>
        <a:gradFill flip="none" rotWithShape="1">
          <a:gsLst>
            <a:gs pos="0">
              <a:srgbClr val="0D2A4D"/>
            </a:gs>
            <a:gs pos="97000">
              <a:srgbClr val="000F21"/>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18967" y="268832"/>
            <a:ext cx="7763193" cy="973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3898" tIns="31949" rIns="63898" bIns="31949" numCol="1" anchor="ctr" anchorCtr="0" compatLnSpc="1"/>
          <a:lstStyle/>
          <a:p>
            <a:pPr lvl="0"/>
            <a:r>
              <a:rPr lang="zh-CN" altLang="en-US" noProof="1"/>
              <a:t>单击此处编辑母版标题样式</a:t>
            </a:r>
            <a:endParaRPr lang="zh-CN" noProof="1"/>
          </a:p>
        </p:txBody>
      </p:sp>
      <p:sp>
        <p:nvSpPr>
          <p:cNvPr id="1027" name="Text Placeholder 2"/>
          <p:cNvSpPr>
            <a:spLocks noGrp="1"/>
          </p:cNvSpPr>
          <p:nvPr>
            <p:ph type="body" idx="1"/>
          </p:nvPr>
        </p:nvSpPr>
        <p:spPr bwMode="auto">
          <a:xfrm>
            <a:off x="618967" y="1341945"/>
            <a:ext cx="7763193" cy="3198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3898" tIns="31949" rIns="63898" bIns="31949" numCol="1" anchor="t" anchorCtr="0" compatLnSpc="1"/>
          <a:lstStyle/>
          <a:p>
            <a:pPr lvl="0"/>
            <a:r>
              <a:rPr lang="zh-CN" altLang="en-US" noProof="1"/>
              <a:t>单击此处编辑母版文本样式</a:t>
            </a:r>
          </a:p>
          <a:p>
            <a:pPr lvl="1"/>
            <a:r>
              <a:rPr lang="zh-CN" altLang="en-US" noProof="1"/>
              <a:t>第二级</a:t>
            </a:r>
          </a:p>
          <a:p>
            <a:pPr lvl="2"/>
            <a:r>
              <a:rPr lang="zh-CN" altLang="en-US" noProof="1"/>
              <a:t>第三级</a:t>
            </a:r>
          </a:p>
          <a:p>
            <a:pPr lvl="3"/>
            <a:r>
              <a:rPr lang="zh-CN" altLang="en-US" noProof="1"/>
              <a:t>第四级</a:t>
            </a:r>
          </a:p>
          <a:p>
            <a:pPr lvl="4"/>
            <a:r>
              <a:rPr lang="zh-CN" altLang="en-US" noProof="1"/>
              <a:t>第五级</a:t>
            </a:r>
            <a:endParaRPr lang="zh-CN" noProof="1"/>
          </a:p>
        </p:txBody>
      </p:sp>
      <p:sp>
        <p:nvSpPr>
          <p:cNvPr id="4" name="Date Placeholder 3"/>
          <p:cNvSpPr>
            <a:spLocks noGrp="1"/>
          </p:cNvSpPr>
          <p:nvPr>
            <p:ph type="dt" sz="half" idx="2"/>
          </p:nvPr>
        </p:nvSpPr>
        <p:spPr>
          <a:xfrm>
            <a:off x="618967" y="4671915"/>
            <a:ext cx="2024698" cy="267725"/>
          </a:xfrm>
          <a:prstGeom prst="rect">
            <a:avLst/>
          </a:prstGeom>
        </p:spPr>
        <p:txBody>
          <a:bodyPr vert="horz" lIns="63898" tIns="31949" rIns="63898" bIns="31949" rtlCol="0" anchor="ctr"/>
          <a:lstStyle>
            <a:lvl1pPr algn="l" eaLnBrk="1" hangingPunct="1">
              <a:defRPr sz="900" noProof="1" smtClean="0">
                <a:solidFill>
                  <a:schemeClr val="tx1">
                    <a:tint val="75000"/>
                  </a:schemeClr>
                </a:solidFill>
              </a:defRPr>
            </a:lvl1pPr>
          </a:lstStyle>
          <a:p>
            <a:pPr>
              <a:defRPr/>
            </a:pPr>
            <a:fld id="{63A56D01-2764-4F3F-81D1-FEDBA43AD549}" type="datetimeFigureOut">
              <a:rPr lang="zh-CN" altLang="en-US"/>
              <a:t>2021/1/5</a:t>
            </a:fld>
            <a:endParaRPr lang="zh-CN" altLang="en-US"/>
          </a:p>
        </p:txBody>
      </p:sp>
      <p:sp>
        <p:nvSpPr>
          <p:cNvPr id="5" name="Footer Placeholder 4"/>
          <p:cNvSpPr>
            <a:spLocks noGrp="1"/>
          </p:cNvSpPr>
          <p:nvPr>
            <p:ph type="ftr" sz="quarter" idx="3"/>
          </p:nvPr>
        </p:nvSpPr>
        <p:spPr>
          <a:xfrm>
            <a:off x="2981484" y="4671915"/>
            <a:ext cx="3038158" cy="267725"/>
          </a:xfrm>
          <a:prstGeom prst="rect">
            <a:avLst/>
          </a:prstGeom>
        </p:spPr>
        <p:txBody>
          <a:bodyPr vert="horz" lIns="63898" tIns="31949" rIns="63898" bIns="31949" rtlCol="0" anchor="ctr"/>
          <a:lstStyle>
            <a:lvl1pPr algn="ctr" eaLnBrk="1" hangingPunct="1">
              <a:defRPr sz="900" noProof="1">
                <a:solidFill>
                  <a:schemeClr val="tx1">
                    <a:tint val="75000"/>
                  </a:schemeClr>
                </a:solidFill>
              </a:defRPr>
            </a:lvl1pPr>
          </a:lstStyle>
          <a:p>
            <a:pPr>
              <a:defRPr/>
            </a:pPr>
            <a:endParaRPr lang="zh-CN" altLang="en-US"/>
          </a:p>
        </p:txBody>
      </p:sp>
      <p:sp>
        <p:nvSpPr>
          <p:cNvPr id="6" name="Slide Number Placeholder 5"/>
          <p:cNvSpPr>
            <a:spLocks noGrp="1"/>
          </p:cNvSpPr>
          <p:nvPr>
            <p:ph type="sldNum" sz="quarter" idx="4"/>
          </p:nvPr>
        </p:nvSpPr>
        <p:spPr>
          <a:xfrm>
            <a:off x="6357462" y="4671915"/>
            <a:ext cx="2024698" cy="267725"/>
          </a:xfrm>
          <a:prstGeom prst="rect">
            <a:avLst/>
          </a:prstGeom>
        </p:spPr>
        <p:txBody>
          <a:bodyPr vert="horz" wrap="square" lIns="63898" tIns="31949" rIns="63898" bIns="31949" numCol="1" anchor="ctr" anchorCtr="0" compatLnSpc="1"/>
          <a:lstStyle>
            <a:lvl1pPr algn="r" eaLnBrk="1" hangingPunct="1">
              <a:defRPr sz="800" noProof="1">
                <a:solidFill>
                  <a:srgbClr val="898989"/>
                </a:solidFill>
              </a:defRPr>
            </a:lvl1pPr>
          </a:lstStyle>
          <a:p>
            <a:fld id="{481A012C-3782-4128-B36B-91F05AF1EE8F}" type="slidenum">
              <a:rPr altLang="en-US"/>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Lst>
  <p:txStyles>
    <p:titleStyle>
      <a:lvl1pPr algn="l" defTabSz="673100" rtl="0" eaLnBrk="0" fontAlgn="base" hangingPunct="0">
        <a:lnSpc>
          <a:spcPct val="90000"/>
        </a:lnSpc>
        <a:spcBef>
          <a:spcPct val="0"/>
        </a:spcBef>
        <a:spcAft>
          <a:spcPct val="0"/>
        </a:spcAft>
        <a:defRPr sz="3200" kern="1200">
          <a:solidFill>
            <a:schemeClr val="tx1"/>
          </a:solidFill>
          <a:latin typeface="+mj-lt"/>
          <a:ea typeface="+mj-ea"/>
          <a:cs typeface="+mj-cs"/>
        </a:defRPr>
      </a:lvl1pPr>
      <a:lvl2pPr algn="l" defTabSz="673100"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2pPr>
      <a:lvl3pPr algn="l" defTabSz="673100"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3pPr>
      <a:lvl4pPr algn="l" defTabSz="673100"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4pPr>
      <a:lvl5pPr algn="l" defTabSz="673100" rtl="0" eaLnBrk="0" fontAlgn="base" hangingPunct="0">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5pPr>
      <a:lvl6pPr marL="319405" algn="l" defTabSz="673100"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6pPr>
      <a:lvl7pPr marL="638810" algn="l" defTabSz="673100"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7pPr>
      <a:lvl8pPr marL="958215" algn="l" defTabSz="673100"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8pPr>
      <a:lvl9pPr marL="1278255" algn="l" defTabSz="673100" rtl="0" fontAlgn="base">
        <a:lnSpc>
          <a:spcPct val="90000"/>
        </a:lnSpc>
        <a:spcBef>
          <a:spcPct val="0"/>
        </a:spcBef>
        <a:spcAft>
          <a:spcPct val="0"/>
        </a:spcAft>
        <a:defRPr sz="3200">
          <a:solidFill>
            <a:schemeClr val="tx1"/>
          </a:solidFill>
          <a:latin typeface="Calibri Light" panose="020F0302020204030204" pitchFamily="34" charset="0"/>
          <a:ea typeface="宋体" panose="02010600030101010101" pitchFamily="2" charset="-122"/>
        </a:defRPr>
      </a:lvl9pPr>
    </p:titleStyle>
    <p:bodyStyle>
      <a:lvl1pPr marL="168910" indent="-168910" algn="l" defTabSz="673100" rtl="0" eaLnBrk="0" fontAlgn="base" hangingPunct="0">
        <a:lnSpc>
          <a:spcPct val="90000"/>
        </a:lnSpc>
        <a:spcBef>
          <a:spcPts val="735"/>
        </a:spcBef>
        <a:spcAft>
          <a:spcPct val="0"/>
        </a:spcAft>
        <a:buFont typeface="Arial" panose="020B0604020202020204" pitchFamily="34" charset="0"/>
        <a:buChar char="•"/>
        <a:defRPr sz="2000" kern="1200">
          <a:solidFill>
            <a:schemeClr val="tx1"/>
          </a:solidFill>
          <a:latin typeface="+mn-lt"/>
          <a:ea typeface="+mn-ea"/>
          <a:cs typeface="+mn-cs"/>
        </a:defRPr>
      </a:lvl1pPr>
      <a:lvl2pPr marL="506095" indent="-168910" algn="l" defTabSz="673100" rtl="0" eaLnBrk="0" fontAlgn="base" hangingPunct="0">
        <a:lnSpc>
          <a:spcPct val="90000"/>
        </a:lnSpc>
        <a:spcBef>
          <a:spcPts val="365"/>
        </a:spcBef>
        <a:spcAft>
          <a:spcPct val="0"/>
        </a:spcAft>
        <a:buFont typeface="Arial" panose="020B0604020202020204" pitchFamily="34" charset="0"/>
        <a:buChar char="•"/>
        <a:defRPr sz="1700" kern="1200">
          <a:solidFill>
            <a:schemeClr val="tx1"/>
          </a:solidFill>
          <a:latin typeface="+mn-lt"/>
          <a:ea typeface="+mn-ea"/>
          <a:cs typeface="+mn-cs"/>
        </a:defRPr>
      </a:lvl2pPr>
      <a:lvl3pPr marL="842010" indent="-168910" algn="l" defTabSz="673100" rtl="0" eaLnBrk="0" fontAlgn="base" hangingPunct="0">
        <a:lnSpc>
          <a:spcPct val="90000"/>
        </a:lnSpc>
        <a:spcBef>
          <a:spcPts val="365"/>
        </a:spcBef>
        <a:spcAft>
          <a:spcPct val="0"/>
        </a:spcAft>
        <a:buFont typeface="Arial" panose="020B0604020202020204" pitchFamily="34" charset="0"/>
        <a:buChar char="•"/>
        <a:defRPr sz="1500" kern="1200">
          <a:solidFill>
            <a:schemeClr val="tx1"/>
          </a:solidFill>
          <a:latin typeface="+mn-lt"/>
          <a:ea typeface="+mn-ea"/>
          <a:cs typeface="+mn-cs"/>
        </a:defRPr>
      </a:lvl3pPr>
      <a:lvl4pPr marL="1179195" indent="-168910" algn="l" defTabSz="673100" rtl="0" eaLnBrk="0" fontAlgn="base" hangingPunct="0">
        <a:lnSpc>
          <a:spcPct val="90000"/>
        </a:lnSpc>
        <a:spcBef>
          <a:spcPts val="365"/>
        </a:spcBef>
        <a:spcAft>
          <a:spcPct val="0"/>
        </a:spcAft>
        <a:buFont typeface="Arial" panose="020B0604020202020204" pitchFamily="34" charset="0"/>
        <a:buChar char="•"/>
        <a:defRPr sz="1300" kern="1200">
          <a:solidFill>
            <a:schemeClr val="tx1"/>
          </a:solidFill>
          <a:latin typeface="+mn-lt"/>
          <a:ea typeface="+mn-ea"/>
          <a:cs typeface="+mn-cs"/>
        </a:defRPr>
      </a:lvl4pPr>
      <a:lvl5pPr marL="1516380" indent="-168910" algn="l" defTabSz="673100" rtl="0" eaLnBrk="0" fontAlgn="base" hangingPunct="0">
        <a:lnSpc>
          <a:spcPct val="90000"/>
        </a:lnSpc>
        <a:spcBef>
          <a:spcPts val="365"/>
        </a:spcBef>
        <a:spcAft>
          <a:spcPct val="0"/>
        </a:spcAft>
        <a:buFont typeface="Arial" panose="020B0604020202020204" pitchFamily="34" charset="0"/>
        <a:buChar char="•"/>
        <a:defRPr sz="1300" kern="1200">
          <a:solidFill>
            <a:schemeClr val="tx1"/>
          </a:solidFill>
          <a:latin typeface="+mn-lt"/>
          <a:ea typeface="+mn-ea"/>
          <a:cs typeface="+mn-cs"/>
        </a:defRPr>
      </a:lvl5pPr>
      <a:lvl6pPr marL="1852930" indent="-168910" algn="l" defTabSz="673735" rtl="0" eaLnBrk="1" latinLnBrk="0" hangingPunct="1">
        <a:lnSpc>
          <a:spcPct val="90000"/>
        </a:lnSpc>
        <a:spcBef>
          <a:spcPts val="365"/>
        </a:spcBef>
        <a:buFont typeface="Arial" panose="020B0604020202020204" pitchFamily="34" charset="0"/>
        <a:buChar char="•"/>
        <a:defRPr sz="1300" kern="1200">
          <a:solidFill>
            <a:schemeClr val="tx1"/>
          </a:solidFill>
          <a:latin typeface="+mn-lt"/>
          <a:ea typeface="+mn-ea"/>
          <a:cs typeface="+mn-cs"/>
        </a:defRPr>
      </a:lvl6pPr>
      <a:lvl7pPr marL="2190115" indent="-168910" algn="l" defTabSz="673735" rtl="0" eaLnBrk="1" latinLnBrk="0" hangingPunct="1">
        <a:lnSpc>
          <a:spcPct val="90000"/>
        </a:lnSpc>
        <a:spcBef>
          <a:spcPts val="365"/>
        </a:spcBef>
        <a:buFont typeface="Arial" panose="020B0604020202020204" pitchFamily="34" charset="0"/>
        <a:buChar char="•"/>
        <a:defRPr sz="1300" kern="1200">
          <a:solidFill>
            <a:schemeClr val="tx1"/>
          </a:solidFill>
          <a:latin typeface="+mn-lt"/>
          <a:ea typeface="+mn-ea"/>
          <a:cs typeface="+mn-cs"/>
        </a:defRPr>
      </a:lvl7pPr>
      <a:lvl8pPr marL="2527300" indent="-168910" algn="l" defTabSz="673735" rtl="0" eaLnBrk="1" latinLnBrk="0" hangingPunct="1">
        <a:lnSpc>
          <a:spcPct val="90000"/>
        </a:lnSpc>
        <a:spcBef>
          <a:spcPts val="365"/>
        </a:spcBef>
        <a:buFont typeface="Arial" panose="020B0604020202020204" pitchFamily="34" charset="0"/>
        <a:buChar char="•"/>
        <a:defRPr sz="1300" kern="1200">
          <a:solidFill>
            <a:schemeClr val="tx1"/>
          </a:solidFill>
          <a:latin typeface="+mn-lt"/>
          <a:ea typeface="+mn-ea"/>
          <a:cs typeface="+mn-cs"/>
        </a:defRPr>
      </a:lvl8pPr>
      <a:lvl9pPr marL="2863850" indent="-168910" algn="l" defTabSz="673735" rtl="0" eaLnBrk="1" latinLnBrk="0" hangingPunct="1">
        <a:lnSpc>
          <a:spcPct val="90000"/>
        </a:lnSpc>
        <a:spcBef>
          <a:spcPts val="365"/>
        </a:spcBef>
        <a:buFont typeface="Arial" panose="020B0604020202020204" pitchFamily="34" charset="0"/>
        <a:buChar char="•"/>
        <a:defRPr sz="1300" kern="1200">
          <a:solidFill>
            <a:schemeClr val="tx1"/>
          </a:solidFill>
          <a:latin typeface="+mn-lt"/>
          <a:ea typeface="+mn-ea"/>
          <a:cs typeface="+mn-cs"/>
        </a:defRPr>
      </a:lvl9pPr>
    </p:bodyStyle>
    <p:otherStyle>
      <a:defPPr>
        <a:defRPr lang="en-US"/>
      </a:defPPr>
      <a:lvl1pPr marL="0" algn="l" defTabSz="673735" rtl="0" eaLnBrk="1" latinLnBrk="0" hangingPunct="1">
        <a:defRPr sz="1300" kern="1200">
          <a:solidFill>
            <a:schemeClr val="tx1"/>
          </a:solidFill>
          <a:latin typeface="+mn-lt"/>
          <a:ea typeface="+mn-ea"/>
          <a:cs typeface="+mn-cs"/>
        </a:defRPr>
      </a:lvl1pPr>
      <a:lvl2pPr marL="336550" algn="l" defTabSz="673735" rtl="0" eaLnBrk="1" latinLnBrk="0" hangingPunct="1">
        <a:defRPr sz="1300" kern="1200">
          <a:solidFill>
            <a:schemeClr val="tx1"/>
          </a:solidFill>
          <a:latin typeface="+mn-lt"/>
          <a:ea typeface="+mn-ea"/>
          <a:cs typeface="+mn-cs"/>
        </a:defRPr>
      </a:lvl2pPr>
      <a:lvl3pPr marL="673735" algn="l" defTabSz="673735" rtl="0" eaLnBrk="1" latinLnBrk="0" hangingPunct="1">
        <a:defRPr sz="1300" kern="1200">
          <a:solidFill>
            <a:schemeClr val="tx1"/>
          </a:solidFill>
          <a:latin typeface="+mn-lt"/>
          <a:ea typeface="+mn-ea"/>
          <a:cs typeface="+mn-cs"/>
        </a:defRPr>
      </a:lvl3pPr>
      <a:lvl4pPr marL="1010920" algn="l" defTabSz="673735" rtl="0" eaLnBrk="1" latinLnBrk="0" hangingPunct="1">
        <a:defRPr sz="1300" kern="1200">
          <a:solidFill>
            <a:schemeClr val="tx1"/>
          </a:solidFill>
          <a:latin typeface="+mn-lt"/>
          <a:ea typeface="+mn-ea"/>
          <a:cs typeface="+mn-cs"/>
        </a:defRPr>
      </a:lvl4pPr>
      <a:lvl5pPr marL="1347470" algn="l" defTabSz="673735" rtl="0" eaLnBrk="1" latinLnBrk="0" hangingPunct="1">
        <a:defRPr sz="1300" kern="1200">
          <a:solidFill>
            <a:schemeClr val="tx1"/>
          </a:solidFill>
          <a:latin typeface="+mn-lt"/>
          <a:ea typeface="+mn-ea"/>
          <a:cs typeface="+mn-cs"/>
        </a:defRPr>
      </a:lvl5pPr>
      <a:lvl6pPr marL="1684655" algn="l" defTabSz="673735" rtl="0" eaLnBrk="1" latinLnBrk="0" hangingPunct="1">
        <a:defRPr sz="1300" kern="1200">
          <a:solidFill>
            <a:schemeClr val="tx1"/>
          </a:solidFill>
          <a:latin typeface="+mn-lt"/>
          <a:ea typeface="+mn-ea"/>
          <a:cs typeface="+mn-cs"/>
        </a:defRPr>
      </a:lvl6pPr>
      <a:lvl7pPr marL="2021840" algn="l" defTabSz="673735" rtl="0" eaLnBrk="1" latinLnBrk="0" hangingPunct="1">
        <a:defRPr sz="1300" kern="1200">
          <a:solidFill>
            <a:schemeClr val="tx1"/>
          </a:solidFill>
          <a:latin typeface="+mn-lt"/>
          <a:ea typeface="+mn-ea"/>
          <a:cs typeface="+mn-cs"/>
        </a:defRPr>
      </a:lvl7pPr>
      <a:lvl8pPr marL="2358390" algn="l" defTabSz="673735" rtl="0" eaLnBrk="1" latinLnBrk="0" hangingPunct="1">
        <a:defRPr sz="1300" kern="1200">
          <a:solidFill>
            <a:schemeClr val="tx1"/>
          </a:solidFill>
          <a:latin typeface="+mn-lt"/>
          <a:ea typeface="+mn-ea"/>
          <a:cs typeface="+mn-cs"/>
        </a:defRPr>
      </a:lvl8pPr>
      <a:lvl9pPr marL="2695575" algn="l" defTabSz="673735" rtl="0" eaLnBrk="1" latinLnBrk="0"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3.png"/><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3.png"/><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audio" Target="../media/media1.mp3"/><Relationship Id="rId7" Type="http://schemas.openxmlformats.org/officeDocument/2006/relationships/image" Target="../media/image5.png"/><Relationship Id="rId2" Type="http://schemas.microsoft.com/office/2007/relationships/media" Target="../media/media1.mp3"/><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notesSlide" Target="../notesSlides/notesSlide12.xml"/><Relationship Id="rId10" Type="http://schemas.openxmlformats.org/officeDocument/2006/relationships/image" Target="../media/image3.png"/><Relationship Id="rId4" Type="http://schemas.openxmlformats.org/officeDocument/2006/relationships/slideLayout" Target="../slideLayouts/slideLayout1.xml"/><Relationship Id="rId9" Type="http://schemas.openxmlformats.org/officeDocument/2006/relationships/image" Target="../media/image7.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3.png"/><Relationship Id="rId5" Type="http://schemas.openxmlformats.org/officeDocument/2006/relationships/chart" Target="../charts/chart2.xml"/><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3.png"/><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3.png"/><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audio" Target="../media/media1.mp3"/><Relationship Id="rId2" Type="http://schemas.microsoft.com/office/2007/relationships/media" Target="../media/media1.mp3"/><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notesSlide" Target="../notesSlides/notesSlide17.xml"/><Relationship Id="rId4"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3.png"/><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audio" Target="../media/media1.mp3"/><Relationship Id="rId2" Type="http://schemas.microsoft.com/office/2007/relationships/media" Target="../media/media1.mp3"/><Relationship Id="rId1" Type="http://schemas.openxmlformats.org/officeDocument/2006/relationships/tags" Target="../tags/tag5.xml"/><Relationship Id="rId6" Type="http://schemas.openxmlformats.org/officeDocument/2006/relationships/image" Target="../media/image3.png"/><Relationship Id="rId5" Type="http://schemas.openxmlformats.org/officeDocument/2006/relationships/notesSlide" Target="../notesSlides/notesSlide21.xml"/><Relationship Id="rId4"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3.png"/><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6.xml"/><Relationship Id="rId7" Type="http://schemas.openxmlformats.org/officeDocument/2006/relationships/image" Target="../media/image11.png"/><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10.png"/><Relationship Id="rId5" Type="http://schemas.openxmlformats.org/officeDocument/2006/relationships/notesSlide" Target="../notesSlides/notesSlide23.xml"/><Relationship Id="rId4" Type="http://schemas.openxmlformats.org/officeDocument/2006/relationships/slideLayout" Target="../slideLayouts/slideLayout1.xml"/><Relationship Id="rId9" Type="http://schemas.openxmlformats.org/officeDocument/2006/relationships/image" Target="../media/image3.png"/></Relationships>
</file>

<file path=ppt/slides/_rels/slide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3.png"/><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3.png"/><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5" Type="http://schemas.openxmlformats.org/officeDocument/2006/relationships/image" Target="../media/image3.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xml"/><Relationship Id="rId1" Type="http://schemas.openxmlformats.org/officeDocument/2006/relationships/tags" Target="../tags/tag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1000" r="-1000"/>
          </a:stretch>
        </a:blipFill>
        <a:effectLst/>
      </p:bgPr>
    </p:bg>
    <p:spTree>
      <p:nvGrpSpPr>
        <p:cNvPr id="1" name=""/>
        <p:cNvGrpSpPr/>
        <p:nvPr/>
      </p:nvGrpSpPr>
      <p:grpSpPr>
        <a:xfrm>
          <a:off x="0" y="0"/>
          <a:ext cx="0" cy="0"/>
          <a:chOff x="0" y="0"/>
          <a:chExt cx="0" cy="0"/>
        </a:xfrm>
      </p:grpSpPr>
      <p:sp>
        <p:nvSpPr>
          <p:cNvPr id="2" name="TextBox 4"/>
          <p:cNvSpPr txBox="1"/>
          <p:nvPr/>
        </p:nvSpPr>
        <p:spPr>
          <a:xfrm>
            <a:off x="6732748" y="1872102"/>
            <a:ext cx="1706880" cy="922020"/>
          </a:xfrm>
          <a:prstGeom prst="rect">
            <a:avLst/>
          </a:prstGeom>
          <a:noFill/>
        </p:spPr>
        <p:txBody>
          <a:bodyPr wrap="none" rtlCol="0">
            <a:spAutoFit/>
          </a:bodyPr>
          <a:lstStyle/>
          <a:p>
            <a:r>
              <a:rPr lang="en-US" altLang="zh-CN" sz="5400" spc="300" dirty="0">
                <a:solidFill>
                  <a:schemeClr val="bg1"/>
                </a:solidFill>
                <a:latin typeface="黑体" panose="02010609060101010101" pitchFamily="2" charset="-122"/>
                <a:ea typeface="黑体" panose="02010609060101010101" pitchFamily="2" charset="-122"/>
              </a:rPr>
              <a:t>2020</a:t>
            </a:r>
            <a:endParaRPr lang="zh-CN" altLang="en-US" sz="5400" spc="300" dirty="0">
              <a:solidFill>
                <a:schemeClr val="bg1"/>
              </a:solidFill>
              <a:latin typeface="黑体" panose="02010609060101010101" pitchFamily="2" charset="-122"/>
              <a:ea typeface="黑体" panose="02010609060101010101" pitchFamily="2" charset="-122"/>
            </a:endParaRPr>
          </a:p>
        </p:txBody>
      </p:sp>
      <p:sp>
        <p:nvSpPr>
          <p:cNvPr id="3" name="TextBox 5"/>
          <p:cNvSpPr txBox="1"/>
          <p:nvPr/>
        </p:nvSpPr>
        <p:spPr>
          <a:xfrm>
            <a:off x="3762280" y="2655461"/>
            <a:ext cx="4698722" cy="584775"/>
          </a:xfrm>
          <a:prstGeom prst="rect">
            <a:avLst/>
          </a:prstGeom>
          <a:noFill/>
        </p:spPr>
        <p:txBody>
          <a:bodyPr wrap="none" rtlCol="0">
            <a:spAutoFit/>
          </a:bodyPr>
          <a:lstStyle/>
          <a:p>
            <a:r>
              <a:rPr lang="zh-CN" altLang="en-US" sz="3200" dirty="0">
                <a:solidFill>
                  <a:srgbClr val="00AEEF"/>
                </a:solidFill>
                <a:latin typeface="黑体" panose="02010609060101010101" pitchFamily="2" charset="-122"/>
                <a:ea typeface="黑体" panose="02010609060101010101" pitchFamily="2" charset="-122"/>
              </a:rPr>
              <a:t>大数据</a:t>
            </a:r>
            <a:r>
              <a:rPr lang="en-US" altLang="zh-CN" sz="3200" dirty="0">
                <a:solidFill>
                  <a:srgbClr val="00AEEF"/>
                </a:solidFill>
                <a:latin typeface="黑体" panose="02010609060101010101" pitchFamily="2" charset="-122"/>
                <a:ea typeface="黑体" panose="02010609060101010101" pitchFamily="2" charset="-122"/>
              </a:rPr>
              <a:t>/</a:t>
            </a:r>
            <a:r>
              <a:rPr lang="zh-CN" altLang="en-US" sz="3200" dirty="0">
                <a:solidFill>
                  <a:srgbClr val="00AEEF"/>
                </a:solidFill>
                <a:latin typeface="黑体" panose="02010609060101010101" pitchFamily="2" charset="-122"/>
                <a:ea typeface="黑体" panose="02010609060101010101" pitchFamily="2" charset="-122"/>
              </a:rPr>
              <a:t>电子商务</a:t>
            </a:r>
            <a:r>
              <a:rPr lang="en-US" altLang="zh-CN" sz="3200" dirty="0">
                <a:solidFill>
                  <a:srgbClr val="00AEEF"/>
                </a:solidFill>
                <a:latin typeface="黑体" panose="02010609060101010101" pitchFamily="2" charset="-122"/>
                <a:ea typeface="黑体" panose="02010609060101010101" pitchFamily="2" charset="-122"/>
              </a:rPr>
              <a:t>/</a:t>
            </a:r>
            <a:r>
              <a:rPr lang="zh-CN" altLang="en-US" sz="3200" dirty="0">
                <a:solidFill>
                  <a:srgbClr val="00AEEF"/>
                </a:solidFill>
                <a:latin typeface="黑体" panose="02010609060101010101" pitchFamily="2" charset="-122"/>
                <a:ea typeface="黑体" panose="02010609060101010101" pitchFamily="2" charset="-122"/>
              </a:rPr>
              <a:t>互联网</a:t>
            </a:r>
          </a:p>
        </p:txBody>
      </p:sp>
      <p:sp>
        <p:nvSpPr>
          <p:cNvPr id="4" name="TextBox 6"/>
          <p:cNvSpPr txBox="1"/>
          <p:nvPr/>
        </p:nvSpPr>
        <p:spPr>
          <a:xfrm>
            <a:off x="4428556" y="3163872"/>
            <a:ext cx="4019049" cy="292388"/>
          </a:xfrm>
          <a:prstGeom prst="rect">
            <a:avLst/>
          </a:prstGeom>
          <a:noFill/>
        </p:spPr>
        <p:txBody>
          <a:bodyPr wrap="none" rtlCol="0">
            <a:spAutoFit/>
          </a:bodyPr>
          <a:lstStyle/>
          <a:p>
            <a:r>
              <a:rPr lang="en-US" altLang="zh-CN" sz="1300" dirty="0">
                <a:solidFill>
                  <a:schemeClr val="bg1"/>
                </a:solidFill>
                <a:latin typeface="黑体" panose="02010609060101010101" pitchFamily="2" charset="-122"/>
                <a:ea typeface="黑体" panose="02010609060101010101" pitchFamily="2" charset="-122"/>
              </a:rPr>
              <a:t>Big data / Internet / e-commerce ppt templates</a:t>
            </a:r>
            <a:endParaRPr lang="zh-CN" altLang="en-US" sz="1300" dirty="0">
              <a:solidFill>
                <a:schemeClr val="bg1"/>
              </a:solidFill>
              <a:latin typeface="黑体" panose="02010609060101010101" pitchFamily="2" charset="-122"/>
              <a:ea typeface="黑体" panose="02010609060101010101" pitchFamily="2" charset="-122"/>
            </a:endParaRPr>
          </a:p>
        </p:txBody>
      </p:sp>
      <p:cxnSp>
        <p:nvCxnSpPr>
          <p:cNvPr id="5" name="直接连接符 4"/>
          <p:cNvCxnSpPr/>
          <p:nvPr/>
        </p:nvCxnSpPr>
        <p:spPr>
          <a:xfrm>
            <a:off x="7776822" y="3600246"/>
            <a:ext cx="540058" cy="0"/>
          </a:xfrm>
          <a:prstGeom prst="line">
            <a:avLst/>
          </a:prstGeom>
          <a:ln w="25400">
            <a:solidFill>
              <a:srgbClr val="00B0F0"/>
            </a:solidFill>
          </a:ln>
        </p:spPr>
        <p:style>
          <a:lnRef idx="1">
            <a:schemeClr val="accent1"/>
          </a:lnRef>
          <a:fillRef idx="0">
            <a:schemeClr val="accent1"/>
          </a:fillRef>
          <a:effectRef idx="0">
            <a:schemeClr val="accent1"/>
          </a:effectRef>
          <a:fontRef idx="minor">
            <a:schemeClr val="tx1"/>
          </a:fontRef>
        </p:style>
      </p:cxnSp>
      <p:sp>
        <p:nvSpPr>
          <p:cNvPr id="6" name="TextBox 8"/>
          <p:cNvSpPr txBox="1"/>
          <p:nvPr/>
        </p:nvSpPr>
        <p:spPr>
          <a:xfrm>
            <a:off x="4284544" y="3672284"/>
            <a:ext cx="4134465" cy="338554"/>
          </a:xfrm>
          <a:prstGeom prst="rect">
            <a:avLst/>
          </a:prstGeom>
          <a:noFill/>
        </p:spPr>
        <p:txBody>
          <a:bodyPr wrap="none" rtlCol="0">
            <a:spAutoFit/>
          </a:bodyPr>
          <a:lstStyle/>
          <a:p>
            <a:pPr algn="r"/>
            <a:r>
              <a:rPr lang="en-US" altLang="zh-CN" sz="800" dirty="0">
                <a:solidFill>
                  <a:schemeClr val="bg1"/>
                </a:solidFill>
                <a:latin typeface="黑体" panose="02010609060101010101" pitchFamily="2" charset="-122"/>
                <a:ea typeface="黑体" panose="02010609060101010101" pitchFamily="2" charset="-122"/>
              </a:rPr>
              <a:t>A collection of data that can not be caught, managed, and processed by </a:t>
            </a:r>
            <a:r>
              <a:rPr lang="en-US" altLang="zh-CN" sz="800" dirty="0" err="1">
                <a:solidFill>
                  <a:schemeClr val="bg1"/>
                </a:solidFill>
                <a:latin typeface="黑体" panose="02010609060101010101" pitchFamily="2" charset="-122"/>
                <a:ea typeface="黑体" panose="02010609060101010101" pitchFamily="2" charset="-122"/>
              </a:rPr>
              <a:t>conven</a:t>
            </a:r>
            <a:endParaRPr lang="en-US" altLang="zh-CN" sz="800" dirty="0">
              <a:solidFill>
                <a:schemeClr val="bg1"/>
              </a:solidFill>
              <a:latin typeface="黑体" panose="02010609060101010101" pitchFamily="2" charset="-122"/>
              <a:ea typeface="黑体" panose="02010609060101010101" pitchFamily="2" charset="-122"/>
            </a:endParaRPr>
          </a:p>
          <a:p>
            <a:pPr algn="r"/>
            <a:r>
              <a:rPr lang="en-US" altLang="zh-CN" sz="800" dirty="0" err="1">
                <a:solidFill>
                  <a:schemeClr val="bg1"/>
                </a:solidFill>
                <a:latin typeface="黑体" panose="02010609060101010101" pitchFamily="2" charset="-122"/>
                <a:ea typeface="黑体" panose="02010609060101010101" pitchFamily="2" charset="-122"/>
              </a:rPr>
              <a:t>tional</a:t>
            </a:r>
            <a:r>
              <a:rPr lang="en-US" altLang="zh-CN" sz="800" dirty="0">
                <a:solidFill>
                  <a:schemeClr val="bg1"/>
                </a:solidFill>
                <a:latin typeface="黑体" panose="02010609060101010101" pitchFamily="2" charset="-122"/>
                <a:ea typeface="黑体" panose="02010609060101010101" pitchFamily="2" charset="-122"/>
              </a:rPr>
              <a:t> software tools within a given time scale.</a:t>
            </a:r>
            <a:endParaRPr lang="zh-CN" altLang="en-US" sz="800" dirty="0">
              <a:solidFill>
                <a:schemeClr val="bg1"/>
              </a:solidFill>
              <a:latin typeface="黑体" panose="02010609060101010101" pitchFamily="2" charset="-122"/>
              <a:ea typeface="黑体" panose="02010609060101010101" pitchFamily="2" charset="-122"/>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2"/>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2"/>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41" presetClass="entr" presetSubtype="0" fill="hold" grpId="0" nodeType="afterEffect">
                                  <p:stCondLst>
                                    <p:cond delay="0"/>
                                  </p:stCondLst>
                                  <p:iterate type="lt">
                                    <p:tmPct val="10000"/>
                                  </p:iterate>
                                  <p:childTnLst>
                                    <p:set>
                                      <p:cBhvr>
                                        <p:cTn id="16" dur="1" fill="hold">
                                          <p:stCondLst>
                                            <p:cond delay="0"/>
                                          </p:stCondLst>
                                        </p:cTn>
                                        <p:tgtEl>
                                          <p:spTgt spid="3"/>
                                        </p:tgtEl>
                                        <p:attrNameLst>
                                          <p:attrName>style.visibility</p:attrName>
                                        </p:attrNameLst>
                                      </p:cBhvr>
                                      <p:to>
                                        <p:strVal val="visible"/>
                                      </p:to>
                                    </p:set>
                                    <p:anim calcmode="lin" valueType="num">
                                      <p:cBhvr>
                                        <p:cTn id="17" dur="500" fill="hold"/>
                                        <p:tgtEl>
                                          <p:spTgt spid="3"/>
                                        </p:tgtEl>
                                        <p:attrNameLst>
                                          <p:attrName>ppt_x</p:attrName>
                                        </p:attrNameLst>
                                      </p:cBhvr>
                                      <p:tavLst>
                                        <p:tav tm="0">
                                          <p:val>
                                            <p:strVal val="#ppt_x"/>
                                          </p:val>
                                        </p:tav>
                                        <p:tav tm="50000">
                                          <p:val>
                                            <p:strVal val="#ppt_x+.1"/>
                                          </p:val>
                                        </p:tav>
                                        <p:tav tm="100000">
                                          <p:val>
                                            <p:strVal val="#ppt_x"/>
                                          </p:val>
                                        </p:tav>
                                      </p:tavLst>
                                    </p:anim>
                                    <p:anim calcmode="lin" valueType="num">
                                      <p:cBhvr>
                                        <p:cTn id="18" dur="500" fill="hold"/>
                                        <p:tgtEl>
                                          <p:spTgt spid="3"/>
                                        </p:tgtEl>
                                        <p:attrNameLst>
                                          <p:attrName>ppt_y</p:attrName>
                                        </p:attrNameLst>
                                      </p:cBhvr>
                                      <p:tavLst>
                                        <p:tav tm="0">
                                          <p:val>
                                            <p:strVal val="#ppt_y"/>
                                          </p:val>
                                        </p:tav>
                                        <p:tav tm="100000">
                                          <p:val>
                                            <p:strVal val="#ppt_y"/>
                                          </p:val>
                                        </p:tav>
                                      </p:tavLst>
                                    </p:anim>
                                    <p:anim calcmode="lin" valueType="num">
                                      <p:cBhvr>
                                        <p:cTn id="19" dur="500" fill="hold"/>
                                        <p:tgtEl>
                                          <p:spTgt spid="3"/>
                                        </p:tgtEl>
                                        <p:attrNameLst>
                                          <p:attrName>ppt_h</p:attrName>
                                        </p:attrNameLst>
                                      </p:cBhvr>
                                      <p:tavLst>
                                        <p:tav tm="0">
                                          <p:val>
                                            <p:strVal val="#ppt_h/10"/>
                                          </p:val>
                                        </p:tav>
                                        <p:tav tm="50000">
                                          <p:val>
                                            <p:strVal val="#ppt_h+.01"/>
                                          </p:val>
                                        </p:tav>
                                        <p:tav tm="100000">
                                          <p:val>
                                            <p:strVal val="#ppt_h"/>
                                          </p:val>
                                        </p:tav>
                                      </p:tavLst>
                                    </p:anim>
                                    <p:anim calcmode="lin" valueType="num">
                                      <p:cBhvr>
                                        <p:cTn id="20" dur="500" fill="hold"/>
                                        <p:tgtEl>
                                          <p:spTgt spid="3"/>
                                        </p:tgtEl>
                                        <p:attrNameLst>
                                          <p:attrName>ppt_w</p:attrName>
                                        </p:attrNameLst>
                                      </p:cBhvr>
                                      <p:tavLst>
                                        <p:tav tm="0">
                                          <p:val>
                                            <p:strVal val="#ppt_w/10"/>
                                          </p:val>
                                        </p:tav>
                                        <p:tav tm="50000">
                                          <p:val>
                                            <p:strVal val="#ppt_w+.01"/>
                                          </p:val>
                                        </p:tav>
                                        <p:tav tm="100000">
                                          <p:val>
                                            <p:strVal val="#ppt_w"/>
                                          </p:val>
                                        </p:tav>
                                      </p:tavLst>
                                    </p:anim>
                                    <p:animEffect transition="in" filter="fade">
                                      <p:cBhvr>
                                        <p:cTn id="21" dur="500" tmFilter="0,0; .5, 1; 1, 1"/>
                                        <p:tgtEl>
                                          <p:spTgt spid="3"/>
                                        </p:tgtEl>
                                      </p:cBhvr>
                                    </p:animEffect>
                                  </p:childTnLst>
                                </p:cTn>
                              </p:par>
                            </p:childTnLst>
                          </p:cTn>
                        </p:par>
                        <p:par>
                          <p:cTn id="22" fill="hold">
                            <p:stCondLst>
                              <p:cond delay="3549"/>
                            </p:stCondLst>
                            <p:childTnLst>
                              <p:par>
                                <p:cTn id="23" presetID="26" presetClass="emph" presetSubtype="0" fill="hold" grpId="1" nodeType="afterEffect">
                                  <p:stCondLst>
                                    <p:cond delay="0"/>
                                  </p:stCondLst>
                                  <p:iterate type="lt">
                                    <p:tmPct val="0"/>
                                  </p:iterate>
                                  <p:childTnLst>
                                    <p:animEffect transition="out" filter="fade">
                                      <p:cBhvr>
                                        <p:cTn id="24" dur="500" tmFilter="0, 0; .2, .5; .8, .5; 1, 0"/>
                                        <p:tgtEl>
                                          <p:spTgt spid="3"/>
                                        </p:tgtEl>
                                      </p:cBhvr>
                                    </p:animEffect>
                                    <p:animScale>
                                      <p:cBhvr>
                                        <p:cTn id="25" dur="250" autoRev="1" fill="hold"/>
                                        <p:tgtEl>
                                          <p:spTgt spid="3"/>
                                        </p:tgtEl>
                                      </p:cBhvr>
                                      <p:by x="105000" y="105000"/>
                                    </p:animScale>
                                  </p:childTnLst>
                                </p:cTn>
                              </p:par>
                            </p:childTnLst>
                          </p:cTn>
                        </p:par>
                        <p:par>
                          <p:cTn id="26" fill="hold">
                            <p:stCondLst>
                              <p:cond delay="4050"/>
                            </p:stCondLst>
                            <p:childTnLst>
                              <p:par>
                                <p:cTn id="27" presetID="41" presetClass="entr" presetSubtype="0" fill="hold" grpId="0" nodeType="afterEffect">
                                  <p:stCondLst>
                                    <p:cond delay="0"/>
                                  </p:stCondLst>
                                  <p:iterate type="lt">
                                    <p:tmPct val="10000"/>
                                  </p:iterate>
                                  <p:childTnLst>
                                    <p:set>
                                      <p:cBhvr>
                                        <p:cTn id="28" dur="1" fill="hold">
                                          <p:stCondLst>
                                            <p:cond delay="0"/>
                                          </p:stCondLst>
                                        </p:cTn>
                                        <p:tgtEl>
                                          <p:spTgt spid="4"/>
                                        </p:tgtEl>
                                        <p:attrNameLst>
                                          <p:attrName>style.visibility</p:attrName>
                                        </p:attrNameLst>
                                      </p:cBhvr>
                                      <p:to>
                                        <p:strVal val="visible"/>
                                      </p:to>
                                    </p:set>
                                    <p:anim calcmode="lin" valueType="num">
                                      <p:cBhvr>
                                        <p:cTn id="29" dur="4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30" dur="400" fill="hold"/>
                                        <p:tgtEl>
                                          <p:spTgt spid="4"/>
                                        </p:tgtEl>
                                        <p:attrNameLst>
                                          <p:attrName>ppt_y</p:attrName>
                                        </p:attrNameLst>
                                      </p:cBhvr>
                                      <p:tavLst>
                                        <p:tav tm="0">
                                          <p:val>
                                            <p:strVal val="#ppt_y"/>
                                          </p:val>
                                        </p:tav>
                                        <p:tav tm="100000">
                                          <p:val>
                                            <p:strVal val="#ppt_y"/>
                                          </p:val>
                                        </p:tav>
                                      </p:tavLst>
                                    </p:anim>
                                    <p:anim calcmode="lin" valueType="num">
                                      <p:cBhvr>
                                        <p:cTn id="31" dur="4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32" dur="4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33" dur="400" tmFilter="0,0; .5, 1; 1, 1"/>
                                        <p:tgtEl>
                                          <p:spTgt spid="4"/>
                                        </p:tgtEl>
                                      </p:cBhvr>
                                    </p:animEffect>
                                  </p:childTnLst>
                                </p:cTn>
                              </p:par>
                            </p:childTnLst>
                          </p:cTn>
                        </p:par>
                        <p:par>
                          <p:cTn id="34" fill="hold">
                            <p:stCondLst>
                              <p:cond delay="6250"/>
                            </p:stCondLst>
                            <p:childTnLst>
                              <p:par>
                                <p:cTn id="35" presetID="22" presetClass="entr" presetSubtype="8" fill="hold" nodeType="after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wipe(left)">
                                      <p:cBhvr>
                                        <p:cTn id="37" dur="500"/>
                                        <p:tgtEl>
                                          <p:spTgt spid="5"/>
                                        </p:tgtEl>
                                      </p:cBhvr>
                                    </p:animEffect>
                                  </p:childTnLst>
                                </p:cTn>
                              </p:par>
                            </p:childTnLst>
                          </p:cTn>
                        </p:par>
                        <p:par>
                          <p:cTn id="38" fill="hold">
                            <p:stCondLst>
                              <p:cond delay="6750"/>
                            </p:stCondLst>
                            <p:childTnLst>
                              <p:par>
                                <p:cTn id="39" presetID="42" presetClass="entr" presetSubtype="0" fill="hold" grpId="0" nodeType="afterEffect">
                                  <p:stCondLst>
                                    <p:cond delay="0"/>
                                  </p:stCondLst>
                                  <p:childTnLst>
                                    <p:set>
                                      <p:cBhvr>
                                        <p:cTn id="40" dur="1" fill="hold">
                                          <p:stCondLst>
                                            <p:cond delay="0"/>
                                          </p:stCondLst>
                                        </p:cTn>
                                        <p:tgtEl>
                                          <p:spTgt spid="6"/>
                                        </p:tgtEl>
                                        <p:attrNameLst>
                                          <p:attrName>style.visibility</p:attrName>
                                        </p:attrNameLst>
                                      </p:cBhvr>
                                      <p:to>
                                        <p:strVal val="visible"/>
                                      </p:to>
                                    </p:set>
                                    <p:animEffect transition="in" filter="fade">
                                      <p:cBhvr>
                                        <p:cTn id="41" dur="1000"/>
                                        <p:tgtEl>
                                          <p:spTgt spid="6"/>
                                        </p:tgtEl>
                                      </p:cBhvr>
                                    </p:animEffect>
                                    <p:anim calcmode="lin" valueType="num">
                                      <p:cBhvr>
                                        <p:cTn id="42" dur="1000" fill="hold"/>
                                        <p:tgtEl>
                                          <p:spTgt spid="6"/>
                                        </p:tgtEl>
                                        <p:attrNameLst>
                                          <p:attrName>ppt_x</p:attrName>
                                        </p:attrNameLst>
                                      </p:cBhvr>
                                      <p:tavLst>
                                        <p:tav tm="0">
                                          <p:val>
                                            <p:strVal val="#ppt_x"/>
                                          </p:val>
                                        </p:tav>
                                        <p:tav tm="100000">
                                          <p:val>
                                            <p:strVal val="#ppt_x"/>
                                          </p:val>
                                        </p:tav>
                                      </p:tavLst>
                                    </p:anim>
                                    <p:anim calcmode="lin" valueType="num">
                                      <p:cBhvr>
                                        <p:cTn id="43"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2" grpId="2"/>
      <p:bldP spid="3" grpId="0"/>
      <p:bldP spid="3" grpId="1"/>
      <p:bldP spid="4" grpId="0"/>
      <p:bldP spid="6"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Freeform 6"/>
          <p:cNvSpPr/>
          <p:nvPr/>
        </p:nvSpPr>
        <p:spPr bwMode="auto">
          <a:xfrm>
            <a:off x="4351267" y="1755243"/>
            <a:ext cx="576815" cy="913035"/>
          </a:xfrm>
          <a:custGeom>
            <a:avLst/>
            <a:gdLst>
              <a:gd name="T0" fmla="*/ 647 w 647"/>
              <a:gd name="T1" fmla="*/ 0 h 1043"/>
              <a:gd name="T2" fmla="*/ 0 w 647"/>
              <a:gd name="T3" fmla="*/ 290 h 1043"/>
              <a:gd name="T4" fmla="*/ 0 w 647"/>
              <a:gd name="T5" fmla="*/ 1043 h 1043"/>
              <a:gd name="T6" fmla="*/ 647 w 647"/>
              <a:gd name="T7" fmla="*/ 396 h 1043"/>
              <a:gd name="T8" fmla="*/ 647 w 647"/>
              <a:gd name="T9" fmla="*/ 0 h 1043"/>
            </a:gdLst>
            <a:ahLst/>
            <a:cxnLst>
              <a:cxn ang="0">
                <a:pos x="T0" y="T1"/>
              </a:cxn>
              <a:cxn ang="0">
                <a:pos x="T2" y="T3"/>
              </a:cxn>
              <a:cxn ang="0">
                <a:pos x="T4" y="T5"/>
              </a:cxn>
              <a:cxn ang="0">
                <a:pos x="T6" y="T7"/>
              </a:cxn>
              <a:cxn ang="0">
                <a:pos x="T8" y="T9"/>
              </a:cxn>
            </a:cxnLst>
            <a:rect l="0" t="0" r="r" b="b"/>
            <a:pathLst>
              <a:path w="647" h="1043">
                <a:moveTo>
                  <a:pt x="647" y="0"/>
                </a:moveTo>
                <a:lnTo>
                  <a:pt x="0" y="290"/>
                </a:lnTo>
                <a:lnTo>
                  <a:pt x="0" y="1043"/>
                </a:lnTo>
                <a:lnTo>
                  <a:pt x="647" y="396"/>
                </a:lnTo>
                <a:lnTo>
                  <a:pt x="6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4" name="Freeform 8"/>
          <p:cNvSpPr/>
          <p:nvPr/>
        </p:nvSpPr>
        <p:spPr bwMode="auto">
          <a:xfrm>
            <a:off x="3774452" y="1755243"/>
            <a:ext cx="576815" cy="913035"/>
          </a:xfrm>
          <a:custGeom>
            <a:avLst/>
            <a:gdLst>
              <a:gd name="T0" fmla="*/ 0 w 647"/>
              <a:gd name="T1" fmla="*/ 0 h 1043"/>
              <a:gd name="T2" fmla="*/ 647 w 647"/>
              <a:gd name="T3" fmla="*/ 290 h 1043"/>
              <a:gd name="T4" fmla="*/ 647 w 647"/>
              <a:gd name="T5" fmla="*/ 1043 h 1043"/>
              <a:gd name="T6" fmla="*/ 0 w 647"/>
              <a:gd name="T7" fmla="*/ 396 h 1043"/>
              <a:gd name="T8" fmla="*/ 0 w 647"/>
              <a:gd name="T9" fmla="*/ 0 h 1043"/>
            </a:gdLst>
            <a:ahLst/>
            <a:cxnLst>
              <a:cxn ang="0">
                <a:pos x="T0" y="T1"/>
              </a:cxn>
              <a:cxn ang="0">
                <a:pos x="T2" y="T3"/>
              </a:cxn>
              <a:cxn ang="0">
                <a:pos x="T4" y="T5"/>
              </a:cxn>
              <a:cxn ang="0">
                <a:pos x="T6" y="T7"/>
              </a:cxn>
              <a:cxn ang="0">
                <a:pos x="T8" y="T9"/>
              </a:cxn>
            </a:cxnLst>
            <a:rect l="0" t="0" r="r" b="b"/>
            <a:pathLst>
              <a:path w="647" h="1043">
                <a:moveTo>
                  <a:pt x="0" y="0"/>
                </a:moveTo>
                <a:lnTo>
                  <a:pt x="647" y="290"/>
                </a:lnTo>
                <a:lnTo>
                  <a:pt x="647" y="1043"/>
                </a:lnTo>
                <a:lnTo>
                  <a:pt x="0" y="39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5" name="Freeform 10"/>
          <p:cNvSpPr/>
          <p:nvPr/>
        </p:nvSpPr>
        <p:spPr bwMode="auto">
          <a:xfrm>
            <a:off x="4440422" y="2755817"/>
            <a:ext cx="927185" cy="566380"/>
          </a:xfrm>
          <a:custGeom>
            <a:avLst/>
            <a:gdLst>
              <a:gd name="T0" fmla="*/ 1040 w 1040"/>
              <a:gd name="T1" fmla="*/ 647 h 647"/>
              <a:gd name="T2" fmla="*/ 753 w 1040"/>
              <a:gd name="T3" fmla="*/ 0 h 647"/>
              <a:gd name="T4" fmla="*/ 0 w 1040"/>
              <a:gd name="T5" fmla="*/ 0 h 647"/>
              <a:gd name="T6" fmla="*/ 647 w 1040"/>
              <a:gd name="T7" fmla="*/ 647 h 647"/>
              <a:gd name="T8" fmla="*/ 1040 w 1040"/>
              <a:gd name="T9" fmla="*/ 647 h 647"/>
            </a:gdLst>
            <a:ahLst/>
            <a:cxnLst>
              <a:cxn ang="0">
                <a:pos x="T0" y="T1"/>
              </a:cxn>
              <a:cxn ang="0">
                <a:pos x="T2" y="T3"/>
              </a:cxn>
              <a:cxn ang="0">
                <a:pos x="T4" y="T5"/>
              </a:cxn>
              <a:cxn ang="0">
                <a:pos x="T6" y="T7"/>
              </a:cxn>
              <a:cxn ang="0">
                <a:pos x="T8" y="T9"/>
              </a:cxn>
            </a:cxnLst>
            <a:rect l="0" t="0" r="r" b="b"/>
            <a:pathLst>
              <a:path w="1040" h="647">
                <a:moveTo>
                  <a:pt x="1040" y="647"/>
                </a:moveTo>
                <a:lnTo>
                  <a:pt x="753" y="0"/>
                </a:lnTo>
                <a:lnTo>
                  <a:pt x="0" y="0"/>
                </a:lnTo>
                <a:lnTo>
                  <a:pt x="647" y="647"/>
                </a:lnTo>
                <a:lnTo>
                  <a:pt x="1040" y="64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6" name="Freeform 12"/>
          <p:cNvSpPr/>
          <p:nvPr/>
        </p:nvSpPr>
        <p:spPr bwMode="auto">
          <a:xfrm>
            <a:off x="4440422" y="2186812"/>
            <a:ext cx="927185" cy="569005"/>
          </a:xfrm>
          <a:custGeom>
            <a:avLst/>
            <a:gdLst>
              <a:gd name="T0" fmla="*/ 1040 w 1040"/>
              <a:gd name="T1" fmla="*/ 0 h 650"/>
              <a:gd name="T2" fmla="*/ 753 w 1040"/>
              <a:gd name="T3" fmla="*/ 650 h 650"/>
              <a:gd name="T4" fmla="*/ 0 w 1040"/>
              <a:gd name="T5" fmla="*/ 650 h 650"/>
              <a:gd name="T6" fmla="*/ 647 w 1040"/>
              <a:gd name="T7" fmla="*/ 0 h 650"/>
              <a:gd name="T8" fmla="*/ 1040 w 1040"/>
              <a:gd name="T9" fmla="*/ 0 h 650"/>
            </a:gdLst>
            <a:ahLst/>
            <a:cxnLst>
              <a:cxn ang="0">
                <a:pos x="T0" y="T1"/>
              </a:cxn>
              <a:cxn ang="0">
                <a:pos x="T2" y="T3"/>
              </a:cxn>
              <a:cxn ang="0">
                <a:pos x="T4" y="T5"/>
              </a:cxn>
              <a:cxn ang="0">
                <a:pos x="T6" y="T7"/>
              </a:cxn>
              <a:cxn ang="0">
                <a:pos x="T8" y="T9"/>
              </a:cxn>
            </a:cxnLst>
            <a:rect l="0" t="0" r="r" b="b"/>
            <a:pathLst>
              <a:path w="1040" h="650">
                <a:moveTo>
                  <a:pt x="1040" y="0"/>
                </a:moveTo>
                <a:lnTo>
                  <a:pt x="753" y="650"/>
                </a:lnTo>
                <a:lnTo>
                  <a:pt x="0" y="650"/>
                </a:lnTo>
                <a:lnTo>
                  <a:pt x="647" y="0"/>
                </a:lnTo>
                <a:lnTo>
                  <a:pt x="10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7" name="Freeform 14"/>
          <p:cNvSpPr/>
          <p:nvPr/>
        </p:nvSpPr>
        <p:spPr bwMode="auto">
          <a:xfrm>
            <a:off x="3774452" y="2841606"/>
            <a:ext cx="576815" cy="912159"/>
          </a:xfrm>
          <a:custGeom>
            <a:avLst/>
            <a:gdLst>
              <a:gd name="T0" fmla="*/ 0 w 647"/>
              <a:gd name="T1" fmla="*/ 1042 h 1042"/>
              <a:gd name="T2" fmla="*/ 647 w 647"/>
              <a:gd name="T3" fmla="*/ 752 h 1042"/>
              <a:gd name="T4" fmla="*/ 647 w 647"/>
              <a:gd name="T5" fmla="*/ 0 h 1042"/>
              <a:gd name="T6" fmla="*/ 0 w 647"/>
              <a:gd name="T7" fmla="*/ 649 h 1042"/>
              <a:gd name="T8" fmla="*/ 0 w 647"/>
              <a:gd name="T9" fmla="*/ 1042 h 1042"/>
            </a:gdLst>
            <a:ahLst/>
            <a:cxnLst>
              <a:cxn ang="0">
                <a:pos x="T0" y="T1"/>
              </a:cxn>
              <a:cxn ang="0">
                <a:pos x="T2" y="T3"/>
              </a:cxn>
              <a:cxn ang="0">
                <a:pos x="T4" y="T5"/>
              </a:cxn>
              <a:cxn ang="0">
                <a:pos x="T6" y="T7"/>
              </a:cxn>
              <a:cxn ang="0">
                <a:pos x="T8" y="T9"/>
              </a:cxn>
            </a:cxnLst>
            <a:rect l="0" t="0" r="r" b="b"/>
            <a:pathLst>
              <a:path w="647" h="1042">
                <a:moveTo>
                  <a:pt x="0" y="1042"/>
                </a:moveTo>
                <a:lnTo>
                  <a:pt x="647" y="752"/>
                </a:lnTo>
                <a:lnTo>
                  <a:pt x="647" y="0"/>
                </a:lnTo>
                <a:lnTo>
                  <a:pt x="0" y="649"/>
                </a:lnTo>
                <a:lnTo>
                  <a:pt x="0" y="10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8" name="Freeform 16"/>
          <p:cNvSpPr/>
          <p:nvPr/>
        </p:nvSpPr>
        <p:spPr bwMode="auto">
          <a:xfrm>
            <a:off x="4351267" y="2841606"/>
            <a:ext cx="576815" cy="912159"/>
          </a:xfrm>
          <a:custGeom>
            <a:avLst/>
            <a:gdLst>
              <a:gd name="T0" fmla="*/ 647 w 647"/>
              <a:gd name="T1" fmla="*/ 1042 h 1042"/>
              <a:gd name="T2" fmla="*/ 0 w 647"/>
              <a:gd name="T3" fmla="*/ 752 h 1042"/>
              <a:gd name="T4" fmla="*/ 0 w 647"/>
              <a:gd name="T5" fmla="*/ 0 h 1042"/>
              <a:gd name="T6" fmla="*/ 647 w 647"/>
              <a:gd name="T7" fmla="*/ 649 h 1042"/>
              <a:gd name="T8" fmla="*/ 647 w 647"/>
              <a:gd name="T9" fmla="*/ 1042 h 1042"/>
            </a:gdLst>
            <a:ahLst/>
            <a:cxnLst>
              <a:cxn ang="0">
                <a:pos x="T0" y="T1"/>
              </a:cxn>
              <a:cxn ang="0">
                <a:pos x="T2" y="T3"/>
              </a:cxn>
              <a:cxn ang="0">
                <a:pos x="T4" y="T5"/>
              </a:cxn>
              <a:cxn ang="0">
                <a:pos x="T6" y="T7"/>
              </a:cxn>
              <a:cxn ang="0">
                <a:pos x="T8" y="T9"/>
              </a:cxn>
            </a:cxnLst>
            <a:rect l="0" t="0" r="r" b="b"/>
            <a:pathLst>
              <a:path w="647" h="1042">
                <a:moveTo>
                  <a:pt x="647" y="1042"/>
                </a:moveTo>
                <a:lnTo>
                  <a:pt x="0" y="752"/>
                </a:lnTo>
                <a:lnTo>
                  <a:pt x="0" y="0"/>
                </a:lnTo>
                <a:lnTo>
                  <a:pt x="647" y="649"/>
                </a:lnTo>
                <a:lnTo>
                  <a:pt x="647" y="10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59" name="Freeform 20"/>
          <p:cNvSpPr/>
          <p:nvPr/>
        </p:nvSpPr>
        <p:spPr bwMode="auto">
          <a:xfrm>
            <a:off x="3334933" y="2755817"/>
            <a:ext cx="927185" cy="566380"/>
          </a:xfrm>
          <a:custGeom>
            <a:avLst/>
            <a:gdLst>
              <a:gd name="T0" fmla="*/ 0 w 1040"/>
              <a:gd name="T1" fmla="*/ 647 h 647"/>
              <a:gd name="T2" fmla="*/ 287 w 1040"/>
              <a:gd name="T3" fmla="*/ 0 h 647"/>
              <a:gd name="T4" fmla="*/ 1040 w 1040"/>
              <a:gd name="T5" fmla="*/ 0 h 647"/>
              <a:gd name="T6" fmla="*/ 393 w 1040"/>
              <a:gd name="T7" fmla="*/ 647 h 647"/>
              <a:gd name="T8" fmla="*/ 0 w 1040"/>
              <a:gd name="T9" fmla="*/ 647 h 647"/>
            </a:gdLst>
            <a:ahLst/>
            <a:cxnLst>
              <a:cxn ang="0">
                <a:pos x="T0" y="T1"/>
              </a:cxn>
              <a:cxn ang="0">
                <a:pos x="T2" y="T3"/>
              </a:cxn>
              <a:cxn ang="0">
                <a:pos x="T4" y="T5"/>
              </a:cxn>
              <a:cxn ang="0">
                <a:pos x="T6" y="T7"/>
              </a:cxn>
              <a:cxn ang="0">
                <a:pos x="T8" y="T9"/>
              </a:cxn>
            </a:cxnLst>
            <a:rect l="0" t="0" r="r" b="b"/>
            <a:pathLst>
              <a:path w="1040" h="647">
                <a:moveTo>
                  <a:pt x="0" y="647"/>
                </a:moveTo>
                <a:lnTo>
                  <a:pt x="287" y="0"/>
                </a:lnTo>
                <a:lnTo>
                  <a:pt x="1040" y="0"/>
                </a:lnTo>
                <a:lnTo>
                  <a:pt x="393" y="647"/>
                </a:lnTo>
                <a:lnTo>
                  <a:pt x="0" y="64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0" name="Freeform 22"/>
          <p:cNvSpPr/>
          <p:nvPr/>
        </p:nvSpPr>
        <p:spPr bwMode="auto">
          <a:xfrm>
            <a:off x="3809224" y="1833152"/>
            <a:ext cx="1153632" cy="913035"/>
          </a:xfrm>
          <a:custGeom>
            <a:avLst/>
            <a:gdLst>
              <a:gd name="T0" fmla="*/ 1294 w 1294"/>
              <a:gd name="T1" fmla="*/ 0 h 1043"/>
              <a:gd name="T2" fmla="*/ 1255 w 1294"/>
              <a:gd name="T3" fmla="*/ 20 h 1043"/>
              <a:gd name="T4" fmla="*/ 1255 w 1294"/>
              <a:gd name="T5" fmla="*/ 307 h 1043"/>
              <a:gd name="T6" fmla="*/ 608 w 1294"/>
              <a:gd name="T7" fmla="*/ 954 h 1043"/>
              <a:gd name="T8" fmla="*/ 0 w 1294"/>
              <a:gd name="T9" fmla="*/ 346 h 1043"/>
              <a:gd name="T10" fmla="*/ 0 w 1294"/>
              <a:gd name="T11" fmla="*/ 396 h 1043"/>
              <a:gd name="T12" fmla="*/ 647 w 1294"/>
              <a:gd name="T13" fmla="*/ 1043 h 1043"/>
              <a:gd name="T14" fmla="*/ 1294 w 1294"/>
              <a:gd name="T15" fmla="*/ 396 h 1043"/>
              <a:gd name="T16" fmla="*/ 1294 w 1294"/>
              <a:gd name="T17" fmla="*/ 0 h 10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4" h="1043">
                <a:moveTo>
                  <a:pt x="1294" y="0"/>
                </a:moveTo>
                <a:lnTo>
                  <a:pt x="1255" y="20"/>
                </a:lnTo>
                <a:lnTo>
                  <a:pt x="1255" y="307"/>
                </a:lnTo>
                <a:lnTo>
                  <a:pt x="608" y="954"/>
                </a:lnTo>
                <a:lnTo>
                  <a:pt x="0" y="346"/>
                </a:lnTo>
                <a:lnTo>
                  <a:pt x="0" y="396"/>
                </a:lnTo>
                <a:lnTo>
                  <a:pt x="647" y="1043"/>
                </a:lnTo>
                <a:lnTo>
                  <a:pt x="1294" y="396"/>
                </a:lnTo>
                <a:lnTo>
                  <a:pt x="129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1" name="Freeform 26"/>
          <p:cNvSpPr>
            <a:spLocks noEditPoints="1"/>
          </p:cNvSpPr>
          <p:nvPr/>
        </p:nvSpPr>
        <p:spPr bwMode="auto">
          <a:xfrm>
            <a:off x="3369700" y="2265598"/>
            <a:ext cx="2032674" cy="1134509"/>
          </a:xfrm>
          <a:custGeom>
            <a:avLst/>
            <a:gdLst>
              <a:gd name="T0" fmla="*/ 1265 w 2280"/>
              <a:gd name="T1" fmla="*/ 624 h 1296"/>
              <a:gd name="T2" fmla="*/ 1240 w 2280"/>
              <a:gd name="T3" fmla="*/ 649 h 1296"/>
              <a:gd name="T4" fmla="*/ 1887 w 2280"/>
              <a:gd name="T5" fmla="*/ 1296 h 1296"/>
              <a:gd name="T6" fmla="*/ 2280 w 2280"/>
              <a:gd name="T7" fmla="*/ 1296 h 1296"/>
              <a:gd name="T8" fmla="*/ 2241 w 2280"/>
              <a:gd name="T9" fmla="*/ 1207 h 1296"/>
              <a:gd name="T10" fmla="*/ 1848 w 2280"/>
              <a:gd name="T11" fmla="*/ 1207 h 1296"/>
              <a:gd name="T12" fmla="*/ 1265 w 2280"/>
              <a:gd name="T13" fmla="*/ 624 h 1296"/>
              <a:gd name="T14" fmla="*/ 975 w 2280"/>
              <a:gd name="T15" fmla="*/ 585 h 1296"/>
              <a:gd name="T16" fmla="*/ 354 w 2280"/>
              <a:gd name="T17" fmla="*/ 1207 h 1296"/>
              <a:gd name="T18" fmla="*/ 39 w 2280"/>
              <a:gd name="T19" fmla="*/ 1207 h 1296"/>
              <a:gd name="T20" fmla="*/ 0 w 2280"/>
              <a:gd name="T21" fmla="*/ 1296 h 1296"/>
              <a:gd name="T22" fmla="*/ 393 w 2280"/>
              <a:gd name="T23" fmla="*/ 1296 h 1296"/>
              <a:gd name="T24" fmla="*/ 1040 w 2280"/>
              <a:gd name="T25" fmla="*/ 649 h 1296"/>
              <a:gd name="T26" fmla="*/ 975 w 2280"/>
              <a:gd name="T27" fmla="*/ 585 h 1296"/>
              <a:gd name="T28" fmla="*/ 0 w 2280"/>
              <a:gd name="T29" fmla="*/ 0 h 1296"/>
              <a:gd name="T30" fmla="*/ 0 w 2280"/>
              <a:gd name="T31" fmla="*/ 0 h 1296"/>
              <a:gd name="T32" fmla="*/ 248 w 2280"/>
              <a:gd name="T33" fmla="*/ 560 h 1296"/>
              <a:gd name="T34" fmla="*/ 248 w 2280"/>
              <a:gd name="T35" fmla="*/ 560 h 1296"/>
              <a:gd name="T36" fmla="*/ 0 w 2280"/>
              <a:gd name="T37" fmla="*/ 0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80" h="1296">
                <a:moveTo>
                  <a:pt x="1265" y="624"/>
                </a:moveTo>
                <a:lnTo>
                  <a:pt x="1240" y="649"/>
                </a:lnTo>
                <a:lnTo>
                  <a:pt x="1887" y="1296"/>
                </a:lnTo>
                <a:lnTo>
                  <a:pt x="2280" y="1296"/>
                </a:lnTo>
                <a:lnTo>
                  <a:pt x="2241" y="1207"/>
                </a:lnTo>
                <a:lnTo>
                  <a:pt x="1848" y="1207"/>
                </a:lnTo>
                <a:lnTo>
                  <a:pt x="1265" y="624"/>
                </a:lnTo>
                <a:moveTo>
                  <a:pt x="975" y="585"/>
                </a:moveTo>
                <a:lnTo>
                  <a:pt x="354" y="1207"/>
                </a:lnTo>
                <a:lnTo>
                  <a:pt x="39" y="1207"/>
                </a:lnTo>
                <a:lnTo>
                  <a:pt x="0" y="1296"/>
                </a:lnTo>
                <a:lnTo>
                  <a:pt x="393" y="1296"/>
                </a:lnTo>
                <a:lnTo>
                  <a:pt x="1040" y="649"/>
                </a:lnTo>
                <a:lnTo>
                  <a:pt x="975" y="585"/>
                </a:lnTo>
                <a:moveTo>
                  <a:pt x="0" y="0"/>
                </a:moveTo>
                <a:lnTo>
                  <a:pt x="0" y="0"/>
                </a:lnTo>
                <a:lnTo>
                  <a:pt x="248" y="560"/>
                </a:lnTo>
                <a:lnTo>
                  <a:pt x="248" y="56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2" name="Freeform 27"/>
          <p:cNvSpPr/>
          <p:nvPr/>
        </p:nvSpPr>
        <p:spPr bwMode="auto">
          <a:xfrm>
            <a:off x="4497480" y="2811842"/>
            <a:ext cx="870127" cy="510354"/>
          </a:xfrm>
          <a:custGeom>
            <a:avLst/>
            <a:gdLst>
              <a:gd name="T0" fmla="*/ 0 w 976"/>
              <a:gd name="T1" fmla="*/ 0 h 583"/>
              <a:gd name="T2" fmla="*/ 0 w 976"/>
              <a:gd name="T3" fmla="*/ 0 h 583"/>
              <a:gd name="T4" fmla="*/ 583 w 976"/>
              <a:gd name="T5" fmla="*/ 583 h 583"/>
              <a:gd name="T6" fmla="*/ 976 w 976"/>
              <a:gd name="T7" fmla="*/ 583 h 583"/>
              <a:gd name="T8" fmla="*/ 583 w 976"/>
              <a:gd name="T9" fmla="*/ 583 h 583"/>
              <a:gd name="T10" fmla="*/ 0 w 976"/>
              <a:gd name="T11" fmla="*/ 0 h 583"/>
            </a:gdLst>
            <a:ahLst/>
            <a:cxnLst>
              <a:cxn ang="0">
                <a:pos x="T0" y="T1"/>
              </a:cxn>
              <a:cxn ang="0">
                <a:pos x="T2" y="T3"/>
              </a:cxn>
              <a:cxn ang="0">
                <a:pos x="T4" y="T5"/>
              </a:cxn>
              <a:cxn ang="0">
                <a:pos x="T6" y="T7"/>
              </a:cxn>
              <a:cxn ang="0">
                <a:pos x="T8" y="T9"/>
              </a:cxn>
              <a:cxn ang="0">
                <a:pos x="T10" y="T11"/>
              </a:cxn>
            </a:cxnLst>
            <a:rect l="0" t="0" r="r" b="b"/>
            <a:pathLst>
              <a:path w="976" h="583">
                <a:moveTo>
                  <a:pt x="0" y="0"/>
                </a:moveTo>
                <a:lnTo>
                  <a:pt x="0" y="0"/>
                </a:lnTo>
                <a:lnTo>
                  <a:pt x="583" y="583"/>
                </a:lnTo>
                <a:lnTo>
                  <a:pt x="976" y="583"/>
                </a:lnTo>
                <a:lnTo>
                  <a:pt x="583" y="583"/>
                </a:lnTo>
                <a:lnTo>
                  <a:pt x="0" y="0"/>
                </a:lnTo>
                <a:close/>
              </a:path>
            </a:pathLst>
          </a:custGeom>
          <a:solidFill>
            <a:srgbClr val="378690"/>
          </a:solidFill>
          <a:ln>
            <a:noFill/>
          </a:ln>
          <a:extLs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3" name="Freeform 28"/>
          <p:cNvSpPr/>
          <p:nvPr/>
        </p:nvSpPr>
        <p:spPr bwMode="auto">
          <a:xfrm>
            <a:off x="4497480" y="2811842"/>
            <a:ext cx="870127" cy="510354"/>
          </a:xfrm>
          <a:custGeom>
            <a:avLst/>
            <a:gdLst>
              <a:gd name="T0" fmla="*/ 0 w 976"/>
              <a:gd name="T1" fmla="*/ 0 h 583"/>
              <a:gd name="T2" fmla="*/ 0 w 976"/>
              <a:gd name="T3" fmla="*/ 0 h 583"/>
              <a:gd name="T4" fmla="*/ 583 w 976"/>
              <a:gd name="T5" fmla="*/ 583 h 583"/>
              <a:gd name="T6" fmla="*/ 976 w 976"/>
              <a:gd name="T7" fmla="*/ 583 h 583"/>
              <a:gd name="T8" fmla="*/ 583 w 976"/>
              <a:gd name="T9" fmla="*/ 583 h 583"/>
              <a:gd name="T10" fmla="*/ 0 w 976"/>
              <a:gd name="T11" fmla="*/ 0 h 583"/>
            </a:gdLst>
            <a:ahLst/>
            <a:cxnLst>
              <a:cxn ang="0">
                <a:pos x="T0" y="T1"/>
              </a:cxn>
              <a:cxn ang="0">
                <a:pos x="T2" y="T3"/>
              </a:cxn>
              <a:cxn ang="0">
                <a:pos x="T4" y="T5"/>
              </a:cxn>
              <a:cxn ang="0">
                <a:pos x="T6" y="T7"/>
              </a:cxn>
              <a:cxn ang="0">
                <a:pos x="T8" y="T9"/>
              </a:cxn>
              <a:cxn ang="0">
                <a:pos x="T10" y="T11"/>
              </a:cxn>
            </a:cxnLst>
            <a:rect l="0" t="0" r="r" b="b"/>
            <a:pathLst>
              <a:path w="976" h="583">
                <a:moveTo>
                  <a:pt x="0" y="0"/>
                </a:moveTo>
                <a:lnTo>
                  <a:pt x="0" y="0"/>
                </a:lnTo>
                <a:lnTo>
                  <a:pt x="583" y="583"/>
                </a:lnTo>
                <a:lnTo>
                  <a:pt x="976" y="583"/>
                </a:lnTo>
                <a:lnTo>
                  <a:pt x="583" y="58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sp>
        <p:nvSpPr>
          <p:cNvPr id="64" name="Freeform 31"/>
          <p:cNvSpPr/>
          <p:nvPr/>
        </p:nvSpPr>
        <p:spPr bwMode="auto">
          <a:xfrm>
            <a:off x="3404469" y="2777701"/>
            <a:ext cx="834466" cy="544494"/>
          </a:xfrm>
          <a:custGeom>
            <a:avLst/>
            <a:gdLst>
              <a:gd name="T0" fmla="*/ 936 w 936"/>
              <a:gd name="T1" fmla="*/ 0 h 622"/>
              <a:gd name="T2" fmla="*/ 315 w 936"/>
              <a:gd name="T3" fmla="*/ 622 h 622"/>
              <a:gd name="T4" fmla="*/ 0 w 936"/>
              <a:gd name="T5" fmla="*/ 622 h 622"/>
              <a:gd name="T6" fmla="*/ 315 w 936"/>
              <a:gd name="T7" fmla="*/ 622 h 622"/>
              <a:gd name="T8" fmla="*/ 936 w 936"/>
              <a:gd name="T9" fmla="*/ 0 h 622"/>
              <a:gd name="T10" fmla="*/ 936 w 936"/>
              <a:gd name="T11" fmla="*/ 0 h 622"/>
            </a:gdLst>
            <a:ahLst/>
            <a:cxnLst>
              <a:cxn ang="0">
                <a:pos x="T0" y="T1"/>
              </a:cxn>
              <a:cxn ang="0">
                <a:pos x="T2" y="T3"/>
              </a:cxn>
              <a:cxn ang="0">
                <a:pos x="T4" y="T5"/>
              </a:cxn>
              <a:cxn ang="0">
                <a:pos x="T6" y="T7"/>
              </a:cxn>
              <a:cxn ang="0">
                <a:pos x="T8" y="T9"/>
              </a:cxn>
              <a:cxn ang="0">
                <a:pos x="T10" y="T11"/>
              </a:cxn>
            </a:cxnLst>
            <a:rect l="0" t="0" r="r" b="b"/>
            <a:pathLst>
              <a:path w="936" h="622">
                <a:moveTo>
                  <a:pt x="936" y="0"/>
                </a:moveTo>
                <a:lnTo>
                  <a:pt x="315" y="622"/>
                </a:lnTo>
                <a:lnTo>
                  <a:pt x="0" y="622"/>
                </a:lnTo>
                <a:lnTo>
                  <a:pt x="315" y="622"/>
                </a:lnTo>
                <a:lnTo>
                  <a:pt x="936" y="0"/>
                </a:lnTo>
                <a:lnTo>
                  <a:pt x="936" y="0"/>
                </a:lnTo>
                <a:close/>
              </a:path>
            </a:pathLst>
          </a:custGeom>
          <a:solidFill>
            <a:srgbClr val="A95865"/>
          </a:solidFill>
          <a:ln>
            <a:noFill/>
          </a:ln>
          <a:extLst>
            <a:ext uri="{91240B29-F687-4F45-9708-019B960494DF}">
              <a14:hiddenLine xmlns:a14="http://schemas.microsoft.com/office/drawing/2010/main" w="9525">
                <a:solidFill>
                  <a:srgbClr val="000000"/>
                </a:solidFill>
                <a:round/>
              </a14:hiddenLine>
            </a:ext>
          </a:extLst>
        </p:spPr>
        <p:txBody>
          <a:bodyPr vert="horz" wrap="square" lIns="67374" tIns="33687" rIns="67374" bIns="33687" numCol="1" anchor="t" anchorCtr="0" compatLnSpc="1"/>
          <a:lstStyle/>
          <a:p>
            <a:endParaRPr lang="zh-CN" altLang="en-US" sz="2400"/>
          </a:p>
        </p:txBody>
      </p:sp>
      <p:grpSp>
        <p:nvGrpSpPr>
          <p:cNvPr id="65" name="Group 65"/>
          <p:cNvGrpSpPr/>
          <p:nvPr/>
        </p:nvGrpSpPr>
        <p:grpSpPr>
          <a:xfrm>
            <a:off x="3664793" y="819660"/>
            <a:ext cx="2540886" cy="920155"/>
            <a:chOff x="336640" y="2982432"/>
            <a:chExt cx="2581890" cy="939237"/>
          </a:xfrm>
        </p:grpSpPr>
        <p:sp>
          <p:nvSpPr>
            <p:cNvPr id="66" name="文本框 11"/>
            <p:cNvSpPr txBox="1"/>
            <p:nvPr/>
          </p:nvSpPr>
          <p:spPr>
            <a:xfrm>
              <a:off x="398742" y="2982432"/>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67" name="矩形 9"/>
            <p:cNvSpPr/>
            <p:nvPr/>
          </p:nvSpPr>
          <p:spPr>
            <a:xfrm>
              <a:off x="336640" y="3290209"/>
              <a:ext cx="2581890"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68" name="Group 73"/>
          <p:cNvGrpSpPr/>
          <p:nvPr/>
        </p:nvGrpSpPr>
        <p:grpSpPr>
          <a:xfrm>
            <a:off x="6001760" y="2340373"/>
            <a:ext cx="2668261" cy="955504"/>
            <a:chOff x="803868" y="2946350"/>
            <a:chExt cx="2711321" cy="975319"/>
          </a:xfrm>
        </p:grpSpPr>
        <p:sp>
          <p:nvSpPr>
            <p:cNvPr id="69" name="文本框 11"/>
            <p:cNvSpPr txBox="1"/>
            <p:nvPr/>
          </p:nvSpPr>
          <p:spPr>
            <a:xfrm>
              <a:off x="803869" y="2946350"/>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70" name="矩形 9"/>
            <p:cNvSpPr/>
            <p:nvPr/>
          </p:nvSpPr>
          <p:spPr>
            <a:xfrm>
              <a:off x="803868" y="3290209"/>
              <a:ext cx="2711321"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71" name="Group 77"/>
          <p:cNvGrpSpPr/>
          <p:nvPr/>
        </p:nvGrpSpPr>
        <p:grpSpPr>
          <a:xfrm>
            <a:off x="356139" y="2384322"/>
            <a:ext cx="2474059" cy="950442"/>
            <a:chOff x="580847" y="2982432"/>
            <a:chExt cx="2513985" cy="970152"/>
          </a:xfrm>
        </p:grpSpPr>
        <p:sp>
          <p:nvSpPr>
            <p:cNvPr id="72" name="文本框 11"/>
            <p:cNvSpPr txBox="1"/>
            <p:nvPr/>
          </p:nvSpPr>
          <p:spPr>
            <a:xfrm>
              <a:off x="1692801" y="2982432"/>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73" name="矩形 9"/>
            <p:cNvSpPr/>
            <p:nvPr/>
          </p:nvSpPr>
          <p:spPr>
            <a:xfrm>
              <a:off x="580847" y="3321124"/>
              <a:ext cx="2513985"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74" name="Group 81"/>
          <p:cNvGrpSpPr/>
          <p:nvPr/>
        </p:nvGrpSpPr>
        <p:grpSpPr>
          <a:xfrm>
            <a:off x="3727582" y="3794908"/>
            <a:ext cx="2540886" cy="920155"/>
            <a:chOff x="336640" y="2982432"/>
            <a:chExt cx="2581890" cy="939237"/>
          </a:xfrm>
        </p:grpSpPr>
        <p:sp>
          <p:nvSpPr>
            <p:cNvPr id="75" name="文本框 11"/>
            <p:cNvSpPr txBox="1"/>
            <p:nvPr/>
          </p:nvSpPr>
          <p:spPr>
            <a:xfrm>
              <a:off x="398742" y="2982432"/>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76" name="矩形 9"/>
            <p:cNvSpPr/>
            <p:nvPr/>
          </p:nvSpPr>
          <p:spPr>
            <a:xfrm>
              <a:off x="336640" y="3290209"/>
              <a:ext cx="2581890"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77" name="Group 89"/>
          <p:cNvGrpSpPr/>
          <p:nvPr/>
        </p:nvGrpSpPr>
        <p:grpSpPr>
          <a:xfrm>
            <a:off x="3774455" y="1755243"/>
            <a:ext cx="1153630" cy="913035"/>
            <a:chOff x="3834171" y="1790972"/>
            <a:chExt cx="1172247" cy="931969"/>
          </a:xfrm>
        </p:grpSpPr>
        <p:sp>
          <p:nvSpPr>
            <p:cNvPr id="78" name="Freeform 5"/>
            <p:cNvSpPr/>
            <p:nvPr/>
          </p:nvSpPr>
          <p:spPr bwMode="auto">
            <a:xfrm>
              <a:off x="4420294" y="1790972"/>
              <a:ext cx="586124" cy="931969"/>
            </a:xfrm>
            <a:custGeom>
              <a:avLst/>
              <a:gdLst>
                <a:gd name="T0" fmla="*/ 647 w 647"/>
                <a:gd name="T1" fmla="*/ 0 h 1043"/>
                <a:gd name="T2" fmla="*/ 0 w 647"/>
                <a:gd name="T3" fmla="*/ 290 h 1043"/>
                <a:gd name="T4" fmla="*/ 0 w 647"/>
                <a:gd name="T5" fmla="*/ 1043 h 1043"/>
                <a:gd name="T6" fmla="*/ 647 w 647"/>
                <a:gd name="T7" fmla="*/ 396 h 1043"/>
                <a:gd name="T8" fmla="*/ 647 w 647"/>
                <a:gd name="T9" fmla="*/ 0 h 1043"/>
              </a:gdLst>
              <a:ahLst/>
              <a:cxnLst>
                <a:cxn ang="0">
                  <a:pos x="T0" y="T1"/>
                </a:cxn>
                <a:cxn ang="0">
                  <a:pos x="T2" y="T3"/>
                </a:cxn>
                <a:cxn ang="0">
                  <a:pos x="T4" y="T5"/>
                </a:cxn>
                <a:cxn ang="0">
                  <a:pos x="T6" y="T7"/>
                </a:cxn>
                <a:cxn ang="0">
                  <a:pos x="T8" y="T9"/>
                </a:cxn>
              </a:cxnLst>
              <a:rect l="0" t="0" r="r" b="b"/>
              <a:pathLst>
                <a:path w="647" h="1043">
                  <a:moveTo>
                    <a:pt x="647" y="0"/>
                  </a:moveTo>
                  <a:lnTo>
                    <a:pt x="0" y="290"/>
                  </a:lnTo>
                  <a:lnTo>
                    <a:pt x="0" y="1043"/>
                  </a:lnTo>
                  <a:lnTo>
                    <a:pt x="647" y="396"/>
                  </a:lnTo>
                  <a:lnTo>
                    <a:pt x="647" y="0"/>
                  </a:lnTo>
                  <a:close/>
                </a:path>
              </a:pathLst>
            </a:custGeom>
            <a:solidFill>
              <a:srgbClr val="00AEEF">
                <a:alpha val="80000"/>
              </a:srgbClr>
            </a:solidFill>
            <a:ln>
              <a:noFill/>
            </a:ln>
          </p:spPr>
          <p:txBody>
            <a:bodyPr vert="horz" wrap="square" lIns="91416" tIns="45708" rIns="91416" bIns="45708" numCol="1" anchor="t" anchorCtr="0" compatLnSpc="1"/>
            <a:lstStyle/>
            <a:p>
              <a:endParaRPr lang="zh-CN" altLang="en-US" sz="2400"/>
            </a:p>
          </p:txBody>
        </p:sp>
        <p:sp>
          <p:nvSpPr>
            <p:cNvPr id="79" name="Freeform 7"/>
            <p:cNvSpPr/>
            <p:nvPr/>
          </p:nvSpPr>
          <p:spPr bwMode="auto">
            <a:xfrm>
              <a:off x="3834171" y="1790972"/>
              <a:ext cx="586124" cy="931969"/>
            </a:xfrm>
            <a:custGeom>
              <a:avLst/>
              <a:gdLst>
                <a:gd name="T0" fmla="*/ 0 w 647"/>
                <a:gd name="T1" fmla="*/ 0 h 1043"/>
                <a:gd name="T2" fmla="*/ 647 w 647"/>
                <a:gd name="T3" fmla="*/ 290 h 1043"/>
                <a:gd name="T4" fmla="*/ 647 w 647"/>
                <a:gd name="T5" fmla="*/ 1043 h 1043"/>
                <a:gd name="T6" fmla="*/ 0 w 647"/>
                <a:gd name="T7" fmla="*/ 396 h 1043"/>
                <a:gd name="T8" fmla="*/ 0 w 647"/>
                <a:gd name="T9" fmla="*/ 0 h 1043"/>
              </a:gdLst>
              <a:ahLst/>
              <a:cxnLst>
                <a:cxn ang="0">
                  <a:pos x="T0" y="T1"/>
                </a:cxn>
                <a:cxn ang="0">
                  <a:pos x="T2" y="T3"/>
                </a:cxn>
                <a:cxn ang="0">
                  <a:pos x="T4" y="T5"/>
                </a:cxn>
                <a:cxn ang="0">
                  <a:pos x="T6" y="T7"/>
                </a:cxn>
                <a:cxn ang="0">
                  <a:pos x="T8" y="T9"/>
                </a:cxn>
              </a:cxnLst>
              <a:rect l="0" t="0" r="r" b="b"/>
              <a:pathLst>
                <a:path w="647" h="1043">
                  <a:moveTo>
                    <a:pt x="0" y="0"/>
                  </a:moveTo>
                  <a:lnTo>
                    <a:pt x="647" y="290"/>
                  </a:lnTo>
                  <a:lnTo>
                    <a:pt x="647" y="1043"/>
                  </a:lnTo>
                  <a:lnTo>
                    <a:pt x="0" y="396"/>
                  </a:lnTo>
                  <a:lnTo>
                    <a:pt x="0" y="0"/>
                  </a:lnTo>
                  <a:close/>
                </a:path>
              </a:pathLst>
            </a:custGeom>
            <a:solidFill>
              <a:srgbClr val="0070C0"/>
            </a:solidFill>
            <a:ln>
              <a:noFill/>
            </a:ln>
          </p:spPr>
          <p:txBody>
            <a:bodyPr vert="horz" wrap="square" lIns="91416" tIns="45708" rIns="91416" bIns="45708" numCol="1" anchor="t" anchorCtr="0" compatLnSpc="1"/>
            <a:lstStyle/>
            <a:p>
              <a:endParaRPr lang="zh-CN" altLang="en-US" sz="2400"/>
            </a:p>
          </p:txBody>
        </p:sp>
        <p:sp>
          <p:nvSpPr>
            <p:cNvPr id="80" name="Freeform 34"/>
            <p:cNvSpPr>
              <a:spLocks noEditPoints="1"/>
            </p:cNvSpPr>
            <p:nvPr/>
          </p:nvSpPr>
          <p:spPr bwMode="auto">
            <a:xfrm>
              <a:off x="4033471" y="2057249"/>
              <a:ext cx="313445" cy="281467"/>
            </a:xfrm>
            <a:custGeom>
              <a:avLst/>
              <a:gdLst>
                <a:gd name="T0" fmla="*/ 23 w 124"/>
                <a:gd name="T1" fmla="*/ 38 h 113"/>
                <a:gd name="T2" fmla="*/ 0 w 124"/>
                <a:gd name="T3" fmla="*/ 66 h 113"/>
                <a:gd name="T4" fmla="*/ 47 w 124"/>
                <a:gd name="T5" fmla="*/ 98 h 113"/>
                <a:gd name="T6" fmla="*/ 61 w 124"/>
                <a:gd name="T7" fmla="*/ 96 h 113"/>
                <a:gd name="T8" fmla="*/ 78 w 124"/>
                <a:gd name="T9" fmla="*/ 113 h 113"/>
                <a:gd name="T10" fmla="*/ 74 w 124"/>
                <a:gd name="T11" fmla="*/ 92 h 113"/>
                <a:gd name="T12" fmla="*/ 93 w 124"/>
                <a:gd name="T13" fmla="*/ 71 h 113"/>
                <a:gd name="T14" fmla="*/ 74 w 124"/>
                <a:gd name="T15" fmla="*/ 74 h 113"/>
                <a:gd name="T16" fmla="*/ 61 w 124"/>
                <a:gd name="T17" fmla="*/ 73 h 113"/>
                <a:gd name="T18" fmla="*/ 43 w 124"/>
                <a:gd name="T19" fmla="*/ 85 h 113"/>
                <a:gd name="T20" fmla="*/ 43 w 124"/>
                <a:gd name="T21" fmla="*/ 66 h 113"/>
                <a:gd name="T22" fmla="*/ 23 w 124"/>
                <a:gd name="T23" fmla="*/ 38 h 113"/>
                <a:gd name="T24" fmla="*/ 77 w 124"/>
                <a:gd name="T25" fmla="*/ 0 h 113"/>
                <a:gd name="T26" fmla="*/ 30 w 124"/>
                <a:gd name="T27" fmla="*/ 33 h 113"/>
                <a:gd name="T28" fmla="*/ 50 w 124"/>
                <a:gd name="T29" fmla="*/ 59 h 113"/>
                <a:gd name="T30" fmla="*/ 50 w 124"/>
                <a:gd name="T31" fmla="*/ 72 h 113"/>
                <a:gd name="T32" fmla="*/ 63 w 124"/>
                <a:gd name="T33" fmla="*/ 64 h 113"/>
                <a:gd name="T34" fmla="*/ 77 w 124"/>
                <a:gd name="T35" fmla="*/ 65 h 113"/>
                <a:gd name="T36" fmla="*/ 124 w 124"/>
                <a:gd name="T37" fmla="*/ 33 h 113"/>
                <a:gd name="T38" fmla="*/ 77 w 124"/>
                <a:gd name="T3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4" h="113">
                  <a:moveTo>
                    <a:pt x="23" y="38"/>
                  </a:moveTo>
                  <a:cubicBezTo>
                    <a:pt x="9" y="43"/>
                    <a:pt x="0" y="54"/>
                    <a:pt x="0" y="66"/>
                  </a:cubicBezTo>
                  <a:cubicBezTo>
                    <a:pt x="0" y="83"/>
                    <a:pt x="21" y="98"/>
                    <a:pt x="47" y="98"/>
                  </a:cubicBezTo>
                  <a:cubicBezTo>
                    <a:pt x="52" y="98"/>
                    <a:pt x="57" y="97"/>
                    <a:pt x="61" y="96"/>
                  </a:cubicBezTo>
                  <a:cubicBezTo>
                    <a:pt x="78" y="113"/>
                    <a:pt x="78" y="113"/>
                    <a:pt x="78" y="113"/>
                  </a:cubicBezTo>
                  <a:cubicBezTo>
                    <a:pt x="74" y="92"/>
                    <a:pt x="74" y="92"/>
                    <a:pt x="74" y="92"/>
                  </a:cubicBezTo>
                  <a:cubicBezTo>
                    <a:pt x="84" y="87"/>
                    <a:pt x="91" y="80"/>
                    <a:pt x="93" y="71"/>
                  </a:cubicBezTo>
                  <a:cubicBezTo>
                    <a:pt x="87" y="73"/>
                    <a:pt x="81" y="74"/>
                    <a:pt x="74" y="74"/>
                  </a:cubicBezTo>
                  <a:cubicBezTo>
                    <a:pt x="70" y="74"/>
                    <a:pt x="65" y="74"/>
                    <a:pt x="61" y="73"/>
                  </a:cubicBezTo>
                  <a:cubicBezTo>
                    <a:pt x="59" y="74"/>
                    <a:pt x="43" y="85"/>
                    <a:pt x="43" y="85"/>
                  </a:cubicBezTo>
                  <a:cubicBezTo>
                    <a:pt x="43" y="85"/>
                    <a:pt x="43" y="70"/>
                    <a:pt x="43" y="66"/>
                  </a:cubicBezTo>
                  <a:cubicBezTo>
                    <a:pt x="31" y="60"/>
                    <a:pt x="23" y="49"/>
                    <a:pt x="23" y="38"/>
                  </a:cubicBezTo>
                  <a:moveTo>
                    <a:pt x="77" y="0"/>
                  </a:moveTo>
                  <a:cubicBezTo>
                    <a:pt x="51" y="0"/>
                    <a:pt x="30" y="15"/>
                    <a:pt x="30" y="33"/>
                  </a:cubicBezTo>
                  <a:cubicBezTo>
                    <a:pt x="30" y="44"/>
                    <a:pt x="38" y="53"/>
                    <a:pt x="50" y="59"/>
                  </a:cubicBezTo>
                  <a:cubicBezTo>
                    <a:pt x="50" y="72"/>
                    <a:pt x="50" y="72"/>
                    <a:pt x="50" y="72"/>
                  </a:cubicBezTo>
                  <a:cubicBezTo>
                    <a:pt x="63" y="64"/>
                    <a:pt x="63" y="64"/>
                    <a:pt x="63" y="64"/>
                  </a:cubicBezTo>
                  <a:cubicBezTo>
                    <a:pt x="67" y="65"/>
                    <a:pt x="72" y="65"/>
                    <a:pt x="77" y="65"/>
                  </a:cubicBezTo>
                  <a:cubicBezTo>
                    <a:pt x="103" y="65"/>
                    <a:pt x="124" y="51"/>
                    <a:pt x="124" y="33"/>
                  </a:cubicBezTo>
                  <a:cubicBezTo>
                    <a:pt x="124" y="15"/>
                    <a:pt x="103" y="0"/>
                    <a:pt x="77" y="0"/>
                  </a:cubicBezTo>
                </a:path>
              </a:pathLst>
            </a:custGeom>
            <a:solidFill>
              <a:schemeClr val="bg1"/>
            </a:solidFill>
            <a:ln>
              <a:noFill/>
            </a:ln>
          </p:spPr>
          <p:txBody>
            <a:bodyPr vert="horz" wrap="square" lIns="91416" tIns="45708" rIns="91416" bIns="45708" numCol="1" anchor="t" anchorCtr="0" compatLnSpc="1"/>
            <a:lstStyle/>
            <a:p>
              <a:endParaRPr lang="zh-CN" altLang="en-US" sz="2400"/>
            </a:p>
          </p:txBody>
        </p:sp>
        <p:sp>
          <p:nvSpPr>
            <p:cNvPr id="81" name="TextBox 80"/>
            <p:cNvSpPr txBox="1"/>
            <p:nvPr/>
          </p:nvSpPr>
          <p:spPr>
            <a:xfrm>
              <a:off x="4505771" y="2053960"/>
              <a:ext cx="379853" cy="282743"/>
            </a:xfrm>
            <a:prstGeom prst="rect">
              <a:avLst/>
            </a:prstGeom>
            <a:noFill/>
          </p:spPr>
          <p:txBody>
            <a:bodyPr wrap="none" rtlCol="0">
              <a:spAutoFit/>
            </a:bodyPr>
            <a:lstStyle/>
            <a:p>
              <a:r>
                <a:rPr lang="en-US" sz="1200" b="1" dirty="0">
                  <a:solidFill>
                    <a:schemeClr val="bg1"/>
                  </a:solidFill>
                  <a:latin typeface="微软雅黑" panose="020B0503020204020204" pitchFamily="34" charset="-122"/>
                  <a:ea typeface="微软雅黑" panose="020B0503020204020204" pitchFamily="34" charset="-122"/>
                </a:rPr>
                <a:t>01</a:t>
              </a:r>
            </a:p>
          </p:txBody>
        </p:sp>
      </p:grpSp>
      <p:grpSp>
        <p:nvGrpSpPr>
          <p:cNvPr id="82" name="Group 93"/>
          <p:cNvGrpSpPr/>
          <p:nvPr/>
        </p:nvGrpSpPr>
        <p:grpSpPr>
          <a:xfrm>
            <a:off x="3344305" y="2183472"/>
            <a:ext cx="933832" cy="1135385"/>
            <a:chOff x="3397082" y="2228084"/>
            <a:chExt cx="948902" cy="1158930"/>
          </a:xfrm>
        </p:grpSpPr>
        <p:sp>
          <p:nvSpPr>
            <p:cNvPr id="83" name="Freeform 19"/>
            <p:cNvSpPr/>
            <p:nvPr/>
          </p:nvSpPr>
          <p:spPr bwMode="auto">
            <a:xfrm>
              <a:off x="3397082" y="2802771"/>
              <a:ext cx="942147" cy="578125"/>
            </a:xfrm>
            <a:custGeom>
              <a:avLst/>
              <a:gdLst>
                <a:gd name="T0" fmla="*/ 0 w 1040"/>
                <a:gd name="T1" fmla="*/ 647 h 647"/>
                <a:gd name="T2" fmla="*/ 287 w 1040"/>
                <a:gd name="T3" fmla="*/ 0 h 647"/>
                <a:gd name="T4" fmla="*/ 1040 w 1040"/>
                <a:gd name="T5" fmla="*/ 0 h 647"/>
                <a:gd name="T6" fmla="*/ 393 w 1040"/>
                <a:gd name="T7" fmla="*/ 647 h 647"/>
                <a:gd name="T8" fmla="*/ 0 w 1040"/>
                <a:gd name="T9" fmla="*/ 647 h 647"/>
              </a:gdLst>
              <a:ahLst/>
              <a:cxnLst>
                <a:cxn ang="0">
                  <a:pos x="T0" y="T1"/>
                </a:cxn>
                <a:cxn ang="0">
                  <a:pos x="T2" y="T3"/>
                </a:cxn>
                <a:cxn ang="0">
                  <a:pos x="T4" y="T5"/>
                </a:cxn>
                <a:cxn ang="0">
                  <a:pos x="T6" y="T7"/>
                </a:cxn>
                <a:cxn ang="0">
                  <a:pos x="T8" y="T9"/>
                </a:cxn>
              </a:cxnLst>
              <a:rect l="0" t="0" r="r" b="b"/>
              <a:pathLst>
                <a:path w="1040" h="647">
                  <a:moveTo>
                    <a:pt x="0" y="647"/>
                  </a:moveTo>
                  <a:lnTo>
                    <a:pt x="287" y="0"/>
                  </a:lnTo>
                  <a:lnTo>
                    <a:pt x="1040" y="0"/>
                  </a:lnTo>
                  <a:lnTo>
                    <a:pt x="393" y="647"/>
                  </a:lnTo>
                  <a:lnTo>
                    <a:pt x="0" y="647"/>
                  </a:lnTo>
                  <a:close/>
                </a:path>
              </a:pathLst>
            </a:custGeom>
            <a:solidFill>
              <a:srgbClr val="00AEEF">
                <a:alpha val="80000"/>
              </a:srgbClr>
            </a:solidFill>
            <a:ln>
              <a:noFill/>
            </a:ln>
          </p:spPr>
          <p:txBody>
            <a:bodyPr vert="horz" wrap="square" lIns="91416" tIns="45708" rIns="91416" bIns="45708" numCol="1" anchor="t" anchorCtr="0" compatLnSpc="1"/>
            <a:lstStyle/>
            <a:p>
              <a:endParaRPr lang="zh-CN" altLang="en-US" sz="2400"/>
            </a:p>
          </p:txBody>
        </p:sp>
        <p:grpSp>
          <p:nvGrpSpPr>
            <p:cNvPr id="84" name="Group 90"/>
            <p:cNvGrpSpPr/>
            <p:nvPr/>
          </p:nvGrpSpPr>
          <p:grpSpPr>
            <a:xfrm>
              <a:off x="3403837" y="2228084"/>
              <a:ext cx="942147" cy="1158930"/>
              <a:chOff x="3387557" y="2231490"/>
              <a:chExt cx="942147" cy="1158930"/>
            </a:xfrm>
          </p:grpSpPr>
          <p:sp>
            <p:nvSpPr>
              <p:cNvPr id="85" name="Freeform 18"/>
              <p:cNvSpPr/>
              <p:nvPr/>
            </p:nvSpPr>
            <p:spPr bwMode="auto">
              <a:xfrm>
                <a:off x="3387557" y="2231490"/>
                <a:ext cx="942147" cy="580805"/>
              </a:xfrm>
              <a:custGeom>
                <a:avLst/>
                <a:gdLst>
                  <a:gd name="T0" fmla="*/ 0 w 1040"/>
                  <a:gd name="T1" fmla="*/ 0 h 650"/>
                  <a:gd name="T2" fmla="*/ 287 w 1040"/>
                  <a:gd name="T3" fmla="*/ 650 h 650"/>
                  <a:gd name="T4" fmla="*/ 1040 w 1040"/>
                  <a:gd name="T5" fmla="*/ 650 h 650"/>
                  <a:gd name="T6" fmla="*/ 393 w 1040"/>
                  <a:gd name="T7" fmla="*/ 0 h 650"/>
                  <a:gd name="T8" fmla="*/ 0 w 1040"/>
                  <a:gd name="T9" fmla="*/ 0 h 650"/>
                </a:gdLst>
                <a:ahLst/>
                <a:cxnLst>
                  <a:cxn ang="0">
                    <a:pos x="T0" y="T1"/>
                  </a:cxn>
                  <a:cxn ang="0">
                    <a:pos x="T2" y="T3"/>
                  </a:cxn>
                  <a:cxn ang="0">
                    <a:pos x="T4" y="T5"/>
                  </a:cxn>
                  <a:cxn ang="0">
                    <a:pos x="T6" y="T7"/>
                  </a:cxn>
                  <a:cxn ang="0">
                    <a:pos x="T8" y="T9"/>
                  </a:cxn>
                </a:cxnLst>
                <a:rect l="0" t="0" r="r" b="b"/>
                <a:pathLst>
                  <a:path w="1040" h="650">
                    <a:moveTo>
                      <a:pt x="0" y="0"/>
                    </a:moveTo>
                    <a:lnTo>
                      <a:pt x="287" y="650"/>
                    </a:lnTo>
                    <a:lnTo>
                      <a:pt x="1040" y="650"/>
                    </a:lnTo>
                    <a:lnTo>
                      <a:pt x="393" y="0"/>
                    </a:lnTo>
                    <a:lnTo>
                      <a:pt x="0" y="0"/>
                    </a:lnTo>
                  </a:path>
                </a:pathLst>
              </a:cu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400"/>
              </a:p>
            </p:txBody>
          </p:sp>
          <p:sp>
            <p:nvSpPr>
              <p:cNvPr id="86" name="Freeform 32"/>
              <p:cNvSpPr/>
              <p:nvPr/>
            </p:nvSpPr>
            <p:spPr bwMode="auto">
              <a:xfrm>
                <a:off x="3458218" y="2834634"/>
                <a:ext cx="847932" cy="555786"/>
              </a:xfrm>
              <a:custGeom>
                <a:avLst/>
                <a:gdLst>
                  <a:gd name="T0" fmla="*/ 936 w 936"/>
                  <a:gd name="T1" fmla="*/ 0 h 622"/>
                  <a:gd name="T2" fmla="*/ 315 w 936"/>
                  <a:gd name="T3" fmla="*/ 622 h 622"/>
                  <a:gd name="T4" fmla="*/ 0 w 936"/>
                  <a:gd name="T5" fmla="*/ 622 h 622"/>
                  <a:gd name="T6" fmla="*/ 315 w 936"/>
                  <a:gd name="T7" fmla="*/ 622 h 622"/>
                  <a:gd name="T8" fmla="*/ 936 w 936"/>
                  <a:gd name="T9" fmla="*/ 0 h 622"/>
                  <a:gd name="T10" fmla="*/ 936 w 936"/>
                  <a:gd name="T11" fmla="*/ 0 h 622"/>
                </a:gdLst>
                <a:ahLst/>
                <a:cxnLst>
                  <a:cxn ang="0">
                    <a:pos x="T0" y="T1"/>
                  </a:cxn>
                  <a:cxn ang="0">
                    <a:pos x="T2" y="T3"/>
                  </a:cxn>
                  <a:cxn ang="0">
                    <a:pos x="T4" y="T5"/>
                  </a:cxn>
                  <a:cxn ang="0">
                    <a:pos x="T6" y="T7"/>
                  </a:cxn>
                  <a:cxn ang="0">
                    <a:pos x="T8" y="T9"/>
                  </a:cxn>
                  <a:cxn ang="0">
                    <a:pos x="T10" y="T11"/>
                  </a:cxn>
                </a:cxnLst>
                <a:rect l="0" t="0" r="r" b="b"/>
                <a:pathLst>
                  <a:path w="936" h="622">
                    <a:moveTo>
                      <a:pt x="936" y="0"/>
                    </a:moveTo>
                    <a:lnTo>
                      <a:pt x="315" y="622"/>
                    </a:lnTo>
                    <a:lnTo>
                      <a:pt x="0" y="622"/>
                    </a:lnTo>
                    <a:lnTo>
                      <a:pt x="315" y="622"/>
                    </a:lnTo>
                    <a:lnTo>
                      <a:pt x="936" y="0"/>
                    </a:lnTo>
                    <a:lnTo>
                      <a:pt x="93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400"/>
              </a:p>
            </p:txBody>
          </p:sp>
          <p:sp>
            <p:nvSpPr>
              <p:cNvPr id="87" name="Freeform 33"/>
              <p:cNvSpPr>
                <a:spLocks noEditPoints="1"/>
              </p:cNvSpPr>
              <p:nvPr/>
            </p:nvSpPr>
            <p:spPr bwMode="auto">
              <a:xfrm>
                <a:off x="3722743" y="2463811"/>
                <a:ext cx="265432" cy="296658"/>
              </a:xfrm>
              <a:custGeom>
                <a:avLst/>
                <a:gdLst>
                  <a:gd name="T0" fmla="*/ 54 w 105"/>
                  <a:gd name="T1" fmla="*/ 33 h 119"/>
                  <a:gd name="T2" fmla="*/ 51 w 105"/>
                  <a:gd name="T3" fmla="*/ 33 h 119"/>
                  <a:gd name="T4" fmla="*/ 51 w 105"/>
                  <a:gd name="T5" fmla="*/ 66 h 119"/>
                  <a:gd name="T6" fmla="*/ 49 w 105"/>
                  <a:gd name="T7" fmla="*/ 69 h 119"/>
                  <a:gd name="T8" fmla="*/ 50 w 105"/>
                  <a:gd name="T9" fmla="*/ 71 h 119"/>
                  <a:gd name="T10" fmla="*/ 51 w 105"/>
                  <a:gd name="T11" fmla="*/ 70 h 119"/>
                  <a:gd name="T12" fmla="*/ 51 w 105"/>
                  <a:gd name="T13" fmla="*/ 73 h 119"/>
                  <a:gd name="T14" fmla="*/ 54 w 105"/>
                  <a:gd name="T15" fmla="*/ 73 h 119"/>
                  <a:gd name="T16" fmla="*/ 54 w 105"/>
                  <a:gd name="T17" fmla="*/ 67 h 119"/>
                  <a:gd name="T18" fmla="*/ 72 w 105"/>
                  <a:gd name="T19" fmla="*/ 49 h 119"/>
                  <a:gd name="T20" fmla="*/ 71 w 105"/>
                  <a:gd name="T21" fmla="*/ 47 h 119"/>
                  <a:gd name="T22" fmla="*/ 54 w 105"/>
                  <a:gd name="T23" fmla="*/ 64 h 119"/>
                  <a:gd name="T24" fmla="*/ 54 w 105"/>
                  <a:gd name="T25" fmla="*/ 33 h 119"/>
                  <a:gd name="T26" fmla="*/ 51 w 105"/>
                  <a:gd name="T27" fmla="*/ 31 h 119"/>
                  <a:gd name="T28" fmla="*/ 54 w 105"/>
                  <a:gd name="T29" fmla="*/ 31 h 119"/>
                  <a:gd name="T30" fmla="*/ 54 w 105"/>
                  <a:gd name="T31" fmla="*/ 21 h 119"/>
                  <a:gd name="T32" fmla="*/ 84 w 105"/>
                  <a:gd name="T33" fmla="*/ 34 h 119"/>
                  <a:gd name="T34" fmla="*/ 77 w 105"/>
                  <a:gd name="T35" fmla="*/ 40 h 119"/>
                  <a:gd name="T36" fmla="*/ 79 w 105"/>
                  <a:gd name="T37" fmla="*/ 42 h 119"/>
                  <a:gd name="T38" fmla="*/ 86 w 105"/>
                  <a:gd name="T39" fmla="*/ 35 h 119"/>
                  <a:gd name="T40" fmla="*/ 98 w 105"/>
                  <a:gd name="T41" fmla="*/ 65 h 119"/>
                  <a:gd name="T42" fmla="*/ 89 w 105"/>
                  <a:gd name="T43" fmla="*/ 65 h 119"/>
                  <a:gd name="T44" fmla="*/ 89 w 105"/>
                  <a:gd name="T45" fmla="*/ 68 h 119"/>
                  <a:gd name="T46" fmla="*/ 98 w 105"/>
                  <a:gd name="T47" fmla="*/ 68 h 119"/>
                  <a:gd name="T48" fmla="*/ 86 w 105"/>
                  <a:gd name="T49" fmla="*/ 98 h 119"/>
                  <a:gd name="T50" fmla="*/ 79 w 105"/>
                  <a:gd name="T51" fmla="*/ 91 h 119"/>
                  <a:gd name="T52" fmla="*/ 77 w 105"/>
                  <a:gd name="T53" fmla="*/ 93 h 119"/>
                  <a:gd name="T54" fmla="*/ 84 w 105"/>
                  <a:gd name="T55" fmla="*/ 100 h 119"/>
                  <a:gd name="T56" fmla="*/ 54 w 105"/>
                  <a:gd name="T57" fmla="*/ 112 h 119"/>
                  <a:gd name="T58" fmla="*/ 54 w 105"/>
                  <a:gd name="T59" fmla="*/ 103 h 119"/>
                  <a:gd name="T60" fmla="*/ 51 w 105"/>
                  <a:gd name="T61" fmla="*/ 103 h 119"/>
                  <a:gd name="T62" fmla="*/ 51 w 105"/>
                  <a:gd name="T63" fmla="*/ 112 h 119"/>
                  <a:gd name="T64" fmla="*/ 21 w 105"/>
                  <a:gd name="T65" fmla="*/ 100 h 119"/>
                  <a:gd name="T66" fmla="*/ 28 w 105"/>
                  <a:gd name="T67" fmla="*/ 93 h 119"/>
                  <a:gd name="T68" fmla="*/ 26 w 105"/>
                  <a:gd name="T69" fmla="*/ 91 h 119"/>
                  <a:gd name="T70" fmla="*/ 20 w 105"/>
                  <a:gd name="T71" fmla="*/ 98 h 119"/>
                  <a:gd name="T72" fmla="*/ 7 w 105"/>
                  <a:gd name="T73" fmla="*/ 68 h 119"/>
                  <a:gd name="T74" fmla="*/ 17 w 105"/>
                  <a:gd name="T75" fmla="*/ 68 h 119"/>
                  <a:gd name="T76" fmla="*/ 17 w 105"/>
                  <a:gd name="T77" fmla="*/ 65 h 119"/>
                  <a:gd name="T78" fmla="*/ 7 w 105"/>
                  <a:gd name="T79" fmla="*/ 65 h 119"/>
                  <a:gd name="T80" fmla="*/ 20 w 105"/>
                  <a:gd name="T81" fmla="*/ 35 h 119"/>
                  <a:gd name="T82" fmla="*/ 26 w 105"/>
                  <a:gd name="T83" fmla="*/ 42 h 119"/>
                  <a:gd name="T84" fmla="*/ 28 w 105"/>
                  <a:gd name="T85" fmla="*/ 40 h 119"/>
                  <a:gd name="T86" fmla="*/ 21 w 105"/>
                  <a:gd name="T87" fmla="*/ 34 h 119"/>
                  <a:gd name="T88" fmla="*/ 51 w 105"/>
                  <a:gd name="T89" fmla="*/ 21 h 119"/>
                  <a:gd name="T90" fmla="*/ 51 w 105"/>
                  <a:gd name="T91" fmla="*/ 31 h 119"/>
                  <a:gd name="T92" fmla="*/ 65 w 105"/>
                  <a:gd name="T93" fmla="*/ 0 h 119"/>
                  <a:gd name="T94" fmla="*/ 40 w 105"/>
                  <a:gd name="T95" fmla="*/ 0 h 119"/>
                  <a:gd name="T96" fmla="*/ 40 w 105"/>
                  <a:gd name="T97" fmla="*/ 10 h 119"/>
                  <a:gd name="T98" fmla="*/ 50 w 105"/>
                  <a:gd name="T99" fmla="*/ 10 h 119"/>
                  <a:gd name="T100" fmla="*/ 50 w 105"/>
                  <a:gd name="T101" fmla="*/ 14 h 119"/>
                  <a:gd name="T102" fmla="*/ 0 w 105"/>
                  <a:gd name="T103" fmla="*/ 67 h 119"/>
                  <a:gd name="T104" fmla="*/ 53 w 105"/>
                  <a:gd name="T105" fmla="*/ 119 h 119"/>
                  <a:gd name="T106" fmla="*/ 105 w 105"/>
                  <a:gd name="T107" fmla="*/ 67 h 119"/>
                  <a:gd name="T108" fmla="*/ 56 w 105"/>
                  <a:gd name="T109" fmla="*/ 14 h 119"/>
                  <a:gd name="T110" fmla="*/ 56 w 105"/>
                  <a:gd name="T111" fmla="*/ 10 h 119"/>
                  <a:gd name="T112" fmla="*/ 65 w 105"/>
                  <a:gd name="T113" fmla="*/ 10 h 119"/>
                  <a:gd name="T114" fmla="*/ 65 w 105"/>
                  <a:gd name="T11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9">
                    <a:moveTo>
                      <a:pt x="54" y="33"/>
                    </a:moveTo>
                    <a:cubicBezTo>
                      <a:pt x="51" y="33"/>
                      <a:pt x="51" y="33"/>
                      <a:pt x="51" y="33"/>
                    </a:cubicBezTo>
                    <a:cubicBezTo>
                      <a:pt x="51" y="66"/>
                      <a:pt x="51" y="66"/>
                      <a:pt x="51" y="66"/>
                    </a:cubicBezTo>
                    <a:cubicBezTo>
                      <a:pt x="49" y="69"/>
                      <a:pt x="49" y="69"/>
                      <a:pt x="49" y="69"/>
                    </a:cubicBezTo>
                    <a:cubicBezTo>
                      <a:pt x="50" y="71"/>
                      <a:pt x="50" y="71"/>
                      <a:pt x="50" y="71"/>
                    </a:cubicBezTo>
                    <a:cubicBezTo>
                      <a:pt x="51" y="70"/>
                      <a:pt x="51" y="70"/>
                      <a:pt x="51" y="70"/>
                    </a:cubicBezTo>
                    <a:cubicBezTo>
                      <a:pt x="51" y="73"/>
                      <a:pt x="51" y="73"/>
                      <a:pt x="51" y="73"/>
                    </a:cubicBezTo>
                    <a:cubicBezTo>
                      <a:pt x="54" y="73"/>
                      <a:pt x="54" y="73"/>
                      <a:pt x="54" y="73"/>
                    </a:cubicBezTo>
                    <a:cubicBezTo>
                      <a:pt x="54" y="67"/>
                      <a:pt x="54" y="67"/>
                      <a:pt x="54" y="67"/>
                    </a:cubicBezTo>
                    <a:cubicBezTo>
                      <a:pt x="72" y="49"/>
                      <a:pt x="72" y="49"/>
                      <a:pt x="72" y="49"/>
                    </a:cubicBezTo>
                    <a:cubicBezTo>
                      <a:pt x="71" y="47"/>
                      <a:pt x="71" y="47"/>
                      <a:pt x="71" y="47"/>
                    </a:cubicBezTo>
                    <a:cubicBezTo>
                      <a:pt x="54" y="64"/>
                      <a:pt x="54" y="64"/>
                      <a:pt x="54" y="64"/>
                    </a:cubicBezTo>
                    <a:cubicBezTo>
                      <a:pt x="54" y="33"/>
                      <a:pt x="54" y="33"/>
                      <a:pt x="54" y="33"/>
                    </a:cubicBezTo>
                    <a:moveTo>
                      <a:pt x="51" y="31"/>
                    </a:moveTo>
                    <a:cubicBezTo>
                      <a:pt x="54" y="31"/>
                      <a:pt x="54" y="31"/>
                      <a:pt x="54" y="31"/>
                    </a:cubicBezTo>
                    <a:cubicBezTo>
                      <a:pt x="54" y="21"/>
                      <a:pt x="54" y="21"/>
                      <a:pt x="54" y="21"/>
                    </a:cubicBezTo>
                    <a:cubicBezTo>
                      <a:pt x="66" y="21"/>
                      <a:pt x="76" y="26"/>
                      <a:pt x="84" y="34"/>
                    </a:cubicBezTo>
                    <a:cubicBezTo>
                      <a:pt x="77" y="40"/>
                      <a:pt x="77" y="40"/>
                      <a:pt x="77" y="40"/>
                    </a:cubicBezTo>
                    <a:cubicBezTo>
                      <a:pt x="79" y="42"/>
                      <a:pt x="79" y="42"/>
                      <a:pt x="79" y="42"/>
                    </a:cubicBezTo>
                    <a:cubicBezTo>
                      <a:pt x="86" y="35"/>
                      <a:pt x="86" y="35"/>
                      <a:pt x="86" y="35"/>
                    </a:cubicBezTo>
                    <a:cubicBezTo>
                      <a:pt x="93" y="43"/>
                      <a:pt x="98" y="54"/>
                      <a:pt x="98" y="65"/>
                    </a:cubicBezTo>
                    <a:cubicBezTo>
                      <a:pt x="89" y="65"/>
                      <a:pt x="89" y="65"/>
                      <a:pt x="89" y="65"/>
                    </a:cubicBezTo>
                    <a:cubicBezTo>
                      <a:pt x="89" y="68"/>
                      <a:pt x="89" y="68"/>
                      <a:pt x="89" y="68"/>
                    </a:cubicBezTo>
                    <a:cubicBezTo>
                      <a:pt x="98" y="68"/>
                      <a:pt x="98" y="68"/>
                      <a:pt x="98" y="68"/>
                    </a:cubicBezTo>
                    <a:cubicBezTo>
                      <a:pt x="98" y="79"/>
                      <a:pt x="93" y="90"/>
                      <a:pt x="86" y="98"/>
                    </a:cubicBezTo>
                    <a:cubicBezTo>
                      <a:pt x="79" y="91"/>
                      <a:pt x="79" y="91"/>
                      <a:pt x="79" y="91"/>
                    </a:cubicBezTo>
                    <a:cubicBezTo>
                      <a:pt x="77" y="93"/>
                      <a:pt x="77" y="93"/>
                      <a:pt x="77" y="93"/>
                    </a:cubicBezTo>
                    <a:cubicBezTo>
                      <a:pt x="84" y="100"/>
                      <a:pt x="84" y="100"/>
                      <a:pt x="84" y="100"/>
                    </a:cubicBezTo>
                    <a:cubicBezTo>
                      <a:pt x="76" y="107"/>
                      <a:pt x="66" y="112"/>
                      <a:pt x="54" y="112"/>
                    </a:cubicBezTo>
                    <a:cubicBezTo>
                      <a:pt x="54" y="103"/>
                      <a:pt x="54" y="103"/>
                      <a:pt x="54" y="103"/>
                    </a:cubicBezTo>
                    <a:cubicBezTo>
                      <a:pt x="51" y="103"/>
                      <a:pt x="51" y="103"/>
                      <a:pt x="51" y="103"/>
                    </a:cubicBezTo>
                    <a:cubicBezTo>
                      <a:pt x="51" y="112"/>
                      <a:pt x="51" y="112"/>
                      <a:pt x="51" y="112"/>
                    </a:cubicBezTo>
                    <a:cubicBezTo>
                      <a:pt x="40" y="112"/>
                      <a:pt x="29" y="107"/>
                      <a:pt x="21" y="100"/>
                    </a:cubicBezTo>
                    <a:cubicBezTo>
                      <a:pt x="28" y="93"/>
                      <a:pt x="28" y="93"/>
                      <a:pt x="28" y="93"/>
                    </a:cubicBezTo>
                    <a:cubicBezTo>
                      <a:pt x="26" y="91"/>
                      <a:pt x="26" y="91"/>
                      <a:pt x="26" y="91"/>
                    </a:cubicBezTo>
                    <a:cubicBezTo>
                      <a:pt x="20" y="98"/>
                      <a:pt x="20" y="98"/>
                      <a:pt x="20" y="98"/>
                    </a:cubicBezTo>
                    <a:cubicBezTo>
                      <a:pt x="12" y="90"/>
                      <a:pt x="8" y="79"/>
                      <a:pt x="7" y="68"/>
                    </a:cubicBezTo>
                    <a:cubicBezTo>
                      <a:pt x="17" y="68"/>
                      <a:pt x="17" y="68"/>
                      <a:pt x="17" y="68"/>
                    </a:cubicBezTo>
                    <a:cubicBezTo>
                      <a:pt x="17" y="65"/>
                      <a:pt x="17" y="65"/>
                      <a:pt x="17" y="65"/>
                    </a:cubicBezTo>
                    <a:cubicBezTo>
                      <a:pt x="7" y="65"/>
                      <a:pt x="7" y="65"/>
                      <a:pt x="7" y="65"/>
                    </a:cubicBezTo>
                    <a:cubicBezTo>
                      <a:pt x="8" y="54"/>
                      <a:pt x="12" y="43"/>
                      <a:pt x="20" y="35"/>
                    </a:cubicBezTo>
                    <a:cubicBezTo>
                      <a:pt x="26" y="42"/>
                      <a:pt x="26" y="42"/>
                      <a:pt x="26" y="42"/>
                    </a:cubicBezTo>
                    <a:cubicBezTo>
                      <a:pt x="28" y="40"/>
                      <a:pt x="28" y="40"/>
                      <a:pt x="28" y="40"/>
                    </a:cubicBezTo>
                    <a:cubicBezTo>
                      <a:pt x="21" y="34"/>
                      <a:pt x="21" y="34"/>
                      <a:pt x="21" y="34"/>
                    </a:cubicBezTo>
                    <a:cubicBezTo>
                      <a:pt x="29" y="26"/>
                      <a:pt x="40" y="21"/>
                      <a:pt x="51" y="21"/>
                    </a:cubicBezTo>
                    <a:cubicBezTo>
                      <a:pt x="51" y="31"/>
                      <a:pt x="51" y="31"/>
                      <a:pt x="51" y="31"/>
                    </a:cubicBezTo>
                    <a:moveTo>
                      <a:pt x="65" y="0"/>
                    </a:moveTo>
                    <a:cubicBezTo>
                      <a:pt x="40" y="0"/>
                      <a:pt x="40" y="0"/>
                      <a:pt x="40" y="0"/>
                    </a:cubicBezTo>
                    <a:cubicBezTo>
                      <a:pt x="40" y="10"/>
                      <a:pt x="40" y="10"/>
                      <a:pt x="40" y="10"/>
                    </a:cubicBezTo>
                    <a:cubicBezTo>
                      <a:pt x="50" y="10"/>
                      <a:pt x="50" y="10"/>
                      <a:pt x="50" y="10"/>
                    </a:cubicBezTo>
                    <a:cubicBezTo>
                      <a:pt x="50" y="14"/>
                      <a:pt x="50" y="14"/>
                      <a:pt x="50" y="14"/>
                    </a:cubicBezTo>
                    <a:cubicBezTo>
                      <a:pt x="22" y="16"/>
                      <a:pt x="0" y="39"/>
                      <a:pt x="0" y="67"/>
                    </a:cubicBezTo>
                    <a:cubicBezTo>
                      <a:pt x="0" y="96"/>
                      <a:pt x="24" y="119"/>
                      <a:pt x="53" y="119"/>
                    </a:cubicBezTo>
                    <a:cubicBezTo>
                      <a:pt x="82" y="119"/>
                      <a:pt x="105" y="96"/>
                      <a:pt x="105" y="67"/>
                    </a:cubicBezTo>
                    <a:cubicBezTo>
                      <a:pt x="105" y="39"/>
                      <a:pt x="83" y="16"/>
                      <a:pt x="56" y="14"/>
                    </a:cubicBezTo>
                    <a:cubicBezTo>
                      <a:pt x="56" y="10"/>
                      <a:pt x="56" y="10"/>
                      <a:pt x="56" y="10"/>
                    </a:cubicBezTo>
                    <a:cubicBezTo>
                      <a:pt x="65" y="10"/>
                      <a:pt x="65" y="10"/>
                      <a:pt x="65" y="10"/>
                    </a:cubicBezTo>
                    <a:cubicBezTo>
                      <a:pt x="65" y="0"/>
                      <a:pt x="65" y="0"/>
                      <a:pt x="65" y="0"/>
                    </a:cubicBezTo>
                  </a:path>
                </a:pathLst>
              </a:custGeom>
              <a:solidFill>
                <a:schemeClr val="bg1"/>
              </a:solidFill>
              <a:ln>
                <a:noFill/>
              </a:ln>
            </p:spPr>
            <p:txBody>
              <a:bodyPr vert="horz" wrap="square" lIns="91416" tIns="45708" rIns="91416" bIns="45708" numCol="1" anchor="t" anchorCtr="0" compatLnSpc="1"/>
              <a:lstStyle/>
              <a:p>
                <a:endParaRPr lang="zh-CN" altLang="en-US" sz="2400"/>
              </a:p>
            </p:txBody>
          </p:sp>
          <p:sp>
            <p:nvSpPr>
              <p:cNvPr id="88" name="TextBox 87"/>
              <p:cNvSpPr txBox="1"/>
              <p:nvPr/>
            </p:nvSpPr>
            <p:spPr>
              <a:xfrm>
                <a:off x="3609161" y="2909388"/>
                <a:ext cx="379853" cy="282743"/>
              </a:xfrm>
              <a:prstGeom prst="rect">
                <a:avLst/>
              </a:prstGeom>
              <a:noFill/>
            </p:spPr>
            <p:txBody>
              <a:bodyPr wrap="none" rtlCol="0">
                <a:spAutoFit/>
              </a:bodyPr>
              <a:lstStyle/>
              <a:p>
                <a:r>
                  <a:rPr lang="en-US" sz="1200" b="1" dirty="0">
                    <a:solidFill>
                      <a:schemeClr val="bg1"/>
                    </a:solidFill>
                    <a:latin typeface="微软雅黑" panose="020B0503020204020204" pitchFamily="34" charset="-122"/>
                    <a:ea typeface="微软雅黑" panose="020B0503020204020204" pitchFamily="34" charset="-122"/>
                  </a:rPr>
                  <a:t>0</a:t>
                </a:r>
                <a:r>
                  <a:rPr lang="en-US" altLang="zh-CN" sz="1200" b="1" dirty="0">
                    <a:solidFill>
                      <a:schemeClr val="bg1"/>
                    </a:solidFill>
                    <a:latin typeface="微软雅黑" panose="020B0503020204020204" pitchFamily="34" charset="-122"/>
                    <a:ea typeface="微软雅黑" panose="020B0503020204020204" pitchFamily="34" charset="-122"/>
                  </a:rPr>
                  <a:t>2</a:t>
                </a:r>
                <a:endParaRPr lang="en-US" sz="1200" b="1" dirty="0">
                  <a:solidFill>
                    <a:schemeClr val="bg1"/>
                  </a:solidFill>
                  <a:latin typeface="微软雅黑" panose="020B0503020204020204" pitchFamily="34" charset="-122"/>
                  <a:ea typeface="微软雅黑" panose="020B0503020204020204" pitchFamily="34" charset="-122"/>
                </a:endParaRPr>
              </a:p>
            </p:txBody>
          </p:sp>
        </p:grpSp>
      </p:grpSp>
      <p:grpSp>
        <p:nvGrpSpPr>
          <p:cNvPr id="89" name="Group 92"/>
          <p:cNvGrpSpPr/>
          <p:nvPr/>
        </p:nvGrpSpPr>
        <p:grpSpPr>
          <a:xfrm>
            <a:off x="3774455" y="2841606"/>
            <a:ext cx="1153630" cy="912159"/>
            <a:chOff x="3834171" y="2899863"/>
            <a:chExt cx="1172247" cy="931076"/>
          </a:xfrm>
        </p:grpSpPr>
        <p:sp>
          <p:nvSpPr>
            <p:cNvPr id="90" name="Freeform 13"/>
            <p:cNvSpPr/>
            <p:nvPr/>
          </p:nvSpPr>
          <p:spPr bwMode="auto">
            <a:xfrm>
              <a:off x="3834171" y="2899863"/>
              <a:ext cx="586124" cy="931076"/>
            </a:xfrm>
            <a:custGeom>
              <a:avLst/>
              <a:gdLst>
                <a:gd name="T0" fmla="*/ 0 w 647"/>
                <a:gd name="T1" fmla="*/ 1042 h 1042"/>
                <a:gd name="T2" fmla="*/ 647 w 647"/>
                <a:gd name="T3" fmla="*/ 752 h 1042"/>
                <a:gd name="T4" fmla="*/ 647 w 647"/>
                <a:gd name="T5" fmla="*/ 0 h 1042"/>
                <a:gd name="T6" fmla="*/ 0 w 647"/>
                <a:gd name="T7" fmla="*/ 649 h 1042"/>
                <a:gd name="T8" fmla="*/ 0 w 647"/>
                <a:gd name="T9" fmla="*/ 1042 h 1042"/>
              </a:gdLst>
              <a:ahLst/>
              <a:cxnLst>
                <a:cxn ang="0">
                  <a:pos x="T0" y="T1"/>
                </a:cxn>
                <a:cxn ang="0">
                  <a:pos x="T2" y="T3"/>
                </a:cxn>
                <a:cxn ang="0">
                  <a:pos x="T4" y="T5"/>
                </a:cxn>
                <a:cxn ang="0">
                  <a:pos x="T6" y="T7"/>
                </a:cxn>
                <a:cxn ang="0">
                  <a:pos x="T8" y="T9"/>
                </a:cxn>
              </a:cxnLst>
              <a:rect l="0" t="0" r="r" b="b"/>
              <a:pathLst>
                <a:path w="647" h="1042">
                  <a:moveTo>
                    <a:pt x="0" y="1042"/>
                  </a:moveTo>
                  <a:lnTo>
                    <a:pt x="647" y="752"/>
                  </a:lnTo>
                  <a:lnTo>
                    <a:pt x="647" y="0"/>
                  </a:lnTo>
                  <a:lnTo>
                    <a:pt x="0" y="649"/>
                  </a:lnTo>
                  <a:lnTo>
                    <a:pt x="0" y="1042"/>
                  </a:lnTo>
                  <a:close/>
                </a:path>
              </a:pathLst>
            </a:cu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400"/>
            </a:p>
          </p:txBody>
        </p:sp>
        <p:sp>
          <p:nvSpPr>
            <p:cNvPr id="91" name="Freeform 15"/>
            <p:cNvSpPr/>
            <p:nvPr/>
          </p:nvSpPr>
          <p:spPr bwMode="auto">
            <a:xfrm>
              <a:off x="4420294" y="2899863"/>
              <a:ext cx="586124" cy="931076"/>
            </a:xfrm>
            <a:custGeom>
              <a:avLst/>
              <a:gdLst>
                <a:gd name="T0" fmla="*/ 647 w 647"/>
                <a:gd name="T1" fmla="*/ 1042 h 1042"/>
                <a:gd name="T2" fmla="*/ 0 w 647"/>
                <a:gd name="T3" fmla="*/ 752 h 1042"/>
                <a:gd name="T4" fmla="*/ 0 w 647"/>
                <a:gd name="T5" fmla="*/ 0 h 1042"/>
                <a:gd name="T6" fmla="*/ 647 w 647"/>
                <a:gd name="T7" fmla="*/ 649 h 1042"/>
                <a:gd name="T8" fmla="*/ 647 w 647"/>
                <a:gd name="T9" fmla="*/ 1042 h 1042"/>
              </a:gdLst>
              <a:ahLst/>
              <a:cxnLst>
                <a:cxn ang="0">
                  <a:pos x="T0" y="T1"/>
                </a:cxn>
                <a:cxn ang="0">
                  <a:pos x="T2" y="T3"/>
                </a:cxn>
                <a:cxn ang="0">
                  <a:pos x="T4" y="T5"/>
                </a:cxn>
                <a:cxn ang="0">
                  <a:pos x="T6" y="T7"/>
                </a:cxn>
                <a:cxn ang="0">
                  <a:pos x="T8" y="T9"/>
                </a:cxn>
              </a:cxnLst>
              <a:rect l="0" t="0" r="r" b="b"/>
              <a:pathLst>
                <a:path w="647" h="1042">
                  <a:moveTo>
                    <a:pt x="647" y="1042"/>
                  </a:moveTo>
                  <a:lnTo>
                    <a:pt x="0" y="752"/>
                  </a:lnTo>
                  <a:lnTo>
                    <a:pt x="0" y="0"/>
                  </a:lnTo>
                  <a:lnTo>
                    <a:pt x="647" y="649"/>
                  </a:lnTo>
                  <a:lnTo>
                    <a:pt x="647" y="1042"/>
                  </a:lnTo>
                  <a:close/>
                </a:path>
              </a:pathLst>
            </a:custGeom>
            <a:solidFill>
              <a:srgbClr val="00AEEF">
                <a:alpha val="80000"/>
              </a:srgbClr>
            </a:solidFill>
            <a:ln>
              <a:noFill/>
            </a:ln>
            <a:extLst>
              <a:ext uri="{91240B29-F687-4F45-9708-019B960494DF}">
                <a14:hiddenLine xmlns:a14="http://schemas.microsoft.com/office/drawing/2010/main" w="9525">
                  <a:solidFill>
                    <a:srgbClr val="000000"/>
                  </a:solidFill>
                  <a:round/>
                </a14:hiddenLine>
              </a:ext>
            </a:extLst>
          </p:spPr>
          <p:txBody>
            <a:bodyPr vert="horz" wrap="square" lIns="91416" tIns="45708" rIns="91416" bIns="45708" numCol="1" anchor="t" anchorCtr="0" compatLnSpc="1"/>
            <a:lstStyle/>
            <a:p>
              <a:endParaRPr lang="zh-CN" altLang="en-US" sz="2400"/>
            </a:p>
          </p:txBody>
        </p:sp>
        <p:sp>
          <p:nvSpPr>
            <p:cNvPr id="92" name="Freeform 36"/>
            <p:cNvSpPr>
              <a:spLocks noEditPoints="1"/>
            </p:cNvSpPr>
            <p:nvPr/>
          </p:nvSpPr>
          <p:spPr bwMode="auto">
            <a:xfrm>
              <a:off x="4056119" y="3255495"/>
              <a:ext cx="303480" cy="302019"/>
            </a:xfrm>
            <a:custGeom>
              <a:avLst/>
              <a:gdLst>
                <a:gd name="T0" fmla="*/ 67 w 120"/>
                <a:gd name="T1" fmla="*/ 53 h 121"/>
                <a:gd name="T2" fmla="*/ 67 w 120"/>
                <a:gd name="T3" fmla="*/ 26 h 121"/>
                <a:gd name="T4" fmla="*/ 53 w 120"/>
                <a:gd name="T5" fmla="*/ 26 h 121"/>
                <a:gd name="T6" fmla="*/ 53 w 120"/>
                <a:gd name="T7" fmla="*/ 53 h 121"/>
                <a:gd name="T8" fmla="*/ 27 w 120"/>
                <a:gd name="T9" fmla="*/ 53 h 121"/>
                <a:gd name="T10" fmla="*/ 27 w 120"/>
                <a:gd name="T11" fmla="*/ 68 h 121"/>
                <a:gd name="T12" fmla="*/ 53 w 120"/>
                <a:gd name="T13" fmla="*/ 68 h 121"/>
                <a:gd name="T14" fmla="*/ 53 w 120"/>
                <a:gd name="T15" fmla="*/ 94 h 121"/>
                <a:gd name="T16" fmla="*/ 67 w 120"/>
                <a:gd name="T17" fmla="*/ 94 h 121"/>
                <a:gd name="T18" fmla="*/ 67 w 120"/>
                <a:gd name="T19" fmla="*/ 68 h 121"/>
                <a:gd name="T20" fmla="*/ 93 w 120"/>
                <a:gd name="T21" fmla="*/ 68 h 121"/>
                <a:gd name="T22" fmla="*/ 93 w 120"/>
                <a:gd name="T23" fmla="*/ 53 h 121"/>
                <a:gd name="T24" fmla="*/ 67 w 120"/>
                <a:gd name="T25" fmla="*/ 53 h 121"/>
                <a:gd name="T26" fmla="*/ 60 w 120"/>
                <a:gd name="T27" fmla="*/ 0 h 121"/>
                <a:gd name="T28" fmla="*/ 0 w 120"/>
                <a:gd name="T29" fmla="*/ 61 h 121"/>
                <a:gd name="T30" fmla="*/ 60 w 120"/>
                <a:gd name="T31" fmla="*/ 121 h 121"/>
                <a:gd name="T32" fmla="*/ 120 w 120"/>
                <a:gd name="T33" fmla="*/ 61 h 121"/>
                <a:gd name="T34" fmla="*/ 60 w 120"/>
                <a:gd name="T35" fmla="*/ 0 h 121"/>
                <a:gd name="T36" fmla="*/ 60 w 120"/>
                <a:gd name="T37" fmla="*/ 107 h 121"/>
                <a:gd name="T38" fmla="*/ 13 w 120"/>
                <a:gd name="T39" fmla="*/ 61 h 121"/>
                <a:gd name="T40" fmla="*/ 60 w 120"/>
                <a:gd name="T41" fmla="*/ 14 h 121"/>
                <a:gd name="T42" fmla="*/ 107 w 120"/>
                <a:gd name="T43" fmla="*/ 61 h 121"/>
                <a:gd name="T44" fmla="*/ 60 w 120"/>
                <a:gd name="T45" fmla="*/ 107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21">
                  <a:moveTo>
                    <a:pt x="67" y="53"/>
                  </a:moveTo>
                  <a:cubicBezTo>
                    <a:pt x="67" y="26"/>
                    <a:pt x="67" y="26"/>
                    <a:pt x="67" y="26"/>
                  </a:cubicBezTo>
                  <a:cubicBezTo>
                    <a:pt x="53" y="26"/>
                    <a:pt x="53" y="26"/>
                    <a:pt x="53" y="26"/>
                  </a:cubicBezTo>
                  <a:cubicBezTo>
                    <a:pt x="53" y="53"/>
                    <a:pt x="53" y="53"/>
                    <a:pt x="53" y="53"/>
                  </a:cubicBezTo>
                  <a:cubicBezTo>
                    <a:pt x="27" y="53"/>
                    <a:pt x="27" y="53"/>
                    <a:pt x="27" y="53"/>
                  </a:cubicBezTo>
                  <a:cubicBezTo>
                    <a:pt x="27" y="68"/>
                    <a:pt x="27" y="68"/>
                    <a:pt x="27" y="68"/>
                  </a:cubicBezTo>
                  <a:cubicBezTo>
                    <a:pt x="53" y="68"/>
                    <a:pt x="53" y="68"/>
                    <a:pt x="53" y="68"/>
                  </a:cubicBezTo>
                  <a:cubicBezTo>
                    <a:pt x="53" y="94"/>
                    <a:pt x="53" y="94"/>
                    <a:pt x="53" y="94"/>
                  </a:cubicBezTo>
                  <a:cubicBezTo>
                    <a:pt x="67" y="94"/>
                    <a:pt x="67" y="94"/>
                    <a:pt x="67" y="94"/>
                  </a:cubicBezTo>
                  <a:cubicBezTo>
                    <a:pt x="67" y="68"/>
                    <a:pt x="67" y="68"/>
                    <a:pt x="67" y="68"/>
                  </a:cubicBezTo>
                  <a:cubicBezTo>
                    <a:pt x="93" y="68"/>
                    <a:pt x="93" y="68"/>
                    <a:pt x="93" y="68"/>
                  </a:cubicBezTo>
                  <a:cubicBezTo>
                    <a:pt x="93" y="53"/>
                    <a:pt x="93" y="53"/>
                    <a:pt x="93" y="53"/>
                  </a:cubicBezTo>
                  <a:lnTo>
                    <a:pt x="67" y="53"/>
                  </a:lnTo>
                  <a:close/>
                  <a:moveTo>
                    <a:pt x="60" y="0"/>
                  </a:moveTo>
                  <a:cubicBezTo>
                    <a:pt x="27" y="0"/>
                    <a:pt x="0" y="27"/>
                    <a:pt x="0" y="61"/>
                  </a:cubicBezTo>
                  <a:cubicBezTo>
                    <a:pt x="0" y="94"/>
                    <a:pt x="27" y="121"/>
                    <a:pt x="60" y="121"/>
                  </a:cubicBezTo>
                  <a:cubicBezTo>
                    <a:pt x="93" y="121"/>
                    <a:pt x="120" y="94"/>
                    <a:pt x="120" y="61"/>
                  </a:cubicBezTo>
                  <a:cubicBezTo>
                    <a:pt x="120" y="27"/>
                    <a:pt x="93" y="0"/>
                    <a:pt x="60" y="0"/>
                  </a:cubicBezTo>
                  <a:close/>
                  <a:moveTo>
                    <a:pt x="60" y="107"/>
                  </a:moveTo>
                  <a:cubicBezTo>
                    <a:pt x="34" y="107"/>
                    <a:pt x="13" y="86"/>
                    <a:pt x="13" y="61"/>
                  </a:cubicBezTo>
                  <a:cubicBezTo>
                    <a:pt x="13" y="35"/>
                    <a:pt x="34" y="14"/>
                    <a:pt x="60" y="14"/>
                  </a:cubicBezTo>
                  <a:cubicBezTo>
                    <a:pt x="86" y="14"/>
                    <a:pt x="107" y="35"/>
                    <a:pt x="107" y="61"/>
                  </a:cubicBezTo>
                  <a:cubicBezTo>
                    <a:pt x="107" y="86"/>
                    <a:pt x="86" y="107"/>
                    <a:pt x="60" y="107"/>
                  </a:cubicBezTo>
                  <a:close/>
                </a:path>
              </a:pathLst>
            </a:custGeom>
            <a:solidFill>
              <a:schemeClr val="bg1"/>
            </a:solidFill>
            <a:ln>
              <a:noFill/>
            </a:ln>
          </p:spPr>
          <p:txBody>
            <a:bodyPr vert="horz" wrap="square" lIns="91416" tIns="45708" rIns="91416" bIns="45708" numCol="1" anchor="t" anchorCtr="0" compatLnSpc="1"/>
            <a:lstStyle/>
            <a:p>
              <a:endParaRPr lang="zh-CN" altLang="en-US" sz="2400"/>
            </a:p>
          </p:txBody>
        </p:sp>
        <p:sp>
          <p:nvSpPr>
            <p:cNvPr id="93" name="TextBox 92"/>
            <p:cNvSpPr txBox="1"/>
            <p:nvPr/>
          </p:nvSpPr>
          <p:spPr>
            <a:xfrm>
              <a:off x="4442446" y="3270970"/>
              <a:ext cx="379853" cy="282744"/>
            </a:xfrm>
            <a:prstGeom prst="rect">
              <a:avLst/>
            </a:prstGeom>
            <a:noFill/>
          </p:spPr>
          <p:txBody>
            <a:bodyPr wrap="none" rtlCol="0">
              <a:spAutoFit/>
            </a:bodyPr>
            <a:lstStyle/>
            <a:p>
              <a:r>
                <a:rPr lang="en-US" sz="1200" b="1" dirty="0">
                  <a:solidFill>
                    <a:schemeClr val="bg1"/>
                  </a:solidFill>
                  <a:latin typeface="微软雅黑" panose="020B0503020204020204" pitchFamily="34" charset="-122"/>
                  <a:ea typeface="微软雅黑" panose="020B0503020204020204" pitchFamily="34" charset="-122"/>
                </a:rPr>
                <a:t>0</a:t>
              </a:r>
              <a:r>
                <a:rPr lang="en-US" altLang="zh-CN" sz="1200" b="1" dirty="0">
                  <a:solidFill>
                    <a:schemeClr val="bg1"/>
                  </a:solidFill>
                  <a:latin typeface="微软雅黑" panose="020B0503020204020204" pitchFamily="34" charset="-122"/>
                  <a:ea typeface="微软雅黑" panose="020B0503020204020204" pitchFamily="34" charset="-122"/>
                </a:rPr>
                <a:t>3</a:t>
              </a:r>
              <a:endParaRPr lang="en-US" sz="1200" b="1" dirty="0">
                <a:solidFill>
                  <a:schemeClr val="bg1"/>
                </a:solidFill>
                <a:latin typeface="微软雅黑" panose="020B0503020204020204" pitchFamily="34" charset="-122"/>
                <a:ea typeface="微软雅黑" panose="020B0503020204020204" pitchFamily="34" charset="-122"/>
              </a:endParaRPr>
            </a:p>
          </p:txBody>
        </p:sp>
      </p:grpSp>
      <p:grpSp>
        <p:nvGrpSpPr>
          <p:cNvPr id="94" name="Group 91"/>
          <p:cNvGrpSpPr/>
          <p:nvPr/>
        </p:nvGrpSpPr>
        <p:grpSpPr>
          <a:xfrm>
            <a:off x="4440422" y="2186812"/>
            <a:ext cx="927185" cy="1135385"/>
            <a:chOff x="4510886" y="2231490"/>
            <a:chExt cx="942147" cy="1158931"/>
          </a:xfrm>
        </p:grpSpPr>
        <p:sp>
          <p:nvSpPr>
            <p:cNvPr id="95" name="Freeform 9"/>
            <p:cNvSpPr/>
            <p:nvPr/>
          </p:nvSpPr>
          <p:spPr bwMode="auto">
            <a:xfrm>
              <a:off x="4510886" y="2812296"/>
              <a:ext cx="942147" cy="578125"/>
            </a:xfrm>
            <a:custGeom>
              <a:avLst/>
              <a:gdLst>
                <a:gd name="T0" fmla="*/ 1040 w 1040"/>
                <a:gd name="T1" fmla="*/ 647 h 647"/>
                <a:gd name="T2" fmla="*/ 753 w 1040"/>
                <a:gd name="T3" fmla="*/ 0 h 647"/>
                <a:gd name="T4" fmla="*/ 0 w 1040"/>
                <a:gd name="T5" fmla="*/ 0 h 647"/>
                <a:gd name="T6" fmla="*/ 647 w 1040"/>
                <a:gd name="T7" fmla="*/ 647 h 647"/>
                <a:gd name="T8" fmla="*/ 1040 w 1040"/>
                <a:gd name="T9" fmla="*/ 647 h 647"/>
              </a:gdLst>
              <a:ahLst/>
              <a:cxnLst>
                <a:cxn ang="0">
                  <a:pos x="T0" y="T1"/>
                </a:cxn>
                <a:cxn ang="0">
                  <a:pos x="T2" y="T3"/>
                </a:cxn>
                <a:cxn ang="0">
                  <a:pos x="T4" y="T5"/>
                </a:cxn>
                <a:cxn ang="0">
                  <a:pos x="T6" y="T7"/>
                </a:cxn>
                <a:cxn ang="0">
                  <a:pos x="T8" y="T9"/>
                </a:cxn>
              </a:cxnLst>
              <a:rect l="0" t="0" r="r" b="b"/>
              <a:pathLst>
                <a:path w="1040" h="647">
                  <a:moveTo>
                    <a:pt x="1040" y="647"/>
                  </a:moveTo>
                  <a:lnTo>
                    <a:pt x="753" y="0"/>
                  </a:lnTo>
                  <a:lnTo>
                    <a:pt x="0" y="0"/>
                  </a:lnTo>
                  <a:lnTo>
                    <a:pt x="647" y="647"/>
                  </a:lnTo>
                  <a:lnTo>
                    <a:pt x="1040" y="647"/>
                  </a:lnTo>
                  <a:close/>
                </a:path>
              </a:pathLst>
            </a:custGeom>
            <a:solidFill>
              <a:srgbClr val="0070C0">
                <a:alpha val="80000"/>
              </a:srgbClr>
            </a:solidFill>
            <a:ln>
              <a:noFill/>
            </a:ln>
          </p:spPr>
          <p:txBody>
            <a:bodyPr vert="horz" wrap="square" lIns="91416" tIns="45708" rIns="91416" bIns="45708" numCol="1" anchor="t" anchorCtr="0" compatLnSpc="1"/>
            <a:lstStyle/>
            <a:p>
              <a:endParaRPr lang="zh-CN" altLang="en-US" sz="2400"/>
            </a:p>
          </p:txBody>
        </p:sp>
        <p:sp>
          <p:nvSpPr>
            <p:cNvPr id="96" name="Freeform 11"/>
            <p:cNvSpPr/>
            <p:nvPr/>
          </p:nvSpPr>
          <p:spPr bwMode="auto">
            <a:xfrm>
              <a:off x="4510886" y="2231490"/>
              <a:ext cx="942147" cy="580805"/>
            </a:xfrm>
            <a:custGeom>
              <a:avLst/>
              <a:gdLst>
                <a:gd name="T0" fmla="*/ 1040 w 1040"/>
                <a:gd name="T1" fmla="*/ 0 h 650"/>
                <a:gd name="T2" fmla="*/ 753 w 1040"/>
                <a:gd name="T3" fmla="*/ 650 h 650"/>
                <a:gd name="T4" fmla="*/ 0 w 1040"/>
                <a:gd name="T5" fmla="*/ 650 h 650"/>
                <a:gd name="T6" fmla="*/ 647 w 1040"/>
                <a:gd name="T7" fmla="*/ 0 h 650"/>
                <a:gd name="T8" fmla="*/ 1040 w 1040"/>
                <a:gd name="T9" fmla="*/ 0 h 650"/>
              </a:gdLst>
              <a:ahLst/>
              <a:cxnLst>
                <a:cxn ang="0">
                  <a:pos x="T0" y="T1"/>
                </a:cxn>
                <a:cxn ang="0">
                  <a:pos x="T2" y="T3"/>
                </a:cxn>
                <a:cxn ang="0">
                  <a:pos x="T4" y="T5"/>
                </a:cxn>
                <a:cxn ang="0">
                  <a:pos x="T6" y="T7"/>
                </a:cxn>
                <a:cxn ang="0">
                  <a:pos x="T8" y="T9"/>
                </a:cxn>
              </a:cxnLst>
              <a:rect l="0" t="0" r="r" b="b"/>
              <a:pathLst>
                <a:path w="1040" h="650">
                  <a:moveTo>
                    <a:pt x="1040" y="0"/>
                  </a:moveTo>
                  <a:lnTo>
                    <a:pt x="753" y="650"/>
                  </a:lnTo>
                  <a:lnTo>
                    <a:pt x="0" y="650"/>
                  </a:lnTo>
                  <a:lnTo>
                    <a:pt x="647" y="0"/>
                  </a:lnTo>
                  <a:lnTo>
                    <a:pt x="1040" y="0"/>
                  </a:lnTo>
                  <a:close/>
                </a:path>
              </a:pathLst>
            </a:custGeom>
            <a:solidFill>
              <a:srgbClr val="00AEEF"/>
            </a:solidFill>
            <a:ln>
              <a:noFill/>
            </a:ln>
          </p:spPr>
          <p:txBody>
            <a:bodyPr vert="horz" wrap="square" lIns="91416" tIns="45708" rIns="91416" bIns="45708" numCol="1" anchor="t" anchorCtr="0" compatLnSpc="1"/>
            <a:lstStyle/>
            <a:p>
              <a:endParaRPr lang="zh-CN" altLang="en-US" sz="2400"/>
            </a:p>
          </p:txBody>
        </p:sp>
        <p:sp>
          <p:nvSpPr>
            <p:cNvPr id="97" name="Freeform 35"/>
            <p:cNvSpPr>
              <a:spLocks noEditPoints="1"/>
            </p:cNvSpPr>
            <p:nvPr/>
          </p:nvSpPr>
          <p:spPr bwMode="auto">
            <a:xfrm>
              <a:off x="4879591" y="2423603"/>
              <a:ext cx="343340" cy="278787"/>
            </a:xfrm>
            <a:custGeom>
              <a:avLst/>
              <a:gdLst>
                <a:gd name="T0" fmla="*/ 18 w 136"/>
                <a:gd name="T1" fmla="*/ 63 h 112"/>
                <a:gd name="T2" fmla="*/ 80 w 136"/>
                <a:gd name="T3" fmla="*/ 63 h 112"/>
                <a:gd name="T4" fmla="*/ 56 w 136"/>
                <a:gd name="T5" fmla="*/ 14 h 112"/>
                <a:gd name="T6" fmla="*/ 41 w 136"/>
                <a:gd name="T7" fmla="*/ 23 h 112"/>
                <a:gd name="T8" fmla="*/ 19 w 136"/>
                <a:gd name="T9" fmla="*/ 23 h 112"/>
                <a:gd name="T10" fmla="*/ 15 w 136"/>
                <a:gd name="T11" fmla="*/ 40 h 112"/>
                <a:gd name="T12" fmla="*/ 0 w 136"/>
                <a:gd name="T13" fmla="*/ 55 h 112"/>
                <a:gd name="T14" fmla="*/ 9 w 136"/>
                <a:gd name="T15" fmla="*/ 70 h 112"/>
                <a:gd name="T16" fmla="*/ 9 w 136"/>
                <a:gd name="T17" fmla="*/ 92 h 112"/>
                <a:gd name="T18" fmla="*/ 26 w 136"/>
                <a:gd name="T19" fmla="*/ 97 h 112"/>
                <a:gd name="T20" fmla="*/ 41 w 136"/>
                <a:gd name="T21" fmla="*/ 112 h 112"/>
                <a:gd name="T22" fmla="*/ 56 w 136"/>
                <a:gd name="T23" fmla="*/ 103 h 112"/>
                <a:gd name="T24" fmla="*/ 78 w 136"/>
                <a:gd name="T25" fmla="*/ 103 h 112"/>
                <a:gd name="T26" fmla="*/ 83 w 136"/>
                <a:gd name="T27" fmla="*/ 86 h 112"/>
                <a:gd name="T28" fmla="*/ 98 w 136"/>
                <a:gd name="T29" fmla="*/ 70 h 112"/>
                <a:gd name="T30" fmla="*/ 89 w 136"/>
                <a:gd name="T31" fmla="*/ 55 h 112"/>
                <a:gd name="T32" fmla="*/ 89 w 136"/>
                <a:gd name="T33" fmla="*/ 33 h 112"/>
                <a:gd name="T34" fmla="*/ 72 w 136"/>
                <a:gd name="T35" fmla="*/ 29 h 112"/>
                <a:gd name="T36" fmla="*/ 56 w 136"/>
                <a:gd name="T37" fmla="*/ 14 h 112"/>
                <a:gd name="T38" fmla="*/ 100 w 136"/>
                <a:gd name="T39" fmla="*/ 23 h 112"/>
                <a:gd name="T40" fmla="*/ 124 w 136"/>
                <a:gd name="T41" fmla="*/ 23 h 112"/>
                <a:gd name="T42" fmla="*/ 116 w 136"/>
                <a:gd name="T43" fmla="*/ 0 h 112"/>
                <a:gd name="T44" fmla="*/ 108 w 136"/>
                <a:gd name="T45" fmla="*/ 4 h 112"/>
                <a:gd name="T46" fmla="*/ 98 w 136"/>
                <a:gd name="T47" fmla="*/ 4 h 112"/>
                <a:gd name="T48" fmla="*/ 96 w 136"/>
                <a:gd name="T49" fmla="*/ 12 h 112"/>
                <a:gd name="T50" fmla="*/ 88 w 136"/>
                <a:gd name="T51" fmla="*/ 20 h 112"/>
                <a:gd name="T52" fmla="*/ 93 w 136"/>
                <a:gd name="T53" fmla="*/ 27 h 112"/>
                <a:gd name="T54" fmla="*/ 93 w 136"/>
                <a:gd name="T55" fmla="*/ 37 h 112"/>
                <a:gd name="T56" fmla="*/ 101 w 136"/>
                <a:gd name="T57" fmla="*/ 39 h 112"/>
                <a:gd name="T58" fmla="*/ 108 w 136"/>
                <a:gd name="T59" fmla="*/ 47 h 112"/>
                <a:gd name="T60" fmla="*/ 116 w 136"/>
                <a:gd name="T61" fmla="*/ 42 h 112"/>
                <a:gd name="T62" fmla="*/ 126 w 136"/>
                <a:gd name="T63" fmla="*/ 43 h 112"/>
                <a:gd name="T64" fmla="*/ 128 w 136"/>
                <a:gd name="T65" fmla="*/ 34 h 112"/>
                <a:gd name="T66" fmla="*/ 136 w 136"/>
                <a:gd name="T67" fmla="*/ 27 h 112"/>
                <a:gd name="T68" fmla="*/ 131 w 136"/>
                <a:gd name="T69" fmla="*/ 20 h 112"/>
                <a:gd name="T70" fmla="*/ 131 w 136"/>
                <a:gd name="T71" fmla="*/ 9 h 112"/>
                <a:gd name="T72" fmla="*/ 123 w 136"/>
                <a:gd name="T73" fmla="*/ 7 h 112"/>
                <a:gd name="T74" fmla="*/ 116 w 136"/>
                <a:gd name="T75"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6" h="112">
                  <a:moveTo>
                    <a:pt x="49" y="94"/>
                  </a:moveTo>
                  <a:cubicBezTo>
                    <a:pt x="32" y="94"/>
                    <a:pt x="18" y="80"/>
                    <a:pt x="18" y="63"/>
                  </a:cubicBezTo>
                  <a:cubicBezTo>
                    <a:pt x="18" y="46"/>
                    <a:pt x="32" y="32"/>
                    <a:pt x="49" y="32"/>
                  </a:cubicBezTo>
                  <a:cubicBezTo>
                    <a:pt x="66" y="32"/>
                    <a:pt x="80" y="46"/>
                    <a:pt x="80" y="63"/>
                  </a:cubicBezTo>
                  <a:cubicBezTo>
                    <a:pt x="80" y="80"/>
                    <a:pt x="66" y="94"/>
                    <a:pt x="49" y="94"/>
                  </a:cubicBezTo>
                  <a:moveTo>
                    <a:pt x="56" y="14"/>
                  </a:moveTo>
                  <a:cubicBezTo>
                    <a:pt x="41" y="14"/>
                    <a:pt x="41" y="14"/>
                    <a:pt x="41" y="14"/>
                  </a:cubicBezTo>
                  <a:cubicBezTo>
                    <a:pt x="41" y="23"/>
                    <a:pt x="41" y="23"/>
                    <a:pt x="41" y="23"/>
                  </a:cubicBezTo>
                  <a:cubicBezTo>
                    <a:pt x="36" y="24"/>
                    <a:pt x="30" y="26"/>
                    <a:pt x="26" y="29"/>
                  </a:cubicBezTo>
                  <a:cubicBezTo>
                    <a:pt x="19" y="23"/>
                    <a:pt x="19" y="23"/>
                    <a:pt x="19" y="23"/>
                  </a:cubicBezTo>
                  <a:cubicBezTo>
                    <a:pt x="9" y="33"/>
                    <a:pt x="9" y="33"/>
                    <a:pt x="9" y="33"/>
                  </a:cubicBezTo>
                  <a:cubicBezTo>
                    <a:pt x="15" y="40"/>
                    <a:pt x="15" y="40"/>
                    <a:pt x="15" y="40"/>
                  </a:cubicBezTo>
                  <a:cubicBezTo>
                    <a:pt x="12" y="44"/>
                    <a:pt x="10" y="50"/>
                    <a:pt x="9" y="55"/>
                  </a:cubicBezTo>
                  <a:cubicBezTo>
                    <a:pt x="0" y="55"/>
                    <a:pt x="0" y="55"/>
                    <a:pt x="0" y="55"/>
                  </a:cubicBezTo>
                  <a:cubicBezTo>
                    <a:pt x="0" y="70"/>
                    <a:pt x="0" y="70"/>
                    <a:pt x="0" y="70"/>
                  </a:cubicBezTo>
                  <a:cubicBezTo>
                    <a:pt x="9" y="70"/>
                    <a:pt x="9" y="70"/>
                    <a:pt x="9" y="70"/>
                  </a:cubicBezTo>
                  <a:cubicBezTo>
                    <a:pt x="10" y="76"/>
                    <a:pt x="12" y="81"/>
                    <a:pt x="15" y="86"/>
                  </a:cubicBezTo>
                  <a:cubicBezTo>
                    <a:pt x="9" y="92"/>
                    <a:pt x="9" y="92"/>
                    <a:pt x="9" y="92"/>
                  </a:cubicBezTo>
                  <a:cubicBezTo>
                    <a:pt x="19" y="103"/>
                    <a:pt x="19" y="103"/>
                    <a:pt x="19" y="103"/>
                  </a:cubicBezTo>
                  <a:cubicBezTo>
                    <a:pt x="26" y="97"/>
                    <a:pt x="26" y="97"/>
                    <a:pt x="26" y="97"/>
                  </a:cubicBezTo>
                  <a:cubicBezTo>
                    <a:pt x="30" y="100"/>
                    <a:pt x="36" y="102"/>
                    <a:pt x="41" y="103"/>
                  </a:cubicBezTo>
                  <a:cubicBezTo>
                    <a:pt x="41" y="112"/>
                    <a:pt x="41" y="112"/>
                    <a:pt x="41" y="112"/>
                  </a:cubicBezTo>
                  <a:cubicBezTo>
                    <a:pt x="56" y="112"/>
                    <a:pt x="56" y="112"/>
                    <a:pt x="56" y="112"/>
                  </a:cubicBezTo>
                  <a:cubicBezTo>
                    <a:pt x="56" y="103"/>
                    <a:pt x="56" y="103"/>
                    <a:pt x="56" y="103"/>
                  </a:cubicBezTo>
                  <a:cubicBezTo>
                    <a:pt x="62" y="102"/>
                    <a:pt x="67" y="100"/>
                    <a:pt x="72" y="97"/>
                  </a:cubicBezTo>
                  <a:cubicBezTo>
                    <a:pt x="78" y="103"/>
                    <a:pt x="78" y="103"/>
                    <a:pt x="78" y="103"/>
                  </a:cubicBezTo>
                  <a:cubicBezTo>
                    <a:pt x="89" y="92"/>
                    <a:pt x="89" y="92"/>
                    <a:pt x="89" y="92"/>
                  </a:cubicBezTo>
                  <a:cubicBezTo>
                    <a:pt x="83" y="86"/>
                    <a:pt x="83" y="86"/>
                    <a:pt x="83" y="86"/>
                  </a:cubicBezTo>
                  <a:cubicBezTo>
                    <a:pt x="86" y="81"/>
                    <a:pt x="88" y="76"/>
                    <a:pt x="89" y="70"/>
                  </a:cubicBezTo>
                  <a:cubicBezTo>
                    <a:pt x="98" y="70"/>
                    <a:pt x="98" y="70"/>
                    <a:pt x="98" y="70"/>
                  </a:cubicBezTo>
                  <a:cubicBezTo>
                    <a:pt x="98" y="55"/>
                    <a:pt x="98" y="55"/>
                    <a:pt x="98" y="55"/>
                  </a:cubicBezTo>
                  <a:cubicBezTo>
                    <a:pt x="89" y="55"/>
                    <a:pt x="89" y="55"/>
                    <a:pt x="89" y="55"/>
                  </a:cubicBezTo>
                  <a:cubicBezTo>
                    <a:pt x="88" y="50"/>
                    <a:pt x="86" y="44"/>
                    <a:pt x="83" y="40"/>
                  </a:cubicBezTo>
                  <a:cubicBezTo>
                    <a:pt x="89" y="33"/>
                    <a:pt x="89" y="33"/>
                    <a:pt x="89" y="33"/>
                  </a:cubicBezTo>
                  <a:cubicBezTo>
                    <a:pt x="78" y="23"/>
                    <a:pt x="78" y="23"/>
                    <a:pt x="78" y="23"/>
                  </a:cubicBezTo>
                  <a:cubicBezTo>
                    <a:pt x="72" y="29"/>
                    <a:pt x="72" y="29"/>
                    <a:pt x="72" y="29"/>
                  </a:cubicBezTo>
                  <a:cubicBezTo>
                    <a:pt x="67" y="26"/>
                    <a:pt x="62" y="24"/>
                    <a:pt x="56" y="23"/>
                  </a:cubicBezTo>
                  <a:cubicBezTo>
                    <a:pt x="56" y="14"/>
                    <a:pt x="56" y="14"/>
                    <a:pt x="56" y="14"/>
                  </a:cubicBezTo>
                  <a:moveTo>
                    <a:pt x="112" y="35"/>
                  </a:moveTo>
                  <a:cubicBezTo>
                    <a:pt x="105" y="35"/>
                    <a:pt x="100" y="30"/>
                    <a:pt x="100" y="23"/>
                  </a:cubicBezTo>
                  <a:cubicBezTo>
                    <a:pt x="100" y="16"/>
                    <a:pt x="105" y="11"/>
                    <a:pt x="112" y="11"/>
                  </a:cubicBezTo>
                  <a:cubicBezTo>
                    <a:pt x="119" y="11"/>
                    <a:pt x="124" y="16"/>
                    <a:pt x="124" y="23"/>
                  </a:cubicBezTo>
                  <a:cubicBezTo>
                    <a:pt x="124" y="30"/>
                    <a:pt x="119" y="35"/>
                    <a:pt x="112" y="35"/>
                  </a:cubicBezTo>
                  <a:moveTo>
                    <a:pt x="116" y="0"/>
                  </a:moveTo>
                  <a:cubicBezTo>
                    <a:pt x="108" y="0"/>
                    <a:pt x="108" y="0"/>
                    <a:pt x="108" y="0"/>
                  </a:cubicBezTo>
                  <a:cubicBezTo>
                    <a:pt x="108" y="4"/>
                    <a:pt x="108" y="4"/>
                    <a:pt x="108" y="4"/>
                  </a:cubicBezTo>
                  <a:cubicBezTo>
                    <a:pt x="106" y="4"/>
                    <a:pt x="103" y="6"/>
                    <a:pt x="101" y="7"/>
                  </a:cubicBezTo>
                  <a:cubicBezTo>
                    <a:pt x="98" y="4"/>
                    <a:pt x="98" y="4"/>
                    <a:pt x="98" y="4"/>
                  </a:cubicBezTo>
                  <a:cubicBezTo>
                    <a:pt x="93" y="9"/>
                    <a:pt x="93" y="9"/>
                    <a:pt x="93" y="9"/>
                  </a:cubicBezTo>
                  <a:cubicBezTo>
                    <a:pt x="96" y="12"/>
                    <a:pt x="96" y="12"/>
                    <a:pt x="96" y="12"/>
                  </a:cubicBezTo>
                  <a:cubicBezTo>
                    <a:pt x="94" y="14"/>
                    <a:pt x="93" y="17"/>
                    <a:pt x="93" y="20"/>
                  </a:cubicBezTo>
                  <a:cubicBezTo>
                    <a:pt x="88" y="20"/>
                    <a:pt x="88" y="20"/>
                    <a:pt x="88" y="20"/>
                  </a:cubicBezTo>
                  <a:cubicBezTo>
                    <a:pt x="88" y="27"/>
                    <a:pt x="88" y="27"/>
                    <a:pt x="88" y="27"/>
                  </a:cubicBezTo>
                  <a:cubicBezTo>
                    <a:pt x="93" y="27"/>
                    <a:pt x="93" y="27"/>
                    <a:pt x="93" y="27"/>
                  </a:cubicBezTo>
                  <a:cubicBezTo>
                    <a:pt x="93" y="30"/>
                    <a:pt x="94" y="32"/>
                    <a:pt x="96" y="34"/>
                  </a:cubicBezTo>
                  <a:cubicBezTo>
                    <a:pt x="93" y="37"/>
                    <a:pt x="93" y="37"/>
                    <a:pt x="93" y="37"/>
                  </a:cubicBezTo>
                  <a:cubicBezTo>
                    <a:pt x="98" y="43"/>
                    <a:pt x="98" y="43"/>
                    <a:pt x="98" y="43"/>
                  </a:cubicBezTo>
                  <a:cubicBezTo>
                    <a:pt x="101" y="39"/>
                    <a:pt x="101" y="39"/>
                    <a:pt x="101" y="39"/>
                  </a:cubicBezTo>
                  <a:cubicBezTo>
                    <a:pt x="103" y="41"/>
                    <a:pt x="106" y="42"/>
                    <a:pt x="108" y="42"/>
                  </a:cubicBezTo>
                  <a:cubicBezTo>
                    <a:pt x="108" y="47"/>
                    <a:pt x="108" y="47"/>
                    <a:pt x="108" y="47"/>
                  </a:cubicBezTo>
                  <a:cubicBezTo>
                    <a:pt x="116" y="47"/>
                    <a:pt x="116" y="47"/>
                    <a:pt x="116" y="47"/>
                  </a:cubicBezTo>
                  <a:cubicBezTo>
                    <a:pt x="116" y="42"/>
                    <a:pt x="116" y="42"/>
                    <a:pt x="116" y="42"/>
                  </a:cubicBezTo>
                  <a:cubicBezTo>
                    <a:pt x="118" y="42"/>
                    <a:pt x="121" y="41"/>
                    <a:pt x="123" y="39"/>
                  </a:cubicBezTo>
                  <a:cubicBezTo>
                    <a:pt x="126" y="43"/>
                    <a:pt x="126" y="43"/>
                    <a:pt x="126" y="43"/>
                  </a:cubicBezTo>
                  <a:cubicBezTo>
                    <a:pt x="131" y="37"/>
                    <a:pt x="131" y="37"/>
                    <a:pt x="131" y="37"/>
                  </a:cubicBezTo>
                  <a:cubicBezTo>
                    <a:pt x="128" y="34"/>
                    <a:pt x="128" y="34"/>
                    <a:pt x="128" y="34"/>
                  </a:cubicBezTo>
                  <a:cubicBezTo>
                    <a:pt x="130" y="32"/>
                    <a:pt x="131" y="30"/>
                    <a:pt x="131" y="27"/>
                  </a:cubicBezTo>
                  <a:cubicBezTo>
                    <a:pt x="136" y="27"/>
                    <a:pt x="136" y="27"/>
                    <a:pt x="136" y="27"/>
                  </a:cubicBezTo>
                  <a:cubicBezTo>
                    <a:pt x="136" y="20"/>
                    <a:pt x="136" y="20"/>
                    <a:pt x="136" y="20"/>
                  </a:cubicBezTo>
                  <a:cubicBezTo>
                    <a:pt x="131" y="20"/>
                    <a:pt x="131" y="20"/>
                    <a:pt x="131" y="20"/>
                  </a:cubicBezTo>
                  <a:cubicBezTo>
                    <a:pt x="131" y="17"/>
                    <a:pt x="130" y="14"/>
                    <a:pt x="128" y="12"/>
                  </a:cubicBezTo>
                  <a:cubicBezTo>
                    <a:pt x="131" y="9"/>
                    <a:pt x="131" y="9"/>
                    <a:pt x="131" y="9"/>
                  </a:cubicBezTo>
                  <a:cubicBezTo>
                    <a:pt x="126" y="4"/>
                    <a:pt x="126" y="4"/>
                    <a:pt x="126" y="4"/>
                  </a:cubicBezTo>
                  <a:cubicBezTo>
                    <a:pt x="123" y="7"/>
                    <a:pt x="123" y="7"/>
                    <a:pt x="123" y="7"/>
                  </a:cubicBezTo>
                  <a:cubicBezTo>
                    <a:pt x="121" y="6"/>
                    <a:pt x="118" y="4"/>
                    <a:pt x="116" y="4"/>
                  </a:cubicBezTo>
                  <a:cubicBezTo>
                    <a:pt x="116" y="0"/>
                    <a:pt x="116" y="0"/>
                    <a:pt x="116" y="0"/>
                  </a:cubicBezTo>
                </a:path>
              </a:pathLst>
            </a:custGeom>
            <a:solidFill>
              <a:schemeClr val="bg1"/>
            </a:solidFill>
            <a:ln>
              <a:noFill/>
            </a:ln>
          </p:spPr>
          <p:txBody>
            <a:bodyPr vert="horz" wrap="square" lIns="91416" tIns="45708" rIns="91416" bIns="45708" numCol="1" anchor="t" anchorCtr="0" compatLnSpc="1"/>
            <a:lstStyle/>
            <a:p>
              <a:endParaRPr lang="zh-CN" altLang="en-US" sz="2400"/>
            </a:p>
          </p:txBody>
        </p:sp>
        <p:sp>
          <p:nvSpPr>
            <p:cNvPr id="98" name="TextBox 97"/>
            <p:cNvSpPr txBox="1"/>
            <p:nvPr/>
          </p:nvSpPr>
          <p:spPr>
            <a:xfrm>
              <a:off x="4873417" y="2920359"/>
              <a:ext cx="379852" cy="282743"/>
            </a:xfrm>
            <a:prstGeom prst="rect">
              <a:avLst/>
            </a:prstGeom>
            <a:noFill/>
          </p:spPr>
          <p:txBody>
            <a:bodyPr wrap="none" rtlCol="0">
              <a:spAutoFit/>
            </a:bodyPr>
            <a:lstStyle/>
            <a:p>
              <a:r>
                <a:rPr lang="en-US" sz="1200" b="1" dirty="0">
                  <a:solidFill>
                    <a:schemeClr val="bg1"/>
                  </a:solidFill>
                  <a:latin typeface="微软雅黑" panose="020B0503020204020204" pitchFamily="34" charset="-122"/>
                  <a:ea typeface="微软雅黑" panose="020B0503020204020204" pitchFamily="34" charset="-122"/>
                </a:rPr>
                <a:t>0</a:t>
              </a:r>
              <a:r>
                <a:rPr lang="en-US" altLang="zh-CN" sz="1200" b="1" dirty="0">
                  <a:solidFill>
                    <a:schemeClr val="bg1"/>
                  </a:solidFill>
                  <a:latin typeface="微软雅黑" panose="020B0503020204020204" pitchFamily="34" charset="-122"/>
                  <a:ea typeface="微软雅黑" panose="020B0503020204020204" pitchFamily="34" charset="-122"/>
                </a:rPr>
                <a:t>4</a:t>
              </a:r>
            </a:p>
          </p:txBody>
        </p:sp>
      </p:grpSp>
      <p:sp>
        <p:nvSpPr>
          <p:cNvPr id="48" name="平行四边形 47"/>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平行四边形 48"/>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平行四边形 49"/>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平行四边形 50"/>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2" name="直接连接符 51"/>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9"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100" name="Group 7"/>
          <p:cNvGrpSpPr/>
          <p:nvPr/>
        </p:nvGrpSpPr>
        <p:grpSpPr bwMode="auto">
          <a:xfrm>
            <a:off x="180202" y="181952"/>
            <a:ext cx="216018" cy="113981"/>
            <a:chOff x="0" y="0"/>
            <a:chExt cx="1041399" cy="549275"/>
          </a:xfrm>
          <a:solidFill>
            <a:srgbClr val="133E73"/>
          </a:solidFill>
        </p:grpSpPr>
        <p:sp>
          <p:nvSpPr>
            <p:cNvPr id="101"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2"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3"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104"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0"/>
                                        </p:tgtEl>
                                        <p:attrNameLst>
                                          <p:attrName>style.visibility</p:attrName>
                                        </p:attrNameLst>
                                      </p:cBhvr>
                                      <p:to>
                                        <p:strVal val="visible"/>
                                      </p:to>
                                    </p:set>
                                    <p:anim calcmode="lin" valueType="num">
                                      <p:cBhvr additive="base">
                                        <p:cTn id="7" dur="500" fill="hold"/>
                                        <p:tgtEl>
                                          <p:spTgt spid="100"/>
                                        </p:tgtEl>
                                        <p:attrNameLst>
                                          <p:attrName>ppt_x</p:attrName>
                                        </p:attrNameLst>
                                      </p:cBhvr>
                                      <p:tavLst>
                                        <p:tav tm="0">
                                          <p:val>
                                            <p:strVal val="0-#ppt_w/2"/>
                                          </p:val>
                                        </p:tav>
                                        <p:tav tm="100000">
                                          <p:val>
                                            <p:strVal val="#ppt_x"/>
                                          </p:val>
                                        </p:tav>
                                      </p:tavLst>
                                    </p:anim>
                                    <p:anim calcmode="lin" valueType="num">
                                      <p:cBhvr additive="base">
                                        <p:cTn id="8" dur="500" fill="hold"/>
                                        <p:tgtEl>
                                          <p:spTgt spid="10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99"/>
                                        </p:tgtEl>
                                        <p:attrNameLst>
                                          <p:attrName>style.visibility</p:attrName>
                                        </p:attrNameLst>
                                      </p:cBhvr>
                                      <p:to>
                                        <p:strVal val="visible"/>
                                      </p:to>
                                    </p:set>
                                    <p:anim calcmode="lin" valueType="num">
                                      <p:cBhvr>
                                        <p:cTn id="12" dur="500" fill="hold"/>
                                        <p:tgtEl>
                                          <p:spTgt spid="99"/>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99"/>
                                        </p:tgtEl>
                                        <p:attrNameLst>
                                          <p:attrName>ppt_y</p:attrName>
                                        </p:attrNameLst>
                                      </p:cBhvr>
                                      <p:tavLst>
                                        <p:tav tm="0">
                                          <p:val>
                                            <p:strVal val="#ppt_y"/>
                                          </p:val>
                                        </p:tav>
                                        <p:tav tm="100000">
                                          <p:val>
                                            <p:strVal val="#ppt_y"/>
                                          </p:val>
                                        </p:tav>
                                      </p:tavLst>
                                    </p:anim>
                                    <p:anim calcmode="lin" valueType="num">
                                      <p:cBhvr>
                                        <p:cTn id="14" dur="500" fill="hold"/>
                                        <p:tgtEl>
                                          <p:spTgt spid="99"/>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99"/>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99"/>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50"/>
                                        </p:tgtEl>
                                        <p:attrNameLst>
                                          <p:attrName>fillcolor</p:attrName>
                                        </p:attrNameLst>
                                      </p:cBhvr>
                                      <p:to>
                                        <a:srgbClr val="00AEEF"/>
                                      </p:to>
                                    </p:animClr>
                                    <p:set>
                                      <p:cBhvr>
                                        <p:cTn id="20" dur="300" fill="hold"/>
                                        <p:tgtEl>
                                          <p:spTgt spid="50"/>
                                        </p:tgtEl>
                                        <p:attrNameLst>
                                          <p:attrName>fill.type</p:attrName>
                                        </p:attrNameLst>
                                      </p:cBhvr>
                                      <p:to>
                                        <p:strVal val="solid"/>
                                      </p:to>
                                    </p:set>
                                    <p:set>
                                      <p:cBhvr>
                                        <p:cTn id="21" dur="300" fill="hold"/>
                                        <p:tgtEl>
                                          <p:spTgt spid="50"/>
                                        </p:tgtEl>
                                        <p:attrNameLst>
                                          <p:attrName>fill.on</p:attrName>
                                        </p:attrNameLst>
                                      </p:cBhvr>
                                      <p:to>
                                        <p:strVal val="true"/>
                                      </p:to>
                                    </p:set>
                                  </p:childTnLst>
                                </p:cTn>
                              </p:par>
                            </p:childTnLst>
                          </p:cTn>
                        </p:par>
                        <p:par>
                          <p:cTn id="22" fill="hold">
                            <p:stCondLst>
                              <p:cond delay="1799"/>
                            </p:stCondLst>
                            <p:childTnLst>
                              <p:par>
                                <p:cTn id="23" presetID="2" presetClass="entr" presetSubtype="1" fill="hold" nodeType="afterEffect">
                                  <p:stCondLst>
                                    <p:cond delay="0"/>
                                  </p:stCondLst>
                                  <p:childTnLst>
                                    <p:set>
                                      <p:cBhvr>
                                        <p:cTn id="24" dur="1" fill="hold">
                                          <p:stCondLst>
                                            <p:cond delay="0"/>
                                          </p:stCondLst>
                                        </p:cTn>
                                        <p:tgtEl>
                                          <p:spTgt spid="77"/>
                                        </p:tgtEl>
                                        <p:attrNameLst>
                                          <p:attrName>style.visibility</p:attrName>
                                        </p:attrNameLst>
                                      </p:cBhvr>
                                      <p:to>
                                        <p:strVal val="visible"/>
                                      </p:to>
                                    </p:set>
                                    <p:anim calcmode="lin" valueType="num">
                                      <p:cBhvr additive="base">
                                        <p:cTn id="25" dur="500" fill="hold"/>
                                        <p:tgtEl>
                                          <p:spTgt spid="77"/>
                                        </p:tgtEl>
                                        <p:attrNameLst>
                                          <p:attrName>ppt_x</p:attrName>
                                        </p:attrNameLst>
                                      </p:cBhvr>
                                      <p:tavLst>
                                        <p:tav tm="0">
                                          <p:val>
                                            <p:strVal val="#ppt_x"/>
                                          </p:val>
                                        </p:tav>
                                        <p:tav tm="100000">
                                          <p:val>
                                            <p:strVal val="#ppt_x"/>
                                          </p:val>
                                        </p:tav>
                                      </p:tavLst>
                                    </p:anim>
                                    <p:anim calcmode="lin" valueType="num">
                                      <p:cBhvr additive="base">
                                        <p:cTn id="26" dur="500" fill="hold"/>
                                        <p:tgtEl>
                                          <p:spTgt spid="77"/>
                                        </p:tgtEl>
                                        <p:attrNameLst>
                                          <p:attrName>ppt_y</p:attrName>
                                        </p:attrNameLst>
                                      </p:cBhvr>
                                      <p:tavLst>
                                        <p:tav tm="0">
                                          <p:val>
                                            <p:strVal val="0-#ppt_h/2"/>
                                          </p:val>
                                        </p:tav>
                                        <p:tav tm="100000">
                                          <p:val>
                                            <p:strVal val="#ppt_y"/>
                                          </p:val>
                                        </p:tav>
                                      </p:tavLst>
                                    </p:anim>
                                  </p:childTnLst>
                                </p:cTn>
                              </p:par>
                            </p:childTnLst>
                          </p:cTn>
                        </p:par>
                        <p:par>
                          <p:cTn id="27" fill="hold">
                            <p:stCondLst>
                              <p:cond delay="2299"/>
                            </p:stCondLst>
                            <p:childTnLst>
                              <p:par>
                                <p:cTn id="28" presetID="2" presetClass="entr" presetSubtype="8" fill="hold" nodeType="afterEffect">
                                  <p:stCondLst>
                                    <p:cond delay="0"/>
                                  </p:stCondLst>
                                  <p:childTnLst>
                                    <p:set>
                                      <p:cBhvr>
                                        <p:cTn id="29" dur="1" fill="hold">
                                          <p:stCondLst>
                                            <p:cond delay="0"/>
                                          </p:stCondLst>
                                        </p:cTn>
                                        <p:tgtEl>
                                          <p:spTgt spid="82"/>
                                        </p:tgtEl>
                                        <p:attrNameLst>
                                          <p:attrName>style.visibility</p:attrName>
                                        </p:attrNameLst>
                                      </p:cBhvr>
                                      <p:to>
                                        <p:strVal val="visible"/>
                                      </p:to>
                                    </p:set>
                                    <p:anim calcmode="lin" valueType="num">
                                      <p:cBhvr additive="base">
                                        <p:cTn id="30" dur="500" fill="hold"/>
                                        <p:tgtEl>
                                          <p:spTgt spid="82"/>
                                        </p:tgtEl>
                                        <p:attrNameLst>
                                          <p:attrName>ppt_x</p:attrName>
                                        </p:attrNameLst>
                                      </p:cBhvr>
                                      <p:tavLst>
                                        <p:tav tm="0">
                                          <p:val>
                                            <p:strVal val="0-#ppt_w/2"/>
                                          </p:val>
                                        </p:tav>
                                        <p:tav tm="100000">
                                          <p:val>
                                            <p:strVal val="#ppt_x"/>
                                          </p:val>
                                        </p:tav>
                                      </p:tavLst>
                                    </p:anim>
                                    <p:anim calcmode="lin" valueType="num">
                                      <p:cBhvr additive="base">
                                        <p:cTn id="31" dur="500" fill="hold"/>
                                        <p:tgtEl>
                                          <p:spTgt spid="82"/>
                                        </p:tgtEl>
                                        <p:attrNameLst>
                                          <p:attrName>ppt_y</p:attrName>
                                        </p:attrNameLst>
                                      </p:cBhvr>
                                      <p:tavLst>
                                        <p:tav tm="0">
                                          <p:val>
                                            <p:strVal val="#ppt_y"/>
                                          </p:val>
                                        </p:tav>
                                        <p:tav tm="100000">
                                          <p:val>
                                            <p:strVal val="#ppt_y"/>
                                          </p:val>
                                        </p:tav>
                                      </p:tavLst>
                                    </p:anim>
                                  </p:childTnLst>
                                </p:cTn>
                              </p:par>
                            </p:childTnLst>
                          </p:cTn>
                        </p:par>
                        <p:par>
                          <p:cTn id="32" fill="hold">
                            <p:stCondLst>
                              <p:cond delay="2799"/>
                            </p:stCondLst>
                            <p:childTnLst>
                              <p:par>
                                <p:cTn id="33" presetID="2" presetClass="entr" presetSubtype="4" fill="hold" nodeType="afterEffect">
                                  <p:stCondLst>
                                    <p:cond delay="0"/>
                                  </p:stCondLst>
                                  <p:childTnLst>
                                    <p:set>
                                      <p:cBhvr>
                                        <p:cTn id="34" dur="1" fill="hold">
                                          <p:stCondLst>
                                            <p:cond delay="0"/>
                                          </p:stCondLst>
                                        </p:cTn>
                                        <p:tgtEl>
                                          <p:spTgt spid="89"/>
                                        </p:tgtEl>
                                        <p:attrNameLst>
                                          <p:attrName>style.visibility</p:attrName>
                                        </p:attrNameLst>
                                      </p:cBhvr>
                                      <p:to>
                                        <p:strVal val="visible"/>
                                      </p:to>
                                    </p:set>
                                    <p:anim calcmode="lin" valueType="num">
                                      <p:cBhvr additive="base">
                                        <p:cTn id="35" dur="500" fill="hold"/>
                                        <p:tgtEl>
                                          <p:spTgt spid="89"/>
                                        </p:tgtEl>
                                        <p:attrNameLst>
                                          <p:attrName>ppt_x</p:attrName>
                                        </p:attrNameLst>
                                      </p:cBhvr>
                                      <p:tavLst>
                                        <p:tav tm="0">
                                          <p:val>
                                            <p:strVal val="#ppt_x"/>
                                          </p:val>
                                        </p:tav>
                                        <p:tav tm="100000">
                                          <p:val>
                                            <p:strVal val="#ppt_x"/>
                                          </p:val>
                                        </p:tav>
                                      </p:tavLst>
                                    </p:anim>
                                    <p:anim calcmode="lin" valueType="num">
                                      <p:cBhvr additive="base">
                                        <p:cTn id="36" dur="500" fill="hold"/>
                                        <p:tgtEl>
                                          <p:spTgt spid="89"/>
                                        </p:tgtEl>
                                        <p:attrNameLst>
                                          <p:attrName>ppt_y</p:attrName>
                                        </p:attrNameLst>
                                      </p:cBhvr>
                                      <p:tavLst>
                                        <p:tav tm="0">
                                          <p:val>
                                            <p:strVal val="1+#ppt_h/2"/>
                                          </p:val>
                                        </p:tav>
                                        <p:tav tm="100000">
                                          <p:val>
                                            <p:strVal val="#ppt_y"/>
                                          </p:val>
                                        </p:tav>
                                      </p:tavLst>
                                    </p:anim>
                                  </p:childTnLst>
                                </p:cTn>
                              </p:par>
                            </p:childTnLst>
                          </p:cTn>
                        </p:par>
                        <p:par>
                          <p:cTn id="37" fill="hold">
                            <p:stCondLst>
                              <p:cond delay="3299"/>
                            </p:stCondLst>
                            <p:childTnLst>
                              <p:par>
                                <p:cTn id="38" presetID="2" presetClass="entr" presetSubtype="2" fill="hold" nodeType="afterEffect">
                                  <p:stCondLst>
                                    <p:cond delay="0"/>
                                  </p:stCondLst>
                                  <p:childTnLst>
                                    <p:set>
                                      <p:cBhvr>
                                        <p:cTn id="39" dur="1" fill="hold">
                                          <p:stCondLst>
                                            <p:cond delay="0"/>
                                          </p:stCondLst>
                                        </p:cTn>
                                        <p:tgtEl>
                                          <p:spTgt spid="94"/>
                                        </p:tgtEl>
                                        <p:attrNameLst>
                                          <p:attrName>style.visibility</p:attrName>
                                        </p:attrNameLst>
                                      </p:cBhvr>
                                      <p:to>
                                        <p:strVal val="visible"/>
                                      </p:to>
                                    </p:set>
                                    <p:anim calcmode="lin" valueType="num">
                                      <p:cBhvr additive="base">
                                        <p:cTn id="40" dur="500" fill="hold"/>
                                        <p:tgtEl>
                                          <p:spTgt spid="94"/>
                                        </p:tgtEl>
                                        <p:attrNameLst>
                                          <p:attrName>ppt_x</p:attrName>
                                        </p:attrNameLst>
                                      </p:cBhvr>
                                      <p:tavLst>
                                        <p:tav tm="0">
                                          <p:val>
                                            <p:strVal val="1+#ppt_w/2"/>
                                          </p:val>
                                        </p:tav>
                                        <p:tav tm="100000">
                                          <p:val>
                                            <p:strVal val="#ppt_x"/>
                                          </p:val>
                                        </p:tav>
                                      </p:tavLst>
                                    </p:anim>
                                    <p:anim calcmode="lin" valueType="num">
                                      <p:cBhvr additive="base">
                                        <p:cTn id="41" dur="500" fill="hold"/>
                                        <p:tgtEl>
                                          <p:spTgt spid="94"/>
                                        </p:tgtEl>
                                        <p:attrNameLst>
                                          <p:attrName>ppt_y</p:attrName>
                                        </p:attrNameLst>
                                      </p:cBhvr>
                                      <p:tavLst>
                                        <p:tav tm="0">
                                          <p:val>
                                            <p:strVal val="#ppt_y"/>
                                          </p:val>
                                        </p:tav>
                                        <p:tav tm="100000">
                                          <p:val>
                                            <p:strVal val="#ppt_y"/>
                                          </p:val>
                                        </p:tav>
                                      </p:tavLst>
                                    </p:anim>
                                  </p:childTnLst>
                                </p:cTn>
                              </p:par>
                            </p:childTnLst>
                          </p:cTn>
                        </p:par>
                        <p:par>
                          <p:cTn id="42" fill="hold">
                            <p:stCondLst>
                              <p:cond delay="3799"/>
                            </p:stCondLst>
                            <p:childTnLst>
                              <p:par>
                                <p:cTn id="43" presetID="12" presetClass="entr" presetSubtype="1" fill="hold" nodeType="afterEffect">
                                  <p:stCondLst>
                                    <p:cond delay="0"/>
                                  </p:stCondLst>
                                  <p:childTnLst>
                                    <p:set>
                                      <p:cBhvr>
                                        <p:cTn id="44" dur="1" fill="hold">
                                          <p:stCondLst>
                                            <p:cond delay="0"/>
                                          </p:stCondLst>
                                        </p:cTn>
                                        <p:tgtEl>
                                          <p:spTgt spid="65"/>
                                        </p:tgtEl>
                                        <p:attrNameLst>
                                          <p:attrName>style.visibility</p:attrName>
                                        </p:attrNameLst>
                                      </p:cBhvr>
                                      <p:to>
                                        <p:strVal val="visible"/>
                                      </p:to>
                                    </p:set>
                                    <p:animEffect transition="in" filter="slide(fromTop)">
                                      <p:cBhvr>
                                        <p:cTn id="45" dur="500"/>
                                        <p:tgtEl>
                                          <p:spTgt spid="65"/>
                                        </p:tgtEl>
                                      </p:cBhvr>
                                    </p:animEffect>
                                  </p:childTnLst>
                                </p:cTn>
                              </p:par>
                            </p:childTnLst>
                          </p:cTn>
                        </p:par>
                        <p:par>
                          <p:cTn id="46" fill="hold">
                            <p:stCondLst>
                              <p:cond delay="4299"/>
                            </p:stCondLst>
                            <p:childTnLst>
                              <p:par>
                                <p:cTn id="47" presetID="12" presetClass="entr" presetSubtype="1" fill="hold" nodeType="afterEffect">
                                  <p:stCondLst>
                                    <p:cond delay="0"/>
                                  </p:stCondLst>
                                  <p:childTnLst>
                                    <p:set>
                                      <p:cBhvr>
                                        <p:cTn id="48" dur="1" fill="hold">
                                          <p:stCondLst>
                                            <p:cond delay="0"/>
                                          </p:stCondLst>
                                        </p:cTn>
                                        <p:tgtEl>
                                          <p:spTgt spid="71"/>
                                        </p:tgtEl>
                                        <p:attrNameLst>
                                          <p:attrName>style.visibility</p:attrName>
                                        </p:attrNameLst>
                                      </p:cBhvr>
                                      <p:to>
                                        <p:strVal val="visible"/>
                                      </p:to>
                                    </p:set>
                                    <p:animEffect transition="in" filter="slide(fromTop)">
                                      <p:cBhvr>
                                        <p:cTn id="49" dur="500"/>
                                        <p:tgtEl>
                                          <p:spTgt spid="71"/>
                                        </p:tgtEl>
                                      </p:cBhvr>
                                    </p:animEffect>
                                  </p:childTnLst>
                                </p:cTn>
                              </p:par>
                            </p:childTnLst>
                          </p:cTn>
                        </p:par>
                        <p:par>
                          <p:cTn id="50" fill="hold">
                            <p:stCondLst>
                              <p:cond delay="4799"/>
                            </p:stCondLst>
                            <p:childTnLst>
                              <p:par>
                                <p:cTn id="51" presetID="1" presetClass="mediacall" presetSubtype="0" fill="hold" nodeType="afterEffect">
                                  <p:stCondLst>
                                    <p:cond delay="0"/>
                                  </p:stCondLst>
                                  <p:childTnLst>
                                    <p:cmd type="call" cmd="playFrom(0.0)">
                                      <p:cBhvr>
                                        <p:cTn id="52" dur="1" fill="hold"/>
                                        <p:tgtEl>
                                          <p:spTgt spid="104"/>
                                        </p:tgtEl>
                                      </p:cBhvr>
                                    </p:cmd>
                                  </p:childTnLst>
                                </p:cTn>
                              </p:par>
                            </p:childTnLst>
                          </p:cTn>
                        </p:par>
                        <p:par>
                          <p:cTn id="53" fill="hold">
                            <p:stCondLst>
                              <p:cond delay="4799"/>
                            </p:stCondLst>
                            <p:childTnLst>
                              <p:par>
                                <p:cTn id="54" presetID="12" presetClass="entr" presetSubtype="1" fill="hold" nodeType="afterEffect">
                                  <p:stCondLst>
                                    <p:cond delay="0"/>
                                  </p:stCondLst>
                                  <p:childTnLst>
                                    <p:set>
                                      <p:cBhvr>
                                        <p:cTn id="55" dur="1" fill="hold">
                                          <p:stCondLst>
                                            <p:cond delay="0"/>
                                          </p:stCondLst>
                                        </p:cTn>
                                        <p:tgtEl>
                                          <p:spTgt spid="74"/>
                                        </p:tgtEl>
                                        <p:attrNameLst>
                                          <p:attrName>style.visibility</p:attrName>
                                        </p:attrNameLst>
                                      </p:cBhvr>
                                      <p:to>
                                        <p:strVal val="visible"/>
                                      </p:to>
                                    </p:set>
                                    <p:animEffect transition="in" filter="slide(fromTop)">
                                      <p:cBhvr>
                                        <p:cTn id="56" dur="500"/>
                                        <p:tgtEl>
                                          <p:spTgt spid="74"/>
                                        </p:tgtEl>
                                      </p:cBhvr>
                                    </p:animEffect>
                                  </p:childTnLst>
                                </p:cTn>
                              </p:par>
                            </p:childTnLst>
                          </p:cTn>
                        </p:par>
                        <p:par>
                          <p:cTn id="57" fill="hold">
                            <p:stCondLst>
                              <p:cond delay="5299"/>
                            </p:stCondLst>
                            <p:childTnLst>
                              <p:par>
                                <p:cTn id="58" presetID="12" presetClass="entr" presetSubtype="1" fill="hold" nodeType="afterEffect">
                                  <p:stCondLst>
                                    <p:cond delay="0"/>
                                  </p:stCondLst>
                                  <p:childTnLst>
                                    <p:set>
                                      <p:cBhvr>
                                        <p:cTn id="59" dur="1" fill="hold">
                                          <p:stCondLst>
                                            <p:cond delay="0"/>
                                          </p:stCondLst>
                                        </p:cTn>
                                        <p:tgtEl>
                                          <p:spTgt spid="68"/>
                                        </p:tgtEl>
                                        <p:attrNameLst>
                                          <p:attrName>style.visibility</p:attrName>
                                        </p:attrNameLst>
                                      </p:cBhvr>
                                      <p:to>
                                        <p:strVal val="visible"/>
                                      </p:to>
                                    </p:set>
                                    <p:animEffect transition="in" filter="slide(fromTop)">
                                      <p:cBhvr>
                                        <p:cTn id="60"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61" fill="hold" display="0">
                  <p:stCondLst>
                    <p:cond delay="indefinite"/>
                  </p:stCondLst>
                  <p:endCondLst>
                    <p:cond evt="onStopAudio" delay="0">
                      <p:tgtEl>
                        <p:sldTgt/>
                      </p:tgtEl>
                    </p:cond>
                  </p:endCondLst>
                </p:cTn>
                <p:tgtEl>
                  <p:spTgt spid="104"/>
                </p:tgtEl>
              </p:cMediaNode>
            </p:audio>
          </p:childTnLst>
        </p:cTn>
      </p:par>
    </p:tnLst>
    <p:bldLst>
      <p:bldP spid="50" grpId="0" animBg="1"/>
      <p:bldP spid="9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3"/>
          <p:cNvGrpSpPr/>
          <p:nvPr/>
        </p:nvGrpSpPr>
        <p:grpSpPr>
          <a:xfrm>
            <a:off x="887425" y="2821243"/>
            <a:ext cx="1107198" cy="291285"/>
            <a:chOff x="1424694" y="3437117"/>
            <a:chExt cx="1499779" cy="396331"/>
          </a:xfrm>
          <a:solidFill>
            <a:srgbClr val="00AEEF"/>
          </a:solidFill>
        </p:grpSpPr>
        <p:sp>
          <p:nvSpPr>
            <p:cNvPr id="19" name="Round Same Side Corner Rectangle 4"/>
            <p:cNvSpPr/>
            <p:nvPr/>
          </p:nvSpPr>
          <p:spPr>
            <a:xfrm rot="16200000">
              <a:off x="2049734" y="2958708"/>
              <a:ext cx="249700" cy="1499779"/>
            </a:xfrm>
            <a:prstGeom prst="round2Same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20" name="Oval 13"/>
            <p:cNvSpPr/>
            <p:nvPr/>
          </p:nvSpPr>
          <p:spPr>
            <a:xfrm>
              <a:off x="2014338" y="3437117"/>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21" name="Group 10"/>
          <p:cNvGrpSpPr/>
          <p:nvPr/>
        </p:nvGrpSpPr>
        <p:grpSpPr>
          <a:xfrm>
            <a:off x="2045405" y="2929010"/>
            <a:ext cx="1107198" cy="283198"/>
            <a:chOff x="2993261" y="3583747"/>
            <a:chExt cx="1499779" cy="385328"/>
          </a:xfrm>
          <a:solidFill>
            <a:srgbClr val="0070C0"/>
          </a:solidFill>
        </p:grpSpPr>
        <p:sp>
          <p:nvSpPr>
            <p:cNvPr id="22" name="Round Same Side Corner Rectangle 6"/>
            <p:cNvSpPr/>
            <p:nvPr/>
          </p:nvSpPr>
          <p:spPr>
            <a:xfrm rot="5400000" flipH="1">
              <a:off x="3618301" y="2958707"/>
              <a:ext cx="249700" cy="1499779"/>
            </a:xfrm>
            <a:prstGeom prst="round2SameRect">
              <a:avLst>
                <a:gd name="adj1" fmla="val 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23" name="Oval 14"/>
            <p:cNvSpPr/>
            <p:nvPr/>
          </p:nvSpPr>
          <p:spPr>
            <a:xfrm>
              <a:off x="3582905" y="3648583"/>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24" name="Group 11"/>
          <p:cNvGrpSpPr/>
          <p:nvPr/>
        </p:nvGrpSpPr>
        <p:grpSpPr>
          <a:xfrm>
            <a:off x="3203384" y="2821244"/>
            <a:ext cx="1107198" cy="291284"/>
            <a:chOff x="4561827" y="3437117"/>
            <a:chExt cx="1499779" cy="396330"/>
          </a:xfrm>
          <a:solidFill>
            <a:srgbClr val="00AEEF"/>
          </a:solidFill>
        </p:grpSpPr>
        <p:sp>
          <p:nvSpPr>
            <p:cNvPr id="25" name="Round Same Side Corner Rectangle 7"/>
            <p:cNvSpPr/>
            <p:nvPr/>
          </p:nvSpPr>
          <p:spPr>
            <a:xfrm rot="5400000" flipH="1">
              <a:off x="5186867" y="2958707"/>
              <a:ext cx="249700" cy="1499779"/>
            </a:xfrm>
            <a:prstGeom prst="round2SameRect">
              <a:avLst>
                <a:gd name="adj1" fmla="val 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26" name="Oval 15"/>
            <p:cNvSpPr/>
            <p:nvPr/>
          </p:nvSpPr>
          <p:spPr>
            <a:xfrm>
              <a:off x="5220257" y="3437117"/>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27" name="Group 12"/>
          <p:cNvGrpSpPr/>
          <p:nvPr/>
        </p:nvGrpSpPr>
        <p:grpSpPr>
          <a:xfrm>
            <a:off x="4361364" y="2929010"/>
            <a:ext cx="1107198" cy="283198"/>
            <a:chOff x="6130393" y="3583747"/>
            <a:chExt cx="1499779" cy="385328"/>
          </a:xfrm>
          <a:solidFill>
            <a:srgbClr val="0070C0"/>
          </a:solidFill>
        </p:grpSpPr>
        <p:sp>
          <p:nvSpPr>
            <p:cNvPr id="28" name="Round Same Side Corner Rectangle 8"/>
            <p:cNvSpPr/>
            <p:nvPr/>
          </p:nvSpPr>
          <p:spPr>
            <a:xfrm rot="5400000" flipH="1">
              <a:off x="6755433" y="2958707"/>
              <a:ext cx="249700" cy="1499779"/>
            </a:xfrm>
            <a:prstGeom prst="round2SameRect">
              <a:avLst>
                <a:gd name="adj1" fmla="val 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29" name="Oval 16"/>
            <p:cNvSpPr/>
            <p:nvPr/>
          </p:nvSpPr>
          <p:spPr>
            <a:xfrm>
              <a:off x="6720037" y="3648583"/>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30" name="Group 35"/>
          <p:cNvGrpSpPr/>
          <p:nvPr/>
        </p:nvGrpSpPr>
        <p:grpSpPr>
          <a:xfrm>
            <a:off x="6677323" y="2929011"/>
            <a:ext cx="1107198" cy="283197"/>
            <a:chOff x="9267526" y="3583748"/>
            <a:chExt cx="1499779" cy="385327"/>
          </a:xfrm>
          <a:solidFill>
            <a:srgbClr val="0070C0"/>
          </a:solidFill>
        </p:grpSpPr>
        <p:sp>
          <p:nvSpPr>
            <p:cNvPr id="31" name="Round Same Side Corner Rectangle 5"/>
            <p:cNvSpPr/>
            <p:nvPr/>
          </p:nvSpPr>
          <p:spPr>
            <a:xfrm rot="5400000" flipH="1">
              <a:off x="9892566" y="2958708"/>
              <a:ext cx="249700" cy="1499779"/>
            </a:xfrm>
            <a:prstGeom prst="round2Same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32" name="Oval 17"/>
            <p:cNvSpPr/>
            <p:nvPr/>
          </p:nvSpPr>
          <p:spPr>
            <a:xfrm>
              <a:off x="9857169" y="3648583"/>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33" name="Group 19"/>
          <p:cNvGrpSpPr/>
          <p:nvPr/>
        </p:nvGrpSpPr>
        <p:grpSpPr>
          <a:xfrm>
            <a:off x="5519344" y="2821243"/>
            <a:ext cx="1107198" cy="291285"/>
            <a:chOff x="7698960" y="3437117"/>
            <a:chExt cx="1499779" cy="396331"/>
          </a:xfrm>
          <a:solidFill>
            <a:srgbClr val="00AEEF"/>
          </a:solidFill>
        </p:grpSpPr>
        <p:sp>
          <p:nvSpPr>
            <p:cNvPr id="34" name="Round Same Side Corner Rectangle 9"/>
            <p:cNvSpPr/>
            <p:nvPr/>
          </p:nvSpPr>
          <p:spPr>
            <a:xfrm rot="5400000" flipH="1">
              <a:off x="8324000" y="2958708"/>
              <a:ext cx="249700" cy="1499779"/>
            </a:xfrm>
            <a:prstGeom prst="round2SameRect">
              <a:avLst>
                <a:gd name="adj1" fmla="val 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sp>
          <p:nvSpPr>
            <p:cNvPr id="35" name="Oval 18"/>
            <p:cNvSpPr/>
            <p:nvPr/>
          </p:nvSpPr>
          <p:spPr>
            <a:xfrm>
              <a:off x="8357389" y="3437117"/>
              <a:ext cx="320492" cy="3204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GB" sz="1000" noProof="1">
                <a:solidFill>
                  <a:schemeClr val="tx1">
                    <a:lumMod val="50000"/>
                    <a:lumOff val="50000"/>
                  </a:schemeClr>
                </a:solidFill>
                <a:sym typeface="Arial" panose="020B0604020202020204" pitchFamily="34" charset="0"/>
              </a:endParaRPr>
            </a:p>
          </p:txBody>
        </p:sp>
      </p:grpSp>
      <p:grpSp>
        <p:nvGrpSpPr>
          <p:cNvPr id="36" name="Group 20"/>
          <p:cNvGrpSpPr/>
          <p:nvPr/>
        </p:nvGrpSpPr>
        <p:grpSpPr>
          <a:xfrm>
            <a:off x="7059523" y="3275172"/>
            <a:ext cx="342798" cy="341855"/>
            <a:chOff x="9145588" y="4435475"/>
            <a:chExt cx="464344" cy="465138"/>
          </a:xfrm>
          <a:solidFill>
            <a:srgbClr val="0070C0"/>
          </a:solidFill>
        </p:grpSpPr>
        <p:sp>
          <p:nvSpPr>
            <p:cNvPr id="37" name="AutoShape 7"/>
            <p:cNvSpPr/>
            <p:nvPr/>
          </p:nvSpPr>
          <p:spPr bwMode="auto">
            <a:xfrm>
              <a:off x="9145588" y="4435475"/>
              <a:ext cx="464344" cy="465138"/>
            </a:xfrm>
            <a:custGeom>
              <a:avLst/>
              <a:gdLst>
                <a:gd name="T0" fmla="+- 0 10800 1271"/>
                <a:gd name="T1" fmla="*/ T0 w 19058"/>
                <a:gd name="T2" fmla="+- 0 10799 1270"/>
                <a:gd name="T3" fmla="*/ 10799 h 19059"/>
                <a:gd name="T4" fmla="+- 0 10800 1271"/>
                <a:gd name="T5" fmla="*/ T4 w 19058"/>
                <a:gd name="T6" fmla="+- 0 10799 1270"/>
                <a:gd name="T7" fmla="*/ 10799 h 19059"/>
                <a:gd name="T8" fmla="+- 0 10800 1271"/>
                <a:gd name="T9" fmla="*/ T8 w 19058"/>
                <a:gd name="T10" fmla="+- 0 10799 1270"/>
                <a:gd name="T11" fmla="*/ 10799 h 19059"/>
                <a:gd name="T12" fmla="+- 0 10800 1271"/>
                <a:gd name="T13" fmla="*/ T12 w 19058"/>
                <a:gd name="T14" fmla="+- 0 10799 1270"/>
                <a:gd name="T15" fmla="*/ 10799 h 19059"/>
              </a:gdLst>
              <a:ahLst/>
              <a:cxnLst>
                <a:cxn ang="0">
                  <a:pos x="T1" y="T3"/>
                </a:cxn>
                <a:cxn ang="0">
                  <a:pos x="T5" y="T7"/>
                </a:cxn>
                <a:cxn ang="0">
                  <a:pos x="T9" y="T11"/>
                </a:cxn>
                <a:cxn ang="0">
                  <a:pos x="T13" y="T15"/>
                </a:cxn>
              </a:cxnLst>
              <a:rect l="0" t="0" r="r" b="b"/>
              <a:pathLst>
                <a:path w="19058" h="19059">
                  <a:moveTo>
                    <a:pt x="6430" y="17268"/>
                  </a:moveTo>
                  <a:cubicBezTo>
                    <a:pt x="2162" y="15559"/>
                    <a:pt x="82" y="10698"/>
                    <a:pt x="1790" y="6431"/>
                  </a:cubicBezTo>
                  <a:cubicBezTo>
                    <a:pt x="3499" y="2164"/>
                    <a:pt x="8360" y="81"/>
                    <a:pt x="12627" y="1791"/>
                  </a:cubicBezTo>
                  <a:cubicBezTo>
                    <a:pt x="16894" y="3499"/>
                    <a:pt x="18975" y="8361"/>
                    <a:pt x="17267" y="12628"/>
                  </a:cubicBezTo>
                  <a:cubicBezTo>
                    <a:pt x="15558" y="16895"/>
                    <a:pt x="10696" y="18976"/>
                    <a:pt x="6430" y="17268"/>
                  </a:cubicBezTo>
                  <a:moveTo>
                    <a:pt x="13070" y="685"/>
                  </a:moveTo>
                  <a:cubicBezTo>
                    <a:pt x="8186" y="-1270"/>
                    <a:pt x="2641" y="1103"/>
                    <a:pt x="685" y="5987"/>
                  </a:cubicBezTo>
                  <a:cubicBezTo>
                    <a:pt x="-1271" y="10872"/>
                    <a:pt x="1103" y="16418"/>
                    <a:pt x="5987" y="18373"/>
                  </a:cubicBezTo>
                  <a:cubicBezTo>
                    <a:pt x="10871" y="20330"/>
                    <a:pt x="16416" y="17955"/>
                    <a:pt x="18373" y="13071"/>
                  </a:cubicBezTo>
                  <a:cubicBezTo>
                    <a:pt x="20329" y="8186"/>
                    <a:pt x="17954" y="2641"/>
                    <a:pt x="13070" y="685"/>
                  </a:cubicBezTo>
                </a:path>
              </a:pathLst>
            </a:custGeom>
            <a:grpFill/>
            <a:ln>
              <a:noFill/>
            </a:ln>
            <a:effectLst/>
          </p:spPr>
          <p:txBody>
            <a:bodyPr lIns="20091" tIns="20091" rIns="20091" bIns="20091" anchor="ctr"/>
            <a:lstStyle/>
            <a:p>
              <a:pPr algn="ctr" defTabSz="168275"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8" name="AutoShape 8"/>
            <p:cNvSpPr/>
            <p:nvPr/>
          </p:nvSpPr>
          <p:spPr bwMode="auto">
            <a:xfrm>
              <a:off x="9348788" y="4638675"/>
              <a:ext cx="57944" cy="57944"/>
            </a:xfrm>
            <a:custGeom>
              <a:avLst/>
              <a:gdLst>
                <a:gd name="T0" fmla="+- 0 10801 1272"/>
                <a:gd name="T1" fmla="*/ T0 w 19059"/>
                <a:gd name="T2" fmla="+- 0 10800 1272"/>
                <a:gd name="T3" fmla="*/ 10800 h 19056"/>
                <a:gd name="T4" fmla="+- 0 10801 1272"/>
                <a:gd name="T5" fmla="*/ T4 w 19059"/>
                <a:gd name="T6" fmla="+- 0 10800 1272"/>
                <a:gd name="T7" fmla="*/ 10800 h 19056"/>
                <a:gd name="T8" fmla="+- 0 10801 1272"/>
                <a:gd name="T9" fmla="*/ T8 w 19059"/>
                <a:gd name="T10" fmla="+- 0 10800 1272"/>
                <a:gd name="T11" fmla="*/ 10800 h 19056"/>
                <a:gd name="T12" fmla="+- 0 10801 1272"/>
                <a:gd name="T13" fmla="*/ T12 w 19059"/>
                <a:gd name="T14" fmla="+- 0 10800 1272"/>
                <a:gd name="T15" fmla="*/ 10800 h 19056"/>
              </a:gdLst>
              <a:ahLst/>
              <a:cxnLst>
                <a:cxn ang="0">
                  <a:pos x="T1" y="T3"/>
                </a:cxn>
                <a:cxn ang="0">
                  <a:pos x="T5" y="T7"/>
                </a:cxn>
                <a:cxn ang="0">
                  <a:pos x="T9" y="T11"/>
                </a:cxn>
                <a:cxn ang="0">
                  <a:pos x="T13" y="T15"/>
                </a:cxn>
              </a:cxnLst>
              <a:rect l="0" t="0" r="r" b="b"/>
              <a:pathLst>
                <a:path w="19059" h="19056">
                  <a:moveTo>
                    <a:pt x="7753" y="13951"/>
                  </a:moveTo>
                  <a:cubicBezTo>
                    <a:pt x="5315" y="12969"/>
                    <a:pt x="4129" y="10197"/>
                    <a:pt x="5101" y="7755"/>
                  </a:cubicBezTo>
                  <a:cubicBezTo>
                    <a:pt x="6083" y="5323"/>
                    <a:pt x="8860" y="4132"/>
                    <a:pt x="11298" y="5104"/>
                  </a:cubicBezTo>
                  <a:cubicBezTo>
                    <a:pt x="13735" y="6081"/>
                    <a:pt x="14926" y="8858"/>
                    <a:pt x="13949" y="11300"/>
                  </a:cubicBezTo>
                  <a:cubicBezTo>
                    <a:pt x="12972" y="13737"/>
                    <a:pt x="10195" y="14923"/>
                    <a:pt x="7753" y="13951"/>
                  </a:cubicBezTo>
                  <a:moveTo>
                    <a:pt x="13070" y="686"/>
                  </a:moveTo>
                  <a:cubicBezTo>
                    <a:pt x="8190" y="-1272"/>
                    <a:pt x="2640" y="1104"/>
                    <a:pt x="686" y="5988"/>
                  </a:cubicBezTo>
                  <a:cubicBezTo>
                    <a:pt x="-1272" y="10872"/>
                    <a:pt x="1105" y="16416"/>
                    <a:pt x="5985" y="18369"/>
                  </a:cubicBezTo>
                  <a:cubicBezTo>
                    <a:pt x="10870" y="20328"/>
                    <a:pt x="16415" y="17951"/>
                    <a:pt x="18374" y="13072"/>
                  </a:cubicBezTo>
                  <a:cubicBezTo>
                    <a:pt x="20328" y="8188"/>
                    <a:pt x="17960" y="2644"/>
                    <a:pt x="13070" y="686"/>
                  </a:cubicBezTo>
                </a:path>
              </a:pathLst>
            </a:custGeom>
            <a:grpFill/>
            <a:ln>
              <a:noFill/>
            </a:ln>
            <a:effectLst/>
          </p:spPr>
          <p:txBody>
            <a:bodyPr lIns="20091" tIns="20091" rIns="20091" bIns="20091" anchor="ctr"/>
            <a:lstStyle/>
            <a:p>
              <a:pPr algn="ctr" defTabSz="168275"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9" name="AutoShape 9"/>
            <p:cNvSpPr/>
            <p:nvPr/>
          </p:nvSpPr>
          <p:spPr bwMode="auto">
            <a:xfrm>
              <a:off x="9290050" y="4580732"/>
              <a:ext cx="174625" cy="174625"/>
            </a:xfrm>
            <a:custGeom>
              <a:avLst/>
              <a:gdLst>
                <a:gd name="T0" fmla="+- 0 10800 1271"/>
                <a:gd name="T1" fmla="*/ T0 w 19059"/>
                <a:gd name="T2" fmla="+- 0 10800 1271"/>
                <a:gd name="T3" fmla="*/ 10800 h 19058"/>
                <a:gd name="T4" fmla="+- 0 10800 1271"/>
                <a:gd name="T5" fmla="*/ T4 w 19059"/>
                <a:gd name="T6" fmla="+- 0 10800 1271"/>
                <a:gd name="T7" fmla="*/ 10800 h 19058"/>
                <a:gd name="T8" fmla="+- 0 10800 1271"/>
                <a:gd name="T9" fmla="*/ T8 w 19059"/>
                <a:gd name="T10" fmla="+- 0 10800 1271"/>
                <a:gd name="T11" fmla="*/ 10800 h 19058"/>
                <a:gd name="T12" fmla="+- 0 10800 1271"/>
                <a:gd name="T13" fmla="*/ T12 w 19059"/>
                <a:gd name="T14" fmla="+- 0 10800 1271"/>
                <a:gd name="T15" fmla="*/ 10800 h 19058"/>
              </a:gdLst>
              <a:ahLst/>
              <a:cxnLst>
                <a:cxn ang="0">
                  <a:pos x="T1" y="T3"/>
                </a:cxn>
                <a:cxn ang="0">
                  <a:pos x="T5" y="T7"/>
                </a:cxn>
                <a:cxn ang="0">
                  <a:pos x="T9" y="T11"/>
                </a:cxn>
                <a:cxn ang="0">
                  <a:pos x="T13" y="T15"/>
                </a:cxn>
              </a:cxnLst>
              <a:rect l="0" t="0" r="r" b="b"/>
              <a:pathLst>
                <a:path w="19059" h="19058">
                  <a:moveTo>
                    <a:pt x="7169" y="15424"/>
                  </a:moveTo>
                  <a:cubicBezTo>
                    <a:pt x="3916" y="14123"/>
                    <a:pt x="2331" y="10417"/>
                    <a:pt x="3632" y="7167"/>
                  </a:cubicBezTo>
                  <a:cubicBezTo>
                    <a:pt x="4934" y="3917"/>
                    <a:pt x="8638" y="2331"/>
                    <a:pt x="11889" y="3632"/>
                  </a:cubicBezTo>
                  <a:cubicBezTo>
                    <a:pt x="15141" y="4934"/>
                    <a:pt x="16728" y="8640"/>
                    <a:pt x="15425" y="11890"/>
                  </a:cubicBezTo>
                  <a:cubicBezTo>
                    <a:pt x="14124" y="15140"/>
                    <a:pt x="10419" y="16728"/>
                    <a:pt x="7169" y="15424"/>
                  </a:cubicBezTo>
                  <a:moveTo>
                    <a:pt x="13071" y="685"/>
                  </a:moveTo>
                  <a:cubicBezTo>
                    <a:pt x="8186" y="-1271"/>
                    <a:pt x="2639" y="1104"/>
                    <a:pt x="686" y="5987"/>
                  </a:cubicBezTo>
                  <a:cubicBezTo>
                    <a:pt x="-1271" y="10871"/>
                    <a:pt x="1104" y="16416"/>
                    <a:pt x="5987" y="18372"/>
                  </a:cubicBezTo>
                  <a:cubicBezTo>
                    <a:pt x="10874" y="20329"/>
                    <a:pt x="16418" y="17955"/>
                    <a:pt x="18375" y="13070"/>
                  </a:cubicBezTo>
                  <a:cubicBezTo>
                    <a:pt x="20328" y="8186"/>
                    <a:pt x="17956" y="2641"/>
                    <a:pt x="13071" y="685"/>
                  </a:cubicBezTo>
                </a:path>
              </a:pathLst>
            </a:custGeom>
            <a:grpFill/>
            <a:ln>
              <a:noFill/>
            </a:ln>
            <a:effectLst/>
          </p:spPr>
          <p:txBody>
            <a:bodyPr lIns="20091" tIns="20091" rIns="20091" bIns="20091" anchor="ctr"/>
            <a:lstStyle/>
            <a:p>
              <a:pPr algn="ctr" defTabSz="168275"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0" name="AutoShape 10"/>
            <p:cNvSpPr/>
            <p:nvPr/>
          </p:nvSpPr>
          <p:spPr bwMode="auto">
            <a:xfrm>
              <a:off x="9406732" y="4696619"/>
              <a:ext cx="72231" cy="74613"/>
            </a:xfrm>
            <a:custGeom>
              <a:avLst/>
              <a:gdLst>
                <a:gd name="T0" fmla="+- 0 10804 288"/>
                <a:gd name="T1" fmla="*/ T0 w 21033"/>
                <a:gd name="T2" fmla="+- 0 10798 277"/>
                <a:gd name="T3" fmla="*/ 10798 h 21043"/>
                <a:gd name="T4" fmla="+- 0 10804 288"/>
                <a:gd name="T5" fmla="*/ T4 w 21033"/>
                <a:gd name="T6" fmla="+- 0 10798 277"/>
                <a:gd name="T7" fmla="*/ 10798 h 21043"/>
                <a:gd name="T8" fmla="+- 0 10804 288"/>
                <a:gd name="T9" fmla="*/ T8 w 21033"/>
                <a:gd name="T10" fmla="+- 0 10798 277"/>
                <a:gd name="T11" fmla="*/ 10798 h 21043"/>
                <a:gd name="T12" fmla="+- 0 10804 288"/>
                <a:gd name="T13" fmla="*/ T12 w 21033"/>
                <a:gd name="T14" fmla="+- 0 10798 277"/>
                <a:gd name="T15" fmla="*/ 10798 h 21043"/>
              </a:gdLst>
              <a:ahLst/>
              <a:cxnLst>
                <a:cxn ang="0">
                  <a:pos x="T1" y="T3"/>
                </a:cxn>
                <a:cxn ang="0">
                  <a:pos x="T5" y="T7"/>
                </a:cxn>
                <a:cxn ang="0">
                  <a:pos x="T9" y="T11"/>
                </a:cxn>
                <a:cxn ang="0">
                  <a:pos x="T13" y="T15"/>
                </a:cxn>
              </a:cxnLst>
              <a:rect l="0" t="0" r="r" b="b"/>
              <a:pathLst>
                <a:path w="21033" h="21043">
                  <a:moveTo>
                    <a:pt x="20881" y="2825"/>
                  </a:moveTo>
                  <a:cubicBezTo>
                    <a:pt x="21312" y="1771"/>
                    <a:pt x="20787" y="572"/>
                    <a:pt x="19713" y="149"/>
                  </a:cubicBezTo>
                  <a:cubicBezTo>
                    <a:pt x="18636" y="-277"/>
                    <a:pt x="17414" y="238"/>
                    <a:pt x="16984" y="1296"/>
                  </a:cubicBezTo>
                  <a:lnTo>
                    <a:pt x="16980" y="1292"/>
                  </a:lnTo>
                  <a:cubicBezTo>
                    <a:pt x="13964" y="8692"/>
                    <a:pt x="8182" y="14184"/>
                    <a:pt x="1269" y="17089"/>
                  </a:cubicBezTo>
                  <a:cubicBezTo>
                    <a:pt x="207" y="17536"/>
                    <a:pt x="-288" y="18747"/>
                    <a:pt x="170" y="19789"/>
                  </a:cubicBezTo>
                  <a:cubicBezTo>
                    <a:pt x="629" y="20840"/>
                    <a:pt x="1863" y="21323"/>
                    <a:pt x="2924" y="20876"/>
                  </a:cubicBezTo>
                  <a:cubicBezTo>
                    <a:pt x="2961" y="20860"/>
                    <a:pt x="2982" y="20828"/>
                    <a:pt x="3014" y="20815"/>
                  </a:cubicBezTo>
                  <a:cubicBezTo>
                    <a:pt x="10874" y="17480"/>
                    <a:pt x="17451" y="11227"/>
                    <a:pt x="20877" y="2825"/>
                  </a:cubicBezTo>
                  <a:cubicBezTo>
                    <a:pt x="20877" y="2825"/>
                    <a:pt x="20881" y="2825"/>
                    <a:pt x="20881" y="2825"/>
                  </a:cubicBezTo>
                  <a:close/>
                </a:path>
              </a:pathLst>
            </a:custGeom>
            <a:grpFill/>
            <a:ln>
              <a:noFill/>
            </a:ln>
            <a:effectLst/>
          </p:spPr>
          <p:txBody>
            <a:bodyPr lIns="20091" tIns="20091" rIns="20091" bIns="20091" anchor="ctr"/>
            <a:lstStyle/>
            <a:p>
              <a:pPr algn="ctr" defTabSz="168275"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1" name="AutoShape 11"/>
            <p:cNvSpPr/>
            <p:nvPr/>
          </p:nvSpPr>
          <p:spPr bwMode="auto">
            <a:xfrm>
              <a:off x="9435307" y="4725988"/>
              <a:ext cx="103981" cy="106363"/>
            </a:xfrm>
            <a:custGeom>
              <a:avLst/>
              <a:gdLst>
                <a:gd name="T0" fmla="+- 0 10803 203"/>
                <a:gd name="T1" fmla="*/ T0 w 21201"/>
                <a:gd name="T2" fmla="+- 0 10798 194"/>
                <a:gd name="T3" fmla="*/ 10798 h 21209"/>
                <a:gd name="T4" fmla="+- 0 10803 203"/>
                <a:gd name="T5" fmla="*/ T4 w 21201"/>
                <a:gd name="T6" fmla="+- 0 10798 194"/>
                <a:gd name="T7" fmla="*/ 10798 h 21209"/>
                <a:gd name="T8" fmla="+- 0 10803 203"/>
                <a:gd name="T9" fmla="*/ T8 w 21201"/>
                <a:gd name="T10" fmla="+- 0 10798 194"/>
                <a:gd name="T11" fmla="*/ 10798 h 21209"/>
                <a:gd name="T12" fmla="+- 0 10803 203"/>
                <a:gd name="T13" fmla="*/ T12 w 21201"/>
                <a:gd name="T14" fmla="+- 0 10798 194"/>
                <a:gd name="T15" fmla="*/ 10798 h 21209"/>
              </a:gdLst>
              <a:ahLst/>
              <a:cxnLst>
                <a:cxn ang="0">
                  <a:pos x="T1" y="T3"/>
                </a:cxn>
                <a:cxn ang="0">
                  <a:pos x="T5" y="T7"/>
                </a:cxn>
                <a:cxn ang="0">
                  <a:pos x="T9" y="T11"/>
                </a:cxn>
                <a:cxn ang="0">
                  <a:pos x="T13" y="T15"/>
                </a:cxn>
              </a:cxnLst>
              <a:rect l="0" t="0" r="r" b="b"/>
              <a:pathLst>
                <a:path w="21201" h="21209">
                  <a:moveTo>
                    <a:pt x="20267" y="104"/>
                  </a:moveTo>
                  <a:cubicBezTo>
                    <a:pt x="19508" y="-194"/>
                    <a:pt x="18645" y="169"/>
                    <a:pt x="18339" y="912"/>
                  </a:cubicBezTo>
                  <a:cubicBezTo>
                    <a:pt x="14991" y="9110"/>
                    <a:pt x="8568" y="15198"/>
                    <a:pt x="894" y="18420"/>
                  </a:cubicBezTo>
                  <a:cubicBezTo>
                    <a:pt x="144" y="18735"/>
                    <a:pt x="-203" y="19589"/>
                    <a:pt x="121" y="20327"/>
                  </a:cubicBezTo>
                  <a:cubicBezTo>
                    <a:pt x="442" y="21068"/>
                    <a:pt x="1314" y="21406"/>
                    <a:pt x="2067" y="21090"/>
                  </a:cubicBezTo>
                  <a:cubicBezTo>
                    <a:pt x="2102" y="21073"/>
                    <a:pt x="2125" y="21042"/>
                    <a:pt x="2159" y="21025"/>
                  </a:cubicBezTo>
                  <a:cubicBezTo>
                    <a:pt x="10491" y="17500"/>
                    <a:pt x="17461" y="10881"/>
                    <a:pt x="21095" y="1994"/>
                  </a:cubicBezTo>
                  <a:cubicBezTo>
                    <a:pt x="21397" y="1250"/>
                    <a:pt x="21026" y="404"/>
                    <a:pt x="20267" y="104"/>
                  </a:cubicBezTo>
                </a:path>
              </a:pathLst>
            </a:custGeom>
            <a:grpFill/>
            <a:ln>
              <a:noFill/>
            </a:ln>
            <a:effectLst/>
          </p:spPr>
          <p:txBody>
            <a:bodyPr lIns="20091" tIns="20091" rIns="20091" bIns="20091" anchor="ctr"/>
            <a:lstStyle/>
            <a:p>
              <a:pPr algn="ctr" defTabSz="168275"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2" name="AutoShape 12"/>
            <p:cNvSpPr/>
            <p:nvPr/>
          </p:nvSpPr>
          <p:spPr bwMode="auto">
            <a:xfrm>
              <a:off x="9421019" y="4711700"/>
              <a:ext cx="88106" cy="89694"/>
            </a:xfrm>
            <a:custGeom>
              <a:avLst/>
              <a:gdLst>
                <a:gd name="T0" fmla="+- 0 10802 238"/>
                <a:gd name="T1" fmla="*/ T0 w 21128"/>
                <a:gd name="T2" fmla="+- 0 10797 227"/>
                <a:gd name="T3" fmla="*/ 10797 h 21141"/>
                <a:gd name="T4" fmla="+- 0 10802 238"/>
                <a:gd name="T5" fmla="*/ T4 w 21128"/>
                <a:gd name="T6" fmla="+- 0 10797 227"/>
                <a:gd name="T7" fmla="*/ 10797 h 21141"/>
                <a:gd name="T8" fmla="+- 0 10802 238"/>
                <a:gd name="T9" fmla="*/ T8 w 21128"/>
                <a:gd name="T10" fmla="+- 0 10797 227"/>
                <a:gd name="T11" fmla="*/ 10797 h 21141"/>
                <a:gd name="T12" fmla="+- 0 10802 238"/>
                <a:gd name="T13" fmla="*/ T12 w 21128"/>
                <a:gd name="T14" fmla="+- 0 10797 227"/>
                <a:gd name="T15" fmla="*/ 10797 h 21141"/>
              </a:gdLst>
              <a:ahLst/>
              <a:cxnLst>
                <a:cxn ang="0">
                  <a:pos x="T1" y="T3"/>
                </a:cxn>
                <a:cxn ang="0">
                  <a:pos x="T5" y="T7"/>
                </a:cxn>
                <a:cxn ang="0">
                  <a:pos x="T9" y="T11"/>
                </a:cxn>
                <a:cxn ang="0">
                  <a:pos x="T13" y="T15"/>
                </a:cxn>
              </a:cxnLst>
              <a:rect l="0" t="0" r="r" b="b"/>
              <a:pathLst>
                <a:path w="21128" h="21141">
                  <a:moveTo>
                    <a:pt x="20035" y="122"/>
                  </a:moveTo>
                  <a:cubicBezTo>
                    <a:pt x="19142" y="-227"/>
                    <a:pt x="18134" y="195"/>
                    <a:pt x="17778" y="1071"/>
                  </a:cubicBezTo>
                  <a:cubicBezTo>
                    <a:pt x="14571" y="8936"/>
                    <a:pt x="8412" y="14778"/>
                    <a:pt x="1051" y="17867"/>
                  </a:cubicBezTo>
                  <a:lnTo>
                    <a:pt x="1054" y="17867"/>
                  </a:lnTo>
                  <a:cubicBezTo>
                    <a:pt x="172" y="18240"/>
                    <a:pt x="-238" y="19242"/>
                    <a:pt x="142" y="20108"/>
                  </a:cubicBezTo>
                  <a:cubicBezTo>
                    <a:pt x="522" y="20973"/>
                    <a:pt x="1543" y="21372"/>
                    <a:pt x="2425" y="21003"/>
                  </a:cubicBezTo>
                  <a:cubicBezTo>
                    <a:pt x="2459" y="20986"/>
                    <a:pt x="2476" y="20956"/>
                    <a:pt x="2514" y="20936"/>
                  </a:cubicBezTo>
                  <a:cubicBezTo>
                    <a:pt x="10651" y="17491"/>
                    <a:pt x="17459" y="11027"/>
                    <a:pt x="21002" y="2339"/>
                  </a:cubicBezTo>
                  <a:cubicBezTo>
                    <a:pt x="21361" y="1463"/>
                    <a:pt x="20927" y="472"/>
                    <a:pt x="20035" y="122"/>
                  </a:cubicBezTo>
                </a:path>
              </a:pathLst>
            </a:custGeom>
            <a:grpFill/>
            <a:ln>
              <a:noFill/>
            </a:ln>
            <a:effectLst/>
          </p:spPr>
          <p:txBody>
            <a:bodyPr lIns="20091" tIns="20091" rIns="20091" bIns="20091" anchor="ctr"/>
            <a:lstStyle/>
            <a:p>
              <a:pPr algn="ctr" defTabSz="168275"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3" name="AutoShape 13"/>
            <p:cNvSpPr/>
            <p:nvPr/>
          </p:nvSpPr>
          <p:spPr bwMode="auto">
            <a:xfrm>
              <a:off x="9275763" y="4566444"/>
              <a:ext cx="73025" cy="73819"/>
            </a:xfrm>
            <a:custGeom>
              <a:avLst/>
              <a:gdLst>
                <a:gd name="T0" fmla="+- 0 10797 278"/>
                <a:gd name="T1" fmla="*/ T0 w 21039"/>
                <a:gd name="T2" fmla="+- 0 10803 281"/>
                <a:gd name="T3" fmla="*/ 10803 h 21044"/>
                <a:gd name="T4" fmla="+- 0 10797 278"/>
                <a:gd name="T5" fmla="*/ T4 w 21039"/>
                <a:gd name="T6" fmla="+- 0 10803 281"/>
                <a:gd name="T7" fmla="*/ 10803 h 21044"/>
                <a:gd name="T8" fmla="+- 0 10797 278"/>
                <a:gd name="T9" fmla="*/ T8 w 21039"/>
                <a:gd name="T10" fmla="+- 0 10803 281"/>
                <a:gd name="T11" fmla="*/ 10803 h 21044"/>
                <a:gd name="T12" fmla="+- 0 10797 278"/>
                <a:gd name="T13" fmla="*/ T12 w 21039"/>
                <a:gd name="T14" fmla="+- 0 10803 281"/>
                <a:gd name="T15" fmla="*/ 10803 h 21044"/>
              </a:gdLst>
              <a:ahLst/>
              <a:cxnLst>
                <a:cxn ang="0">
                  <a:pos x="T1" y="T3"/>
                </a:cxn>
                <a:cxn ang="0">
                  <a:pos x="T5" y="T7"/>
                </a:cxn>
                <a:cxn ang="0">
                  <a:pos x="T9" y="T11"/>
                </a:cxn>
                <a:cxn ang="0">
                  <a:pos x="T13" y="T15"/>
                </a:cxn>
              </a:cxnLst>
              <a:rect l="0" t="0" r="r" b="b"/>
              <a:pathLst>
                <a:path w="21039" h="21044">
                  <a:moveTo>
                    <a:pt x="20871" y="1248"/>
                  </a:moveTo>
                  <a:cubicBezTo>
                    <a:pt x="20411" y="197"/>
                    <a:pt x="19177" y="-281"/>
                    <a:pt x="18112" y="169"/>
                  </a:cubicBezTo>
                  <a:cubicBezTo>
                    <a:pt x="18075" y="181"/>
                    <a:pt x="18050" y="214"/>
                    <a:pt x="18021" y="226"/>
                  </a:cubicBezTo>
                  <a:cubicBezTo>
                    <a:pt x="10159" y="3562"/>
                    <a:pt x="3583" y="9820"/>
                    <a:pt x="152" y="18220"/>
                  </a:cubicBezTo>
                  <a:lnTo>
                    <a:pt x="148" y="18220"/>
                  </a:lnTo>
                  <a:cubicBezTo>
                    <a:pt x="-278" y="19278"/>
                    <a:pt x="242" y="20473"/>
                    <a:pt x="1320" y="20896"/>
                  </a:cubicBezTo>
                  <a:cubicBezTo>
                    <a:pt x="2398" y="21318"/>
                    <a:pt x="3620" y="20803"/>
                    <a:pt x="4046" y="19749"/>
                  </a:cubicBezTo>
                  <a:lnTo>
                    <a:pt x="4051" y="19749"/>
                  </a:lnTo>
                  <a:cubicBezTo>
                    <a:pt x="7068" y="12356"/>
                    <a:pt x="12856" y="6858"/>
                    <a:pt x="19764" y="3956"/>
                  </a:cubicBezTo>
                  <a:cubicBezTo>
                    <a:pt x="20830" y="3506"/>
                    <a:pt x="21322" y="2298"/>
                    <a:pt x="20871" y="1248"/>
                  </a:cubicBezTo>
                </a:path>
              </a:pathLst>
            </a:custGeom>
            <a:grpFill/>
            <a:ln>
              <a:noFill/>
            </a:ln>
            <a:effectLst/>
          </p:spPr>
          <p:txBody>
            <a:bodyPr lIns="20091" tIns="20091" rIns="20091" bIns="20091" anchor="ctr"/>
            <a:lstStyle/>
            <a:p>
              <a:pPr algn="ctr" defTabSz="168275"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4" name="AutoShape 14"/>
            <p:cNvSpPr/>
            <p:nvPr/>
          </p:nvSpPr>
          <p:spPr bwMode="auto">
            <a:xfrm>
              <a:off x="9217819" y="4508500"/>
              <a:ext cx="103981" cy="105569"/>
            </a:xfrm>
            <a:custGeom>
              <a:avLst/>
              <a:gdLst>
                <a:gd name="T0" fmla="+- 0 10797 198"/>
                <a:gd name="T1" fmla="*/ T0 w 21199"/>
                <a:gd name="T2" fmla="+- 0 10802 198"/>
                <a:gd name="T3" fmla="*/ 10802 h 21208"/>
                <a:gd name="T4" fmla="+- 0 10797 198"/>
                <a:gd name="T5" fmla="*/ T4 w 21199"/>
                <a:gd name="T6" fmla="+- 0 10802 198"/>
                <a:gd name="T7" fmla="*/ 10802 h 21208"/>
                <a:gd name="T8" fmla="+- 0 10797 198"/>
                <a:gd name="T9" fmla="*/ T8 w 21199"/>
                <a:gd name="T10" fmla="+- 0 10802 198"/>
                <a:gd name="T11" fmla="*/ 10802 h 21208"/>
                <a:gd name="T12" fmla="+- 0 10797 198"/>
                <a:gd name="T13" fmla="*/ T12 w 21199"/>
                <a:gd name="T14" fmla="+- 0 10802 198"/>
                <a:gd name="T15" fmla="*/ 10802 h 21208"/>
              </a:gdLst>
              <a:ahLst/>
              <a:cxnLst>
                <a:cxn ang="0">
                  <a:pos x="T1" y="T3"/>
                </a:cxn>
                <a:cxn ang="0">
                  <a:pos x="T5" y="T7"/>
                </a:cxn>
                <a:cxn ang="0">
                  <a:pos x="T9" y="T11"/>
                </a:cxn>
                <a:cxn ang="0">
                  <a:pos x="T13" y="T15"/>
                </a:cxn>
              </a:cxnLst>
              <a:rect l="0" t="0" r="r" b="b"/>
              <a:pathLst>
                <a:path w="21199" h="21208">
                  <a:moveTo>
                    <a:pt x="21077" y="880"/>
                  </a:moveTo>
                  <a:cubicBezTo>
                    <a:pt x="20753" y="142"/>
                    <a:pt x="19881" y="-198"/>
                    <a:pt x="19129" y="117"/>
                  </a:cubicBezTo>
                  <a:cubicBezTo>
                    <a:pt x="19097" y="131"/>
                    <a:pt x="19071" y="162"/>
                    <a:pt x="19039" y="179"/>
                  </a:cubicBezTo>
                  <a:cubicBezTo>
                    <a:pt x="10706" y="3707"/>
                    <a:pt x="3739" y="10322"/>
                    <a:pt x="106" y="19208"/>
                  </a:cubicBezTo>
                  <a:cubicBezTo>
                    <a:pt x="-198" y="19957"/>
                    <a:pt x="172" y="20803"/>
                    <a:pt x="934" y="21101"/>
                  </a:cubicBezTo>
                  <a:cubicBezTo>
                    <a:pt x="1689" y="21401"/>
                    <a:pt x="2552" y="21041"/>
                    <a:pt x="2859" y="20292"/>
                  </a:cubicBezTo>
                  <a:cubicBezTo>
                    <a:pt x="6206" y="12096"/>
                    <a:pt x="12625" y="6008"/>
                    <a:pt x="20301" y="2787"/>
                  </a:cubicBezTo>
                  <a:cubicBezTo>
                    <a:pt x="21051" y="2469"/>
                    <a:pt x="21402" y="1618"/>
                    <a:pt x="21077" y="880"/>
                  </a:cubicBezTo>
                </a:path>
              </a:pathLst>
            </a:custGeom>
            <a:grpFill/>
            <a:ln>
              <a:noFill/>
            </a:ln>
            <a:effectLst/>
          </p:spPr>
          <p:txBody>
            <a:bodyPr lIns="20091" tIns="20091" rIns="20091" bIns="20091" anchor="ctr"/>
            <a:lstStyle/>
            <a:p>
              <a:pPr algn="ctr" defTabSz="168275"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5" name="AutoShape 15"/>
            <p:cNvSpPr/>
            <p:nvPr/>
          </p:nvSpPr>
          <p:spPr bwMode="auto">
            <a:xfrm>
              <a:off x="9247188" y="4537075"/>
              <a:ext cx="88107" cy="90488"/>
            </a:xfrm>
            <a:custGeom>
              <a:avLst/>
              <a:gdLst>
                <a:gd name="T0" fmla="+- 0 10796 232"/>
                <a:gd name="T1" fmla="*/ T0 w 21129"/>
                <a:gd name="T2" fmla="+- 0 10804 234"/>
                <a:gd name="T3" fmla="*/ 10804 h 21141"/>
                <a:gd name="T4" fmla="+- 0 10796 232"/>
                <a:gd name="T5" fmla="*/ T4 w 21129"/>
                <a:gd name="T6" fmla="+- 0 10804 234"/>
                <a:gd name="T7" fmla="*/ 10804 h 21141"/>
                <a:gd name="T8" fmla="+- 0 10796 232"/>
                <a:gd name="T9" fmla="*/ T8 w 21129"/>
                <a:gd name="T10" fmla="+- 0 10804 234"/>
                <a:gd name="T11" fmla="*/ 10804 h 21141"/>
                <a:gd name="T12" fmla="+- 0 10796 232"/>
                <a:gd name="T13" fmla="*/ T12 w 21129"/>
                <a:gd name="T14" fmla="+- 0 10804 234"/>
                <a:gd name="T15" fmla="*/ 10804 h 21141"/>
              </a:gdLst>
              <a:ahLst/>
              <a:cxnLst>
                <a:cxn ang="0">
                  <a:pos x="T1" y="T3"/>
                </a:cxn>
                <a:cxn ang="0">
                  <a:pos x="T5" y="T7"/>
                </a:cxn>
                <a:cxn ang="0">
                  <a:pos x="T9" y="T11"/>
                </a:cxn>
                <a:cxn ang="0">
                  <a:pos x="T13" y="T15"/>
                </a:cxn>
              </a:cxnLst>
              <a:rect l="0" t="0" r="r" b="b"/>
              <a:pathLst>
                <a:path w="21129" h="21141">
                  <a:moveTo>
                    <a:pt x="20075" y="3267"/>
                  </a:moveTo>
                  <a:cubicBezTo>
                    <a:pt x="20953" y="2898"/>
                    <a:pt x="21368" y="1899"/>
                    <a:pt x="20987" y="1030"/>
                  </a:cubicBezTo>
                  <a:cubicBezTo>
                    <a:pt x="20611" y="168"/>
                    <a:pt x="19589" y="-234"/>
                    <a:pt x="18707" y="138"/>
                  </a:cubicBezTo>
                  <a:cubicBezTo>
                    <a:pt x="18670" y="152"/>
                    <a:pt x="18649" y="185"/>
                    <a:pt x="18615" y="198"/>
                  </a:cubicBezTo>
                  <a:cubicBezTo>
                    <a:pt x="10481" y="3647"/>
                    <a:pt x="3673" y="10118"/>
                    <a:pt x="124" y="18802"/>
                  </a:cubicBezTo>
                  <a:cubicBezTo>
                    <a:pt x="-232" y="19678"/>
                    <a:pt x="205" y="20666"/>
                    <a:pt x="1094" y="21019"/>
                  </a:cubicBezTo>
                  <a:cubicBezTo>
                    <a:pt x="1983" y="21366"/>
                    <a:pt x="2991" y="20946"/>
                    <a:pt x="3354" y="20071"/>
                  </a:cubicBezTo>
                  <a:cubicBezTo>
                    <a:pt x="6561" y="12205"/>
                    <a:pt x="12717" y="6360"/>
                    <a:pt x="20075" y="3274"/>
                  </a:cubicBezTo>
                  <a:cubicBezTo>
                    <a:pt x="20075" y="3274"/>
                    <a:pt x="20075" y="3267"/>
                    <a:pt x="20075" y="3267"/>
                  </a:cubicBezTo>
                  <a:close/>
                </a:path>
              </a:pathLst>
            </a:custGeom>
            <a:grpFill/>
            <a:ln>
              <a:noFill/>
            </a:ln>
            <a:effectLst/>
          </p:spPr>
          <p:txBody>
            <a:bodyPr lIns="20091" tIns="20091" rIns="20091" bIns="20091" anchor="ctr"/>
            <a:lstStyle/>
            <a:p>
              <a:pPr algn="ctr" defTabSz="168275"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46" name="Group 30"/>
          <p:cNvGrpSpPr/>
          <p:nvPr/>
        </p:nvGrpSpPr>
        <p:grpSpPr>
          <a:xfrm>
            <a:off x="5952324" y="2428135"/>
            <a:ext cx="342798" cy="341271"/>
            <a:chOff x="7287419" y="2577307"/>
            <a:chExt cx="464344" cy="464344"/>
          </a:xfrm>
          <a:solidFill>
            <a:srgbClr val="00AEEF"/>
          </a:solidFill>
        </p:grpSpPr>
        <p:sp>
          <p:nvSpPr>
            <p:cNvPr id="47" name="AutoShape 56"/>
            <p:cNvSpPr/>
            <p:nvPr/>
          </p:nvSpPr>
          <p:spPr bwMode="auto">
            <a:xfrm>
              <a:off x="7287419" y="2577307"/>
              <a:ext cx="145256"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88" y="7316"/>
                  </a:moveTo>
                  <a:cubicBezTo>
                    <a:pt x="16954" y="7352"/>
                    <a:pt x="16923" y="7387"/>
                    <a:pt x="16883" y="7423"/>
                  </a:cubicBezTo>
                  <a:cubicBezTo>
                    <a:pt x="16677" y="7601"/>
                    <a:pt x="16414" y="7770"/>
                    <a:pt x="16066" y="7920"/>
                  </a:cubicBezTo>
                  <a:cubicBezTo>
                    <a:pt x="16057" y="7924"/>
                    <a:pt x="16044" y="7927"/>
                    <a:pt x="16038" y="7931"/>
                  </a:cubicBezTo>
                  <a:cubicBezTo>
                    <a:pt x="15662" y="8092"/>
                    <a:pt x="15214" y="8234"/>
                    <a:pt x="14705" y="8354"/>
                  </a:cubicBezTo>
                  <a:cubicBezTo>
                    <a:pt x="14697" y="8357"/>
                    <a:pt x="14692" y="8358"/>
                    <a:pt x="14686" y="8359"/>
                  </a:cubicBezTo>
                  <a:cubicBezTo>
                    <a:pt x="14163" y="8482"/>
                    <a:pt x="13584" y="8581"/>
                    <a:pt x="12960" y="8649"/>
                  </a:cubicBezTo>
                  <a:cubicBezTo>
                    <a:pt x="12279" y="8726"/>
                    <a:pt x="11560" y="8774"/>
                    <a:pt x="10800" y="8774"/>
                  </a:cubicBezTo>
                  <a:cubicBezTo>
                    <a:pt x="10037" y="8774"/>
                    <a:pt x="9318" y="8726"/>
                    <a:pt x="8640" y="8649"/>
                  </a:cubicBezTo>
                  <a:cubicBezTo>
                    <a:pt x="8016" y="8581"/>
                    <a:pt x="7435" y="8482"/>
                    <a:pt x="6914" y="8359"/>
                  </a:cubicBezTo>
                  <a:cubicBezTo>
                    <a:pt x="6908" y="8358"/>
                    <a:pt x="6901" y="8357"/>
                    <a:pt x="6893" y="8354"/>
                  </a:cubicBezTo>
                  <a:cubicBezTo>
                    <a:pt x="6385" y="8234"/>
                    <a:pt x="5937" y="8092"/>
                    <a:pt x="5562" y="7931"/>
                  </a:cubicBezTo>
                  <a:cubicBezTo>
                    <a:pt x="5553" y="7927"/>
                    <a:pt x="5541" y="7924"/>
                    <a:pt x="5531" y="7920"/>
                  </a:cubicBezTo>
                  <a:cubicBezTo>
                    <a:pt x="5184" y="7770"/>
                    <a:pt x="4921" y="7601"/>
                    <a:pt x="4715" y="7423"/>
                  </a:cubicBezTo>
                  <a:cubicBezTo>
                    <a:pt x="4676" y="7387"/>
                    <a:pt x="4644" y="7352"/>
                    <a:pt x="4612" y="7316"/>
                  </a:cubicBezTo>
                  <a:cubicBezTo>
                    <a:pt x="4437" y="7136"/>
                    <a:pt x="4320" y="6947"/>
                    <a:pt x="4320" y="6750"/>
                  </a:cubicBezTo>
                  <a:cubicBezTo>
                    <a:pt x="4320" y="6550"/>
                    <a:pt x="4437" y="6362"/>
                    <a:pt x="4612" y="6181"/>
                  </a:cubicBezTo>
                  <a:cubicBezTo>
                    <a:pt x="4644" y="6146"/>
                    <a:pt x="4676" y="6110"/>
                    <a:pt x="4715" y="6076"/>
                  </a:cubicBezTo>
                  <a:cubicBezTo>
                    <a:pt x="4921" y="5898"/>
                    <a:pt x="5184" y="5729"/>
                    <a:pt x="5531" y="5577"/>
                  </a:cubicBezTo>
                  <a:cubicBezTo>
                    <a:pt x="5541" y="5574"/>
                    <a:pt x="5553" y="5571"/>
                    <a:pt x="5562" y="5567"/>
                  </a:cubicBezTo>
                  <a:cubicBezTo>
                    <a:pt x="5937" y="5407"/>
                    <a:pt x="6385" y="5264"/>
                    <a:pt x="6893" y="5144"/>
                  </a:cubicBezTo>
                  <a:cubicBezTo>
                    <a:pt x="6901" y="5142"/>
                    <a:pt x="6908" y="5140"/>
                    <a:pt x="6914" y="5138"/>
                  </a:cubicBezTo>
                  <a:cubicBezTo>
                    <a:pt x="7435" y="5017"/>
                    <a:pt x="8016" y="4918"/>
                    <a:pt x="8640" y="4848"/>
                  </a:cubicBezTo>
                  <a:cubicBezTo>
                    <a:pt x="9318" y="4773"/>
                    <a:pt x="10037" y="4725"/>
                    <a:pt x="10800" y="4725"/>
                  </a:cubicBezTo>
                  <a:cubicBezTo>
                    <a:pt x="11560" y="4725"/>
                    <a:pt x="12279" y="4773"/>
                    <a:pt x="12960" y="4848"/>
                  </a:cubicBezTo>
                  <a:cubicBezTo>
                    <a:pt x="13584" y="4918"/>
                    <a:pt x="14163" y="5017"/>
                    <a:pt x="14686" y="5138"/>
                  </a:cubicBezTo>
                  <a:cubicBezTo>
                    <a:pt x="14692" y="5140"/>
                    <a:pt x="14697" y="5142"/>
                    <a:pt x="14705" y="5144"/>
                  </a:cubicBezTo>
                  <a:cubicBezTo>
                    <a:pt x="15214" y="5264"/>
                    <a:pt x="15662" y="5407"/>
                    <a:pt x="16038" y="5567"/>
                  </a:cubicBezTo>
                  <a:cubicBezTo>
                    <a:pt x="16044" y="5571"/>
                    <a:pt x="16057" y="5574"/>
                    <a:pt x="16066" y="5577"/>
                  </a:cubicBezTo>
                  <a:cubicBezTo>
                    <a:pt x="16414" y="5729"/>
                    <a:pt x="16677" y="5898"/>
                    <a:pt x="16883" y="6076"/>
                  </a:cubicBezTo>
                  <a:cubicBezTo>
                    <a:pt x="16923" y="6110"/>
                    <a:pt x="16954" y="6146"/>
                    <a:pt x="16988" y="6181"/>
                  </a:cubicBezTo>
                  <a:cubicBezTo>
                    <a:pt x="17161" y="6362"/>
                    <a:pt x="17280" y="6550"/>
                    <a:pt x="17280" y="6750"/>
                  </a:cubicBezTo>
                  <a:cubicBezTo>
                    <a:pt x="17280" y="6947"/>
                    <a:pt x="17161" y="7136"/>
                    <a:pt x="16988" y="7316"/>
                  </a:cubicBezTo>
                  <a:moveTo>
                    <a:pt x="12960" y="19575"/>
                  </a:moveTo>
                  <a:cubicBezTo>
                    <a:pt x="12960" y="19948"/>
                    <a:pt x="11992" y="20249"/>
                    <a:pt x="10800" y="20249"/>
                  </a:cubicBezTo>
                  <a:cubicBezTo>
                    <a:pt x="9606" y="20249"/>
                    <a:pt x="8640" y="19948"/>
                    <a:pt x="8640" y="19575"/>
                  </a:cubicBezTo>
                  <a:lnTo>
                    <a:pt x="8640" y="10056"/>
                  </a:lnTo>
                  <a:cubicBezTo>
                    <a:pt x="9338" y="10101"/>
                    <a:pt x="10059" y="10124"/>
                    <a:pt x="10800" y="10124"/>
                  </a:cubicBezTo>
                  <a:cubicBezTo>
                    <a:pt x="11541" y="10124"/>
                    <a:pt x="12262" y="10101"/>
                    <a:pt x="12960" y="10056"/>
                  </a:cubicBezTo>
                  <a:cubicBezTo>
                    <a:pt x="12960" y="10056"/>
                    <a:pt x="12960" y="19575"/>
                    <a:pt x="12960" y="19575"/>
                  </a:cubicBezTo>
                  <a:close/>
                  <a:moveTo>
                    <a:pt x="8640" y="2025"/>
                  </a:moveTo>
                  <a:cubicBezTo>
                    <a:pt x="8640" y="1651"/>
                    <a:pt x="9606" y="1350"/>
                    <a:pt x="10800" y="1350"/>
                  </a:cubicBezTo>
                  <a:cubicBezTo>
                    <a:pt x="11992" y="1350"/>
                    <a:pt x="12960" y="1651"/>
                    <a:pt x="12960" y="2025"/>
                  </a:cubicBezTo>
                  <a:lnTo>
                    <a:pt x="12960" y="3442"/>
                  </a:lnTo>
                  <a:cubicBezTo>
                    <a:pt x="12262" y="3398"/>
                    <a:pt x="11541" y="3375"/>
                    <a:pt x="10800" y="3375"/>
                  </a:cubicBezTo>
                  <a:cubicBezTo>
                    <a:pt x="10059" y="3375"/>
                    <a:pt x="9338" y="3398"/>
                    <a:pt x="8640" y="3442"/>
                  </a:cubicBezTo>
                  <a:cubicBezTo>
                    <a:pt x="8640" y="3442"/>
                    <a:pt x="8640" y="2025"/>
                    <a:pt x="8640" y="2025"/>
                  </a:cubicBezTo>
                  <a:close/>
                  <a:moveTo>
                    <a:pt x="17280" y="4064"/>
                  </a:moveTo>
                  <a:lnTo>
                    <a:pt x="17280" y="2025"/>
                  </a:lnTo>
                  <a:cubicBezTo>
                    <a:pt x="17280" y="908"/>
                    <a:pt x="14373" y="0"/>
                    <a:pt x="10800" y="0"/>
                  </a:cubicBezTo>
                  <a:cubicBezTo>
                    <a:pt x="7225" y="0"/>
                    <a:pt x="4320" y="908"/>
                    <a:pt x="4320" y="2025"/>
                  </a:cubicBezTo>
                  <a:lnTo>
                    <a:pt x="4320" y="4064"/>
                  </a:lnTo>
                  <a:cubicBezTo>
                    <a:pt x="1710" y="4681"/>
                    <a:pt x="0" y="5649"/>
                    <a:pt x="0" y="6750"/>
                  </a:cubicBezTo>
                  <a:cubicBezTo>
                    <a:pt x="0" y="7850"/>
                    <a:pt x="1710" y="8818"/>
                    <a:pt x="4320" y="9434"/>
                  </a:cubicBezTo>
                  <a:lnTo>
                    <a:pt x="4320" y="19575"/>
                  </a:lnTo>
                  <a:cubicBezTo>
                    <a:pt x="4320" y="20691"/>
                    <a:pt x="7225" y="21599"/>
                    <a:pt x="10800" y="21599"/>
                  </a:cubicBezTo>
                  <a:cubicBezTo>
                    <a:pt x="14373" y="21599"/>
                    <a:pt x="17280" y="20691"/>
                    <a:pt x="17280" y="19575"/>
                  </a:cubicBezTo>
                  <a:lnTo>
                    <a:pt x="17280" y="9434"/>
                  </a:lnTo>
                  <a:cubicBezTo>
                    <a:pt x="19889" y="8818"/>
                    <a:pt x="21600" y="7850"/>
                    <a:pt x="21600" y="6750"/>
                  </a:cubicBezTo>
                  <a:cubicBezTo>
                    <a:pt x="21600" y="5649"/>
                    <a:pt x="19889" y="4681"/>
                    <a:pt x="17280" y="4064"/>
                  </a:cubicBezTo>
                </a:path>
              </a:pathLst>
            </a:custGeom>
            <a:grpFill/>
            <a:ln>
              <a:noFill/>
            </a:ln>
            <a:effectLst/>
          </p:spPr>
          <p:txBody>
            <a:bodyPr lIns="20091" tIns="20091" rIns="20091" bIns="20091" anchor="ctr"/>
            <a:lstStyle/>
            <a:p>
              <a:pPr algn="ctr" defTabSz="168275"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48" name="AutoShape 57"/>
            <p:cNvSpPr/>
            <p:nvPr/>
          </p:nvSpPr>
          <p:spPr bwMode="auto">
            <a:xfrm>
              <a:off x="7606507" y="2577307"/>
              <a:ext cx="145256"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88" y="7316"/>
                  </a:moveTo>
                  <a:cubicBezTo>
                    <a:pt x="16954" y="7352"/>
                    <a:pt x="16923" y="7387"/>
                    <a:pt x="16883" y="7423"/>
                  </a:cubicBezTo>
                  <a:cubicBezTo>
                    <a:pt x="16677" y="7601"/>
                    <a:pt x="16414" y="7770"/>
                    <a:pt x="16066" y="7920"/>
                  </a:cubicBezTo>
                  <a:cubicBezTo>
                    <a:pt x="16057" y="7924"/>
                    <a:pt x="16044" y="7927"/>
                    <a:pt x="16038" y="7931"/>
                  </a:cubicBezTo>
                  <a:cubicBezTo>
                    <a:pt x="15662" y="8092"/>
                    <a:pt x="15214" y="8234"/>
                    <a:pt x="14705" y="8354"/>
                  </a:cubicBezTo>
                  <a:cubicBezTo>
                    <a:pt x="14697" y="8357"/>
                    <a:pt x="14692" y="8358"/>
                    <a:pt x="14686" y="8359"/>
                  </a:cubicBezTo>
                  <a:cubicBezTo>
                    <a:pt x="14163" y="8482"/>
                    <a:pt x="13584" y="8581"/>
                    <a:pt x="12960" y="8649"/>
                  </a:cubicBezTo>
                  <a:cubicBezTo>
                    <a:pt x="12279" y="8726"/>
                    <a:pt x="11560" y="8774"/>
                    <a:pt x="10800" y="8774"/>
                  </a:cubicBezTo>
                  <a:cubicBezTo>
                    <a:pt x="10037" y="8774"/>
                    <a:pt x="9318" y="8726"/>
                    <a:pt x="8640" y="8649"/>
                  </a:cubicBezTo>
                  <a:cubicBezTo>
                    <a:pt x="8016" y="8581"/>
                    <a:pt x="7435" y="8482"/>
                    <a:pt x="6914" y="8359"/>
                  </a:cubicBezTo>
                  <a:cubicBezTo>
                    <a:pt x="6908" y="8358"/>
                    <a:pt x="6901" y="8357"/>
                    <a:pt x="6893" y="8354"/>
                  </a:cubicBezTo>
                  <a:cubicBezTo>
                    <a:pt x="6385" y="8234"/>
                    <a:pt x="5937" y="8092"/>
                    <a:pt x="5562" y="7931"/>
                  </a:cubicBezTo>
                  <a:cubicBezTo>
                    <a:pt x="5553" y="7927"/>
                    <a:pt x="5541" y="7924"/>
                    <a:pt x="5531" y="7920"/>
                  </a:cubicBezTo>
                  <a:cubicBezTo>
                    <a:pt x="5184" y="7770"/>
                    <a:pt x="4921" y="7601"/>
                    <a:pt x="4715" y="7423"/>
                  </a:cubicBezTo>
                  <a:cubicBezTo>
                    <a:pt x="4676" y="7387"/>
                    <a:pt x="4644" y="7352"/>
                    <a:pt x="4612" y="7316"/>
                  </a:cubicBezTo>
                  <a:cubicBezTo>
                    <a:pt x="4437" y="7136"/>
                    <a:pt x="4320" y="6947"/>
                    <a:pt x="4320" y="6750"/>
                  </a:cubicBezTo>
                  <a:cubicBezTo>
                    <a:pt x="4320" y="6550"/>
                    <a:pt x="4437" y="6362"/>
                    <a:pt x="4612" y="6181"/>
                  </a:cubicBezTo>
                  <a:cubicBezTo>
                    <a:pt x="4644" y="6146"/>
                    <a:pt x="4676" y="6110"/>
                    <a:pt x="4715" y="6076"/>
                  </a:cubicBezTo>
                  <a:cubicBezTo>
                    <a:pt x="4921" y="5898"/>
                    <a:pt x="5184" y="5729"/>
                    <a:pt x="5531" y="5577"/>
                  </a:cubicBezTo>
                  <a:cubicBezTo>
                    <a:pt x="5541" y="5574"/>
                    <a:pt x="5553" y="5571"/>
                    <a:pt x="5562" y="5567"/>
                  </a:cubicBezTo>
                  <a:cubicBezTo>
                    <a:pt x="5937" y="5407"/>
                    <a:pt x="6385" y="5264"/>
                    <a:pt x="6893" y="5144"/>
                  </a:cubicBezTo>
                  <a:cubicBezTo>
                    <a:pt x="6901" y="5142"/>
                    <a:pt x="6908" y="5140"/>
                    <a:pt x="6914" y="5138"/>
                  </a:cubicBezTo>
                  <a:cubicBezTo>
                    <a:pt x="7435" y="5017"/>
                    <a:pt x="8016" y="4918"/>
                    <a:pt x="8640" y="4848"/>
                  </a:cubicBezTo>
                  <a:cubicBezTo>
                    <a:pt x="9318" y="4773"/>
                    <a:pt x="10037" y="4725"/>
                    <a:pt x="10800" y="4725"/>
                  </a:cubicBezTo>
                  <a:cubicBezTo>
                    <a:pt x="11560" y="4725"/>
                    <a:pt x="12279" y="4773"/>
                    <a:pt x="12960" y="4848"/>
                  </a:cubicBezTo>
                  <a:cubicBezTo>
                    <a:pt x="13584" y="4918"/>
                    <a:pt x="14163" y="5017"/>
                    <a:pt x="14686" y="5138"/>
                  </a:cubicBezTo>
                  <a:cubicBezTo>
                    <a:pt x="14692" y="5140"/>
                    <a:pt x="14697" y="5142"/>
                    <a:pt x="14705" y="5144"/>
                  </a:cubicBezTo>
                  <a:cubicBezTo>
                    <a:pt x="15214" y="5264"/>
                    <a:pt x="15662" y="5407"/>
                    <a:pt x="16038" y="5567"/>
                  </a:cubicBezTo>
                  <a:cubicBezTo>
                    <a:pt x="16044" y="5571"/>
                    <a:pt x="16057" y="5574"/>
                    <a:pt x="16066" y="5577"/>
                  </a:cubicBezTo>
                  <a:cubicBezTo>
                    <a:pt x="16414" y="5729"/>
                    <a:pt x="16677" y="5898"/>
                    <a:pt x="16883" y="6076"/>
                  </a:cubicBezTo>
                  <a:cubicBezTo>
                    <a:pt x="16923" y="6110"/>
                    <a:pt x="16954" y="6146"/>
                    <a:pt x="16988" y="6181"/>
                  </a:cubicBezTo>
                  <a:cubicBezTo>
                    <a:pt x="17161" y="6362"/>
                    <a:pt x="17280" y="6550"/>
                    <a:pt x="17280" y="6750"/>
                  </a:cubicBezTo>
                  <a:cubicBezTo>
                    <a:pt x="17280" y="6947"/>
                    <a:pt x="17161" y="7136"/>
                    <a:pt x="16988" y="7316"/>
                  </a:cubicBezTo>
                  <a:moveTo>
                    <a:pt x="12960" y="19575"/>
                  </a:moveTo>
                  <a:cubicBezTo>
                    <a:pt x="12960" y="19948"/>
                    <a:pt x="11992" y="20249"/>
                    <a:pt x="10800" y="20249"/>
                  </a:cubicBezTo>
                  <a:cubicBezTo>
                    <a:pt x="9606" y="20249"/>
                    <a:pt x="8640" y="19948"/>
                    <a:pt x="8640" y="19575"/>
                  </a:cubicBezTo>
                  <a:lnTo>
                    <a:pt x="8640" y="10056"/>
                  </a:lnTo>
                  <a:cubicBezTo>
                    <a:pt x="9338" y="10101"/>
                    <a:pt x="10059" y="10124"/>
                    <a:pt x="10800" y="10124"/>
                  </a:cubicBezTo>
                  <a:cubicBezTo>
                    <a:pt x="11541" y="10124"/>
                    <a:pt x="12262" y="10101"/>
                    <a:pt x="12960" y="10056"/>
                  </a:cubicBezTo>
                  <a:cubicBezTo>
                    <a:pt x="12960" y="10056"/>
                    <a:pt x="12960" y="19575"/>
                    <a:pt x="12960" y="19575"/>
                  </a:cubicBezTo>
                  <a:close/>
                  <a:moveTo>
                    <a:pt x="8640" y="2025"/>
                  </a:moveTo>
                  <a:cubicBezTo>
                    <a:pt x="8640" y="1651"/>
                    <a:pt x="9606" y="1350"/>
                    <a:pt x="10800" y="1350"/>
                  </a:cubicBezTo>
                  <a:cubicBezTo>
                    <a:pt x="11992" y="1350"/>
                    <a:pt x="12960" y="1651"/>
                    <a:pt x="12960" y="2025"/>
                  </a:cubicBezTo>
                  <a:lnTo>
                    <a:pt x="12960" y="3442"/>
                  </a:lnTo>
                  <a:cubicBezTo>
                    <a:pt x="12262" y="3398"/>
                    <a:pt x="11541" y="3375"/>
                    <a:pt x="10800" y="3375"/>
                  </a:cubicBezTo>
                  <a:cubicBezTo>
                    <a:pt x="10059" y="3375"/>
                    <a:pt x="9338" y="3398"/>
                    <a:pt x="8640" y="3442"/>
                  </a:cubicBezTo>
                  <a:cubicBezTo>
                    <a:pt x="8640" y="3442"/>
                    <a:pt x="8640" y="2025"/>
                    <a:pt x="8640" y="2025"/>
                  </a:cubicBezTo>
                  <a:close/>
                  <a:moveTo>
                    <a:pt x="17280" y="4064"/>
                  </a:moveTo>
                  <a:lnTo>
                    <a:pt x="17280" y="2025"/>
                  </a:lnTo>
                  <a:cubicBezTo>
                    <a:pt x="17280" y="908"/>
                    <a:pt x="14373" y="0"/>
                    <a:pt x="10800" y="0"/>
                  </a:cubicBezTo>
                  <a:cubicBezTo>
                    <a:pt x="7225" y="0"/>
                    <a:pt x="4320" y="908"/>
                    <a:pt x="4320" y="2025"/>
                  </a:cubicBezTo>
                  <a:lnTo>
                    <a:pt x="4320" y="4064"/>
                  </a:lnTo>
                  <a:cubicBezTo>
                    <a:pt x="1710" y="4681"/>
                    <a:pt x="0" y="5649"/>
                    <a:pt x="0" y="6750"/>
                  </a:cubicBezTo>
                  <a:cubicBezTo>
                    <a:pt x="0" y="7850"/>
                    <a:pt x="1710" y="8818"/>
                    <a:pt x="4320" y="9434"/>
                  </a:cubicBezTo>
                  <a:lnTo>
                    <a:pt x="4320" y="19575"/>
                  </a:lnTo>
                  <a:cubicBezTo>
                    <a:pt x="4320" y="20691"/>
                    <a:pt x="7225" y="21599"/>
                    <a:pt x="10800" y="21599"/>
                  </a:cubicBezTo>
                  <a:cubicBezTo>
                    <a:pt x="14373" y="21599"/>
                    <a:pt x="17280" y="20691"/>
                    <a:pt x="17280" y="19575"/>
                  </a:cubicBezTo>
                  <a:lnTo>
                    <a:pt x="17280" y="9434"/>
                  </a:lnTo>
                  <a:cubicBezTo>
                    <a:pt x="19889" y="8818"/>
                    <a:pt x="21600" y="7850"/>
                    <a:pt x="21600" y="6750"/>
                  </a:cubicBezTo>
                  <a:cubicBezTo>
                    <a:pt x="21600" y="5649"/>
                    <a:pt x="19889" y="4681"/>
                    <a:pt x="17280" y="4064"/>
                  </a:cubicBezTo>
                </a:path>
              </a:pathLst>
            </a:custGeom>
            <a:grpFill/>
            <a:ln>
              <a:noFill/>
            </a:ln>
            <a:effectLst/>
          </p:spPr>
          <p:txBody>
            <a:bodyPr lIns="20091" tIns="20091" rIns="20091" bIns="20091" anchor="ctr"/>
            <a:lstStyle/>
            <a:p>
              <a:pPr algn="ctr" defTabSz="168275"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49" name="AutoShape 58"/>
            <p:cNvSpPr/>
            <p:nvPr/>
          </p:nvSpPr>
          <p:spPr bwMode="auto">
            <a:xfrm>
              <a:off x="7446963" y="2577307"/>
              <a:ext cx="145257"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88" y="15416"/>
                  </a:moveTo>
                  <a:cubicBezTo>
                    <a:pt x="16954" y="15452"/>
                    <a:pt x="16923" y="15487"/>
                    <a:pt x="16883" y="15523"/>
                  </a:cubicBezTo>
                  <a:cubicBezTo>
                    <a:pt x="16677" y="15701"/>
                    <a:pt x="16414" y="15870"/>
                    <a:pt x="16066" y="16020"/>
                  </a:cubicBezTo>
                  <a:cubicBezTo>
                    <a:pt x="16057" y="16024"/>
                    <a:pt x="16044" y="16027"/>
                    <a:pt x="16038" y="16031"/>
                  </a:cubicBezTo>
                  <a:cubicBezTo>
                    <a:pt x="15662" y="16192"/>
                    <a:pt x="15214" y="16334"/>
                    <a:pt x="14705" y="16454"/>
                  </a:cubicBezTo>
                  <a:cubicBezTo>
                    <a:pt x="14697" y="16457"/>
                    <a:pt x="14692" y="16458"/>
                    <a:pt x="14686" y="16459"/>
                  </a:cubicBezTo>
                  <a:cubicBezTo>
                    <a:pt x="14163" y="16582"/>
                    <a:pt x="13584" y="16681"/>
                    <a:pt x="12960" y="16749"/>
                  </a:cubicBezTo>
                  <a:cubicBezTo>
                    <a:pt x="12279" y="16826"/>
                    <a:pt x="11560" y="16875"/>
                    <a:pt x="10800" y="16875"/>
                  </a:cubicBezTo>
                  <a:cubicBezTo>
                    <a:pt x="10037" y="16875"/>
                    <a:pt x="9318" y="16826"/>
                    <a:pt x="8640" y="16749"/>
                  </a:cubicBezTo>
                  <a:cubicBezTo>
                    <a:pt x="8016" y="16681"/>
                    <a:pt x="7435" y="16582"/>
                    <a:pt x="6914" y="16459"/>
                  </a:cubicBezTo>
                  <a:cubicBezTo>
                    <a:pt x="6908" y="16458"/>
                    <a:pt x="6901" y="16457"/>
                    <a:pt x="6893" y="16454"/>
                  </a:cubicBezTo>
                  <a:cubicBezTo>
                    <a:pt x="6385" y="16334"/>
                    <a:pt x="5937" y="16192"/>
                    <a:pt x="5562" y="16031"/>
                  </a:cubicBezTo>
                  <a:cubicBezTo>
                    <a:pt x="5553" y="16027"/>
                    <a:pt x="5541" y="16024"/>
                    <a:pt x="5531" y="16020"/>
                  </a:cubicBezTo>
                  <a:cubicBezTo>
                    <a:pt x="5184" y="15870"/>
                    <a:pt x="4921" y="15701"/>
                    <a:pt x="4715" y="15523"/>
                  </a:cubicBezTo>
                  <a:cubicBezTo>
                    <a:pt x="4676" y="15487"/>
                    <a:pt x="4644" y="15452"/>
                    <a:pt x="4612" y="15416"/>
                  </a:cubicBezTo>
                  <a:cubicBezTo>
                    <a:pt x="4437" y="15236"/>
                    <a:pt x="4320" y="15047"/>
                    <a:pt x="4320" y="14850"/>
                  </a:cubicBezTo>
                  <a:cubicBezTo>
                    <a:pt x="4320" y="14650"/>
                    <a:pt x="4437" y="14462"/>
                    <a:pt x="4612" y="14281"/>
                  </a:cubicBezTo>
                  <a:cubicBezTo>
                    <a:pt x="4644" y="14246"/>
                    <a:pt x="4676" y="14210"/>
                    <a:pt x="4715" y="14176"/>
                  </a:cubicBezTo>
                  <a:cubicBezTo>
                    <a:pt x="4921" y="13998"/>
                    <a:pt x="5184" y="13829"/>
                    <a:pt x="5531" y="13677"/>
                  </a:cubicBezTo>
                  <a:cubicBezTo>
                    <a:pt x="5541" y="13674"/>
                    <a:pt x="5553" y="13671"/>
                    <a:pt x="5562" y="13667"/>
                  </a:cubicBezTo>
                  <a:cubicBezTo>
                    <a:pt x="5937" y="13507"/>
                    <a:pt x="6385" y="13364"/>
                    <a:pt x="6893" y="13244"/>
                  </a:cubicBezTo>
                  <a:cubicBezTo>
                    <a:pt x="6901" y="13242"/>
                    <a:pt x="6908" y="13240"/>
                    <a:pt x="6914" y="13238"/>
                  </a:cubicBezTo>
                  <a:cubicBezTo>
                    <a:pt x="7435" y="13117"/>
                    <a:pt x="8016" y="13018"/>
                    <a:pt x="8640" y="12948"/>
                  </a:cubicBezTo>
                  <a:cubicBezTo>
                    <a:pt x="9318" y="12873"/>
                    <a:pt x="10037" y="12825"/>
                    <a:pt x="10800" y="12825"/>
                  </a:cubicBezTo>
                  <a:cubicBezTo>
                    <a:pt x="11560" y="12825"/>
                    <a:pt x="12279" y="12873"/>
                    <a:pt x="12960" y="12948"/>
                  </a:cubicBezTo>
                  <a:cubicBezTo>
                    <a:pt x="13584" y="13018"/>
                    <a:pt x="14163" y="13117"/>
                    <a:pt x="14686" y="13238"/>
                  </a:cubicBezTo>
                  <a:cubicBezTo>
                    <a:pt x="14692" y="13240"/>
                    <a:pt x="14697" y="13242"/>
                    <a:pt x="14705" y="13244"/>
                  </a:cubicBezTo>
                  <a:cubicBezTo>
                    <a:pt x="15214" y="13364"/>
                    <a:pt x="15662" y="13507"/>
                    <a:pt x="16038" y="13667"/>
                  </a:cubicBezTo>
                  <a:cubicBezTo>
                    <a:pt x="16044" y="13671"/>
                    <a:pt x="16057" y="13674"/>
                    <a:pt x="16066" y="13677"/>
                  </a:cubicBezTo>
                  <a:cubicBezTo>
                    <a:pt x="16414" y="13829"/>
                    <a:pt x="16677" y="13998"/>
                    <a:pt x="16883" y="14176"/>
                  </a:cubicBezTo>
                  <a:cubicBezTo>
                    <a:pt x="16923" y="14210"/>
                    <a:pt x="16954" y="14246"/>
                    <a:pt x="16988" y="14281"/>
                  </a:cubicBezTo>
                  <a:cubicBezTo>
                    <a:pt x="17161" y="14462"/>
                    <a:pt x="17280" y="14650"/>
                    <a:pt x="17280" y="14850"/>
                  </a:cubicBezTo>
                  <a:cubicBezTo>
                    <a:pt x="17280" y="15047"/>
                    <a:pt x="17161" y="15236"/>
                    <a:pt x="16988" y="15416"/>
                  </a:cubicBezTo>
                  <a:moveTo>
                    <a:pt x="12960" y="19575"/>
                  </a:moveTo>
                  <a:cubicBezTo>
                    <a:pt x="12960" y="19948"/>
                    <a:pt x="11992" y="20249"/>
                    <a:pt x="10800" y="20249"/>
                  </a:cubicBezTo>
                  <a:cubicBezTo>
                    <a:pt x="9606" y="20249"/>
                    <a:pt x="8640" y="19948"/>
                    <a:pt x="8640" y="19575"/>
                  </a:cubicBezTo>
                  <a:lnTo>
                    <a:pt x="8640" y="18156"/>
                  </a:lnTo>
                  <a:cubicBezTo>
                    <a:pt x="9338" y="18201"/>
                    <a:pt x="10059" y="18225"/>
                    <a:pt x="10800" y="18225"/>
                  </a:cubicBezTo>
                  <a:cubicBezTo>
                    <a:pt x="11541" y="18225"/>
                    <a:pt x="12262" y="18201"/>
                    <a:pt x="12960" y="18156"/>
                  </a:cubicBezTo>
                  <a:cubicBezTo>
                    <a:pt x="12960" y="18156"/>
                    <a:pt x="12960" y="19575"/>
                    <a:pt x="12960" y="19575"/>
                  </a:cubicBezTo>
                  <a:close/>
                  <a:moveTo>
                    <a:pt x="8640" y="2025"/>
                  </a:moveTo>
                  <a:cubicBezTo>
                    <a:pt x="8640" y="1651"/>
                    <a:pt x="9606" y="1350"/>
                    <a:pt x="10800" y="1350"/>
                  </a:cubicBezTo>
                  <a:cubicBezTo>
                    <a:pt x="11992" y="1350"/>
                    <a:pt x="12960" y="1651"/>
                    <a:pt x="12960" y="2025"/>
                  </a:cubicBezTo>
                  <a:lnTo>
                    <a:pt x="12960" y="11542"/>
                  </a:lnTo>
                  <a:cubicBezTo>
                    <a:pt x="12262" y="11498"/>
                    <a:pt x="11541" y="11475"/>
                    <a:pt x="10800" y="11475"/>
                  </a:cubicBezTo>
                  <a:cubicBezTo>
                    <a:pt x="10059" y="11475"/>
                    <a:pt x="9338" y="11498"/>
                    <a:pt x="8640" y="11542"/>
                  </a:cubicBezTo>
                  <a:cubicBezTo>
                    <a:pt x="8640" y="11542"/>
                    <a:pt x="8640" y="2025"/>
                    <a:pt x="8640" y="2025"/>
                  </a:cubicBezTo>
                  <a:close/>
                  <a:moveTo>
                    <a:pt x="17280" y="12164"/>
                  </a:moveTo>
                  <a:lnTo>
                    <a:pt x="17280" y="2025"/>
                  </a:lnTo>
                  <a:cubicBezTo>
                    <a:pt x="17280" y="908"/>
                    <a:pt x="14373" y="0"/>
                    <a:pt x="10800" y="0"/>
                  </a:cubicBezTo>
                  <a:cubicBezTo>
                    <a:pt x="7225" y="0"/>
                    <a:pt x="4320" y="908"/>
                    <a:pt x="4320" y="2025"/>
                  </a:cubicBezTo>
                  <a:lnTo>
                    <a:pt x="4320" y="12164"/>
                  </a:lnTo>
                  <a:cubicBezTo>
                    <a:pt x="1710" y="12781"/>
                    <a:pt x="0" y="13749"/>
                    <a:pt x="0" y="14850"/>
                  </a:cubicBezTo>
                  <a:cubicBezTo>
                    <a:pt x="0" y="15950"/>
                    <a:pt x="1710" y="16918"/>
                    <a:pt x="4320" y="17534"/>
                  </a:cubicBezTo>
                  <a:lnTo>
                    <a:pt x="4320" y="19575"/>
                  </a:lnTo>
                  <a:cubicBezTo>
                    <a:pt x="4320" y="20691"/>
                    <a:pt x="7225" y="21599"/>
                    <a:pt x="10800" y="21599"/>
                  </a:cubicBezTo>
                  <a:cubicBezTo>
                    <a:pt x="14373" y="21599"/>
                    <a:pt x="17280" y="20691"/>
                    <a:pt x="17280" y="19575"/>
                  </a:cubicBezTo>
                  <a:lnTo>
                    <a:pt x="17280" y="17534"/>
                  </a:lnTo>
                  <a:cubicBezTo>
                    <a:pt x="19889" y="16918"/>
                    <a:pt x="21600" y="15950"/>
                    <a:pt x="21600" y="14850"/>
                  </a:cubicBezTo>
                  <a:cubicBezTo>
                    <a:pt x="21600" y="13749"/>
                    <a:pt x="19889" y="12781"/>
                    <a:pt x="17280" y="12164"/>
                  </a:cubicBezTo>
                </a:path>
              </a:pathLst>
            </a:custGeom>
            <a:grpFill/>
            <a:ln>
              <a:noFill/>
            </a:ln>
            <a:effectLst/>
          </p:spPr>
          <p:txBody>
            <a:bodyPr lIns="20091" tIns="20091" rIns="20091" bIns="20091" anchor="ctr"/>
            <a:lstStyle/>
            <a:p>
              <a:pPr algn="ctr" defTabSz="168275"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grpSp>
      <p:sp>
        <p:nvSpPr>
          <p:cNvPr id="50" name="AutoShape 59"/>
          <p:cNvSpPr/>
          <p:nvPr/>
        </p:nvSpPr>
        <p:spPr bwMode="auto">
          <a:xfrm>
            <a:off x="2373630" y="3268017"/>
            <a:ext cx="343377" cy="341848"/>
          </a:xfrm>
          <a:custGeom>
            <a:avLst/>
            <a:gdLst>
              <a:gd name="T0" fmla="+- 0 10794 23"/>
              <a:gd name="T1" fmla="*/ T0 w 21543"/>
              <a:gd name="T2" fmla="*/ 10800 h 21600"/>
              <a:gd name="T3" fmla="+- 0 10794 23"/>
              <a:gd name="T4" fmla="*/ T3 w 21543"/>
              <a:gd name="T5" fmla="*/ 10800 h 21600"/>
              <a:gd name="T6" fmla="+- 0 10794 23"/>
              <a:gd name="T7" fmla="*/ T6 w 21543"/>
              <a:gd name="T8" fmla="*/ 10800 h 21600"/>
              <a:gd name="T9" fmla="+- 0 10794 23"/>
              <a:gd name="T10" fmla="*/ T9 w 21543"/>
              <a:gd name="T11" fmla="*/ 10800 h 21600"/>
            </a:gdLst>
            <a:ahLst/>
            <a:cxnLst>
              <a:cxn ang="0">
                <a:pos x="T1" y="T2"/>
              </a:cxn>
              <a:cxn ang="0">
                <a:pos x="T4" y="T5"/>
              </a:cxn>
              <a:cxn ang="0">
                <a:pos x="T7" y="T8"/>
              </a:cxn>
              <a:cxn ang="0">
                <a:pos x="T10" y="T11"/>
              </a:cxn>
            </a:cxnLst>
            <a:rect l="0" t="0" r="r" b="b"/>
            <a:pathLst>
              <a:path w="21543" h="21600">
                <a:moveTo>
                  <a:pt x="16976" y="19986"/>
                </a:moveTo>
                <a:lnTo>
                  <a:pt x="11226" y="17680"/>
                </a:lnTo>
                <a:cubicBezTo>
                  <a:pt x="11088" y="17626"/>
                  <a:pt x="10946" y="17608"/>
                  <a:pt x="10806" y="17600"/>
                </a:cubicBezTo>
                <a:lnTo>
                  <a:pt x="19660" y="3837"/>
                </a:lnTo>
                <a:cubicBezTo>
                  <a:pt x="19660" y="3837"/>
                  <a:pt x="16976" y="19986"/>
                  <a:pt x="16976" y="19986"/>
                </a:cubicBezTo>
                <a:close/>
                <a:moveTo>
                  <a:pt x="6859" y="16244"/>
                </a:moveTo>
                <a:cubicBezTo>
                  <a:pt x="6858" y="16242"/>
                  <a:pt x="6855" y="16240"/>
                  <a:pt x="6854" y="16238"/>
                </a:cubicBezTo>
                <a:lnTo>
                  <a:pt x="19606" y="2552"/>
                </a:lnTo>
                <a:lnTo>
                  <a:pt x="8735" y="19536"/>
                </a:lnTo>
                <a:cubicBezTo>
                  <a:pt x="8735" y="19536"/>
                  <a:pt x="6859" y="16244"/>
                  <a:pt x="6859" y="16244"/>
                </a:cubicBezTo>
                <a:close/>
                <a:moveTo>
                  <a:pt x="2111" y="14024"/>
                </a:moveTo>
                <a:lnTo>
                  <a:pt x="17712" y="3595"/>
                </a:lnTo>
                <a:lnTo>
                  <a:pt x="6369" y="15770"/>
                </a:lnTo>
                <a:cubicBezTo>
                  <a:pt x="6309" y="15734"/>
                  <a:pt x="6256" y="15687"/>
                  <a:pt x="6190" y="15660"/>
                </a:cubicBezTo>
                <a:cubicBezTo>
                  <a:pt x="6190" y="15660"/>
                  <a:pt x="2111" y="14024"/>
                  <a:pt x="2111" y="14024"/>
                </a:cubicBezTo>
                <a:close/>
                <a:moveTo>
                  <a:pt x="21234" y="108"/>
                </a:moveTo>
                <a:cubicBezTo>
                  <a:pt x="21123" y="35"/>
                  <a:pt x="20996" y="0"/>
                  <a:pt x="20868" y="0"/>
                </a:cubicBezTo>
                <a:cubicBezTo>
                  <a:pt x="20738" y="0"/>
                  <a:pt x="20608" y="36"/>
                  <a:pt x="20495" y="113"/>
                </a:cubicBezTo>
                <a:lnTo>
                  <a:pt x="299" y="13613"/>
                </a:lnTo>
                <a:cubicBezTo>
                  <a:pt x="91" y="13751"/>
                  <a:pt x="-23" y="13995"/>
                  <a:pt x="3" y="14244"/>
                </a:cubicBezTo>
                <a:cubicBezTo>
                  <a:pt x="28" y="14494"/>
                  <a:pt x="190" y="14708"/>
                  <a:pt x="422" y="14801"/>
                </a:cubicBezTo>
                <a:lnTo>
                  <a:pt x="5689" y="16914"/>
                </a:lnTo>
                <a:lnTo>
                  <a:pt x="8166" y="21259"/>
                </a:lnTo>
                <a:cubicBezTo>
                  <a:pt x="8284" y="21468"/>
                  <a:pt x="8505" y="21597"/>
                  <a:pt x="8743" y="21599"/>
                </a:cubicBezTo>
                <a:lnTo>
                  <a:pt x="8751" y="21599"/>
                </a:lnTo>
                <a:cubicBezTo>
                  <a:pt x="8987" y="21599"/>
                  <a:pt x="9206" y="21474"/>
                  <a:pt x="9328" y="21271"/>
                </a:cubicBezTo>
                <a:lnTo>
                  <a:pt x="10726" y="18934"/>
                </a:lnTo>
                <a:lnTo>
                  <a:pt x="17253" y="21551"/>
                </a:lnTo>
                <a:cubicBezTo>
                  <a:pt x="17332" y="21584"/>
                  <a:pt x="17418" y="21599"/>
                  <a:pt x="17502" y="21599"/>
                </a:cubicBezTo>
                <a:cubicBezTo>
                  <a:pt x="17617" y="21599"/>
                  <a:pt x="17731" y="21571"/>
                  <a:pt x="17832" y="21512"/>
                </a:cubicBezTo>
                <a:cubicBezTo>
                  <a:pt x="18010" y="21412"/>
                  <a:pt x="18133" y="21238"/>
                  <a:pt x="18167" y="21035"/>
                </a:cubicBezTo>
                <a:lnTo>
                  <a:pt x="21533" y="785"/>
                </a:lnTo>
                <a:cubicBezTo>
                  <a:pt x="21576" y="520"/>
                  <a:pt x="21459" y="254"/>
                  <a:pt x="21234" y="108"/>
                </a:cubicBezTo>
              </a:path>
            </a:pathLst>
          </a:custGeom>
          <a:solidFill>
            <a:srgbClr val="0070C0"/>
          </a:solidFill>
          <a:ln>
            <a:noFill/>
          </a:ln>
          <a:effectLst/>
        </p:spPr>
        <p:txBody>
          <a:bodyPr lIns="14040" tIns="14040" rIns="14040" bIns="14040" anchor="ctr"/>
          <a:lstStyle/>
          <a:p>
            <a:pPr algn="ctr" defTabSz="168275" eaLnBrk="1">
              <a:lnSpc>
                <a:spcPct val="130000"/>
              </a:lnSpc>
              <a:defRPr/>
            </a:pPr>
            <a:endParaRPr lang="en-US" sz="1000" noProof="1">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51" name="Group 38"/>
          <p:cNvGrpSpPr/>
          <p:nvPr/>
        </p:nvGrpSpPr>
        <p:grpSpPr>
          <a:xfrm>
            <a:off x="3636072" y="2423408"/>
            <a:ext cx="343384" cy="287602"/>
            <a:chOff x="5368132" y="2625725"/>
            <a:chExt cx="465138" cy="391319"/>
          </a:xfrm>
          <a:solidFill>
            <a:srgbClr val="00AEEF"/>
          </a:solidFill>
        </p:grpSpPr>
        <p:sp>
          <p:nvSpPr>
            <p:cNvPr id="52" name="AutoShape 120"/>
            <p:cNvSpPr/>
            <p:nvPr/>
          </p:nvSpPr>
          <p:spPr bwMode="auto">
            <a:xfrm>
              <a:off x="5484813" y="2727325"/>
              <a:ext cx="231775" cy="23177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48" y="16070"/>
                  </a:moveTo>
                  <a:cubicBezTo>
                    <a:pt x="14037" y="19468"/>
                    <a:pt x="8925" y="19859"/>
                    <a:pt x="5529" y="16948"/>
                  </a:cubicBezTo>
                  <a:cubicBezTo>
                    <a:pt x="2130" y="14038"/>
                    <a:pt x="1740" y="8924"/>
                    <a:pt x="4651" y="5527"/>
                  </a:cubicBezTo>
                  <a:cubicBezTo>
                    <a:pt x="7559" y="2131"/>
                    <a:pt x="12674" y="1740"/>
                    <a:pt x="16070" y="4650"/>
                  </a:cubicBezTo>
                  <a:cubicBezTo>
                    <a:pt x="19466" y="7560"/>
                    <a:pt x="19859" y="12673"/>
                    <a:pt x="16948" y="16070"/>
                  </a:cubicBezTo>
                  <a:moveTo>
                    <a:pt x="10800" y="0"/>
                  </a:moveTo>
                  <a:cubicBezTo>
                    <a:pt x="4833" y="0"/>
                    <a:pt x="0" y="4834"/>
                    <a:pt x="0" y="10800"/>
                  </a:cubicBezTo>
                  <a:cubicBezTo>
                    <a:pt x="0" y="16765"/>
                    <a:pt x="4833" y="21599"/>
                    <a:pt x="10800" y="21599"/>
                  </a:cubicBezTo>
                  <a:cubicBezTo>
                    <a:pt x="16764" y="21599"/>
                    <a:pt x="21600" y="16765"/>
                    <a:pt x="21600" y="10800"/>
                  </a:cubicBezTo>
                  <a:cubicBezTo>
                    <a:pt x="21600" y="4834"/>
                    <a:pt x="16764" y="0"/>
                    <a:pt x="10800" y="0"/>
                  </a:cubicBezTo>
                </a:path>
              </a:pathLst>
            </a:custGeom>
            <a:grpFill/>
            <a:ln>
              <a:noFill/>
            </a:ln>
            <a:effectLst/>
          </p:spPr>
          <p:txBody>
            <a:bodyPr lIns="20091" tIns="20091" rIns="20091" bIns="20091" anchor="ctr"/>
            <a:lstStyle/>
            <a:p>
              <a:pPr algn="ctr" defTabSz="168275"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3" name="AutoShape 121"/>
            <p:cNvSpPr/>
            <p:nvPr/>
          </p:nvSpPr>
          <p:spPr bwMode="auto">
            <a:xfrm>
              <a:off x="5542757" y="2785269"/>
              <a:ext cx="65088" cy="650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200" y="0"/>
                  </a:moveTo>
                  <a:cubicBezTo>
                    <a:pt x="8596" y="0"/>
                    <a:pt x="0" y="8596"/>
                    <a:pt x="0" y="19195"/>
                  </a:cubicBezTo>
                  <a:lnTo>
                    <a:pt x="0" y="19199"/>
                  </a:lnTo>
                  <a:cubicBezTo>
                    <a:pt x="0" y="20524"/>
                    <a:pt x="1068" y="21599"/>
                    <a:pt x="2400" y="21599"/>
                  </a:cubicBezTo>
                  <a:cubicBezTo>
                    <a:pt x="3721" y="21599"/>
                    <a:pt x="4800" y="20524"/>
                    <a:pt x="4800" y="19199"/>
                  </a:cubicBezTo>
                  <a:lnTo>
                    <a:pt x="4800" y="19195"/>
                  </a:lnTo>
                  <a:cubicBezTo>
                    <a:pt x="4800" y="11247"/>
                    <a:pt x="11240" y="4799"/>
                    <a:pt x="19200" y="4799"/>
                  </a:cubicBezTo>
                  <a:cubicBezTo>
                    <a:pt x="20521" y="4799"/>
                    <a:pt x="21600" y="3724"/>
                    <a:pt x="21600" y="2399"/>
                  </a:cubicBezTo>
                  <a:cubicBezTo>
                    <a:pt x="21600" y="1075"/>
                    <a:pt x="20521" y="0"/>
                    <a:pt x="19200" y="0"/>
                  </a:cubicBezTo>
                </a:path>
              </a:pathLst>
            </a:custGeom>
            <a:grpFill/>
            <a:ln>
              <a:noFill/>
            </a:ln>
            <a:effectLst/>
          </p:spPr>
          <p:txBody>
            <a:bodyPr lIns="20091" tIns="20091" rIns="20091" bIns="20091" anchor="ctr"/>
            <a:lstStyle/>
            <a:p>
              <a:pPr algn="ctr" defTabSz="168275"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4" name="AutoShape 122"/>
            <p:cNvSpPr/>
            <p:nvPr/>
          </p:nvSpPr>
          <p:spPr bwMode="auto">
            <a:xfrm>
              <a:off x="5368132" y="2625725"/>
              <a:ext cx="465138" cy="39131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249" y="19199"/>
                  </a:moveTo>
                  <a:cubicBezTo>
                    <a:pt x="20249" y="19642"/>
                    <a:pt x="19948" y="19999"/>
                    <a:pt x="19575" y="19999"/>
                  </a:cubicBezTo>
                  <a:lnTo>
                    <a:pt x="2024" y="19999"/>
                  </a:lnTo>
                  <a:cubicBezTo>
                    <a:pt x="1651" y="19999"/>
                    <a:pt x="1349" y="19642"/>
                    <a:pt x="1349" y="19199"/>
                  </a:cubicBezTo>
                  <a:lnTo>
                    <a:pt x="1349" y="7200"/>
                  </a:lnTo>
                  <a:cubicBezTo>
                    <a:pt x="1349" y="6809"/>
                    <a:pt x="1588" y="6475"/>
                    <a:pt x="1914" y="6411"/>
                  </a:cubicBezTo>
                  <a:lnTo>
                    <a:pt x="5588" y="5684"/>
                  </a:lnTo>
                  <a:lnTo>
                    <a:pt x="6797" y="2103"/>
                  </a:lnTo>
                  <a:cubicBezTo>
                    <a:pt x="6900" y="1799"/>
                    <a:pt x="7148" y="1600"/>
                    <a:pt x="7424" y="1600"/>
                  </a:cubicBezTo>
                  <a:lnTo>
                    <a:pt x="14174" y="1600"/>
                  </a:lnTo>
                  <a:cubicBezTo>
                    <a:pt x="14450" y="1600"/>
                    <a:pt x="14698" y="1799"/>
                    <a:pt x="14801" y="2103"/>
                  </a:cubicBezTo>
                  <a:lnTo>
                    <a:pt x="16010" y="5684"/>
                  </a:lnTo>
                  <a:lnTo>
                    <a:pt x="19685" y="6411"/>
                  </a:lnTo>
                  <a:cubicBezTo>
                    <a:pt x="20011" y="6475"/>
                    <a:pt x="20249" y="6809"/>
                    <a:pt x="20249" y="7200"/>
                  </a:cubicBezTo>
                  <a:cubicBezTo>
                    <a:pt x="20249" y="7200"/>
                    <a:pt x="20249" y="19199"/>
                    <a:pt x="20249" y="19199"/>
                  </a:cubicBezTo>
                  <a:close/>
                  <a:moveTo>
                    <a:pt x="19907" y="4832"/>
                  </a:moveTo>
                  <a:lnTo>
                    <a:pt x="16981" y="4254"/>
                  </a:lnTo>
                  <a:lnTo>
                    <a:pt x="16054" y="1507"/>
                  </a:lnTo>
                  <a:cubicBezTo>
                    <a:pt x="15745" y="591"/>
                    <a:pt x="15006" y="0"/>
                    <a:pt x="14174" y="0"/>
                  </a:cubicBezTo>
                  <a:lnTo>
                    <a:pt x="7424" y="0"/>
                  </a:lnTo>
                  <a:cubicBezTo>
                    <a:pt x="6593" y="0"/>
                    <a:pt x="5854" y="591"/>
                    <a:pt x="5543" y="1509"/>
                  </a:cubicBezTo>
                  <a:lnTo>
                    <a:pt x="4618" y="4254"/>
                  </a:lnTo>
                  <a:lnTo>
                    <a:pt x="1692" y="4832"/>
                  </a:lnTo>
                  <a:cubicBezTo>
                    <a:pt x="711" y="5025"/>
                    <a:pt x="0" y="6020"/>
                    <a:pt x="0" y="7200"/>
                  </a:cubicBezTo>
                  <a:lnTo>
                    <a:pt x="0" y="19199"/>
                  </a:lnTo>
                  <a:cubicBezTo>
                    <a:pt x="0" y="20523"/>
                    <a:pt x="908" y="21600"/>
                    <a:pt x="2024" y="21600"/>
                  </a:cubicBezTo>
                  <a:lnTo>
                    <a:pt x="19575" y="21600"/>
                  </a:lnTo>
                  <a:cubicBezTo>
                    <a:pt x="20691" y="21600"/>
                    <a:pt x="21600" y="20523"/>
                    <a:pt x="21600" y="19199"/>
                  </a:cubicBezTo>
                  <a:lnTo>
                    <a:pt x="21600" y="7200"/>
                  </a:lnTo>
                  <a:cubicBezTo>
                    <a:pt x="21600" y="6020"/>
                    <a:pt x="20888" y="5025"/>
                    <a:pt x="19907" y="4832"/>
                  </a:cubicBezTo>
                </a:path>
              </a:pathLst>
            </a:custGeom>
            <a:grpFill/>
            <a:ln>
              <a:noFill/>
            </a:ln>
            <a:effectLst/>
          </p:spPr>
          <p:txBody>
            <a:bodyPr lIns="20091" tIns="20091" rIns="20091" bIns="20091" anchor="ctr"/>
            <a:lstStyle/>
            <a:p>
              <a:pPr algn="ctr" defTabSz="168275"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grpSp>
      <p:grpSp>
        <p:nvGrpSpPr>
          <p:cNvPr id="55" name="Group 42"/>
          <p:cNvGrpSpPr/>
          <p:nvPr/>
        </p:nvGrpSpPr>
        <p:grpSpPr>
          <a:xfrm>
            <a:off x="1269625" y="2427844"/>
            <a:ext cx="342798" cy="266600"/>
            <a:chOff x="2581275" y="1710532"/>
            <a:chExt cx="464344" cy="362744"/>
          </a:xfrm>
          <a:solidFill>
            <a:srgbClr val="00AEEF"/>
          </a:solidFill>
        </p:grpSpPr>
        <p:sp>
          <p:nvSpPr>
            <p:cNvPr id="56" name="AutoShape 140"/>
            <p:cNvSpPr/>
            <p:nvPr/>
          </p:nvSpPr>
          <p:spPr bwMode="auto">
            <a:xfrm>
              <a:off x="2639219" y="1768475"/>
              <a:ext cx="290513" cy="235744"/>
            </a:xfrm>
            <a:custGeom>
              <a:avLst/>
              <a:gdLst>
                <a:gd name="T0" fmla="+- 0 10800 376"/>
                <a:gd name="T1" fmla="*/ T0 w 20848"/>
                <a:gd name="T2" fmla="*/ 10800 h 21600"/>
                <a:gd name="T3" fmla="+- 0 10800 376"/>
                <a:gd name="T4" fmla="*/ T3 w 20848"/>
                <a:gd name="T5" fmla="*/ 10800 h 21600"/>
                <a:gd name="T6" fmla="+- 0 10800 376"/>
                <a:gd name="T7" fmla="*/ T6 w 20848"/>
                <a:gd name="T8" fmla="*/ 10800 h 21600"/>
                <a:gd name="T9" fmla="+- 0 10800 376"/>
                <a:gd name="T10" fmla="*/ T9 w 20848"/>
                <a:gd name="T11" fmla="*/ 10800 h 21600"/>
              </a:gdLst>
              <a:ahLst/>
              <a:cxnLst>
                <a:cxn ang="0">
                  <a:pos x="T1" y="T2"/>
                </a:cxn>
                <a:cxn ang="0">
                  <a:pos x="T4" y="T5"/>
                </a:cxn>
                <a:cxn ang="0">
                  <a:pos x="T7" y="T8"/>
                </a:cxn>
                <a:cxn ang="0">
                  <a:pos x="T10" y="T11"/>
                </a:cxn>
              </a:cxnLst>
              <a:rect l="0" t="0" r="r" b="b"/>
              <a:pathLst>
                <a:path w="20848" h="21600">
                  <a:moveTo>
                    <a:pt x="18728" y="19178"/>
                  </a:moveTo>
                  <a:cubicBezTo>
                    <a:pt x="13191" y="20631"/>
                    <a:pt x="7654" y="20631"/>
                    <a:pt x="2118" y="19178"/>
                  </a:cubicBezTo>
                  <a:cubicBezTo>
                    <a:pt x="678" y="13592"/>
                    <a:pt x="678" y="8008"/>
                    <a:pt x="2118" y="2421"/>
                  </a:cubicBezTo>
                  <a:cubicBezTo>
                    <a:pt x="7654" y="968"/>
                    <a:pt x="13191" y="968"/>
                    <a:pt x="18728" y="2421"/>
                  </a:cubicBezTo>
                  <a:cubicBezTo>
                    <a:pt x="20168" y="8008"/>
                    <a:pt x="20168" y="13592"/>
                    <a:pt x="18728" y="19178"/>
                  </a:cubicBezTo>
                  <a:moveTo>
                    <a:pt x="18938" y="1116"/>
                  </a:moveTo>
                  <a:cubicBezTo>
                    <a:pt x="16114" y="375"/>
                    <a:pt x="13249" y="0"/>
                    <a:pt x="10423" y="0"/>
                  </a:cubicBezTo>
                  <a:cubicBezTo>
                    <a:pt x="7597" y="0"/>
                    <a:pt x="4732" y="375"/>
                    <a:pt x="1908" y="1116"/>
                  </a:cubicBezTo>
                  <a:cubicBezTo>
                    <a:pt x="1543" y="1213"/>
                    <a:pt x="1244" y="1552"/>
                    <a:pt x="1127" y="2004"/>
                  </a:cubicBezTo>
                  <a:cubicBezTo>
                    <a:pt x="-376" y="7841"/>
                    <a:pt x="-376" y="13759"/>
                    <a:pt x="1127" y="19593"/>
                  </a:cubicBezTo>
                  <a:cubicBezTo>
                    <a:pt x="1244" y="20047"/>
                    <a:pt x="1543" y="20386"/>
                    <a:pt x="1908" y="20482"/>
                  </a:cubicBezTo>
                  <a:cubicBezTo>
                    <a:pt x="4732" y="21224"/>
                    <a:pt x="7597" y="21600"/>
                    <a:pt x="10423" y="21600"/>
                  </a:cubicBezTo>
                  <a:cubicBezTo>
                    <a:pt x="13249" y="21600"/>
                    <a:pt x="16114" y="21224"/>
                    <a:pt x="18938" y="20482"/>
                  </a:cubicBezTo>
                  <a:cubicBezTo>
                    <a:pt x="19303" y="20386"/>
                    <a:pt x="19602" y="20047"/>
                    <a:pt x="19719" y="19593"/>
                  </a:cubicBezTo>
                  <a:cubicBezTo>
                    <a:pt x="21223" y="13759"/>
                    <a:pt x="21223" y="7841"/>
                    <a:pt x="19719" y="2004"/>
                  </a:cubicBezTo>
                  <a:cubicBezTo>
                    <a:pt x="19602" y="1552"/>
                    <a:pt x="19303" y="1213"/>
                    <a:pt x="18938" y="1116"/>
                  </a:cubicBezTo>
                </a:path>
              </a:pathLst>
            </a:custGeom>
            <a:grpFill/>
            <a:ln>
              <a:noFill/>
            </a:ln>
            <a:effectLst/>
          </p:spPr>
          <p:txBody>
            <a:bodyPr lIns="20091" tIns="20091" rIns="20091" bIns="20091" anchor="ctr"/>
            <a:lstStyle/>
            <a:p>
              <a:pPr algn="ctr" defTabSz="168275"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7" name="AutoShape 141"/>
            <p:cNvSpPr/>
            <p:nvPr/>
          </p:nvSpPr>
          <p:spPr bwMode="auto">
            <a:xfrm>
              <a:off x="2581275" y="1710532"/>
              <a:ext cx="464344" cy="362744"/>
            </a:xfrm>
            <a:custGeom>
              <a:avLst/>
              <a:gdLst>
                <a:gd name="T0" fmla="+- 0 10800 252"/>
                <a:gd name="T1" fmla="*/ T0 w 21096"/>
                <a:gd name="T2" fmla="*/ 10800 h 21600"/>
                <a:gd name="T3" fmla="+- 0 10800 252"/>
                <a:gd name="T4" fmla="*/ T3 w 21096"/>
                <a:gd name="T5" fmla="*/ 10800 h 21600"/>
                <a:gd name="T6" fmla="+- 0 10800 252"/>
                <a:gd name="T7" fmla="*/ T6 w 21096"/>
                <a:gd name="T8" fmla="*/ 10800 h 21600"/>
                <a:gd name="T9" fmla="+- 0 10800 252"/>
                <a:gd name="T10" fmla="*/ T9 w 21096"/>
                <a:gd name="T11" fmla="*/ 10800 h 21600"/>
              </a:gdLst>
              <a:ahLst/>
              <a:cxnLst>
                <a:cxn ang="0">
                  <a:pos x="T1" y="T2"/>
                </a:cxn>
                <a:cxn ang="0">
                  <a:pos x="T4" y="T5"/>
                </a:cxn>
                <a:cxn ang="0">
                  <a:pos x="T7" y="T8"/>
                </a:cxn>
                <a:cxn ang="0">
                  <a:pos x="T10" y="T11"/>
                </a:cxn>
              </a:cxnLst>
              <a:rect l="0" t="0" r="r" b="b"/>
              <a:pathLst>
                <a:path w="21096" h="21600">
                  <a:moveTo>
                    <a:pt x="19056" y="18331"/>
                  </a:moveTo>
                  <a:cubicBezTo>
                    <a:pt x="13383" y="19233"/>
                    <a:pt x="7711" y="19233"/>
                    <a:pt x="2038" y="18331"/>
                  </a:cubicBezTo>
                  <a:cubicBezTo>
                    <a:pt x="1074" y="13022"/>
                    <a:pt x="1074" y="7713"/>
                    <a:pt x="2038" y="2404"/>
                  </a:cubicBezTo>
                  <a:cubicBezTo>
                    <a:pt x="7711" y="1502"/>
                    <a:pt x="13383" y="1502"/>
                    <a:pt x="19056" y="2404"/>
                  </a:cubicBezTo>
                  <a:cubicBezTo>
                    <a:pt x="20021" y="7713"/>
                    <a:pt x="20021" y="13022"/>
                    <a:pt x="19056" y="18331"/>
                  </a:cubicBezTo>
                  <a:moveTo>
                    <a:pt x="20338" y="2005"/>
                  </a:moveTo>
                  <a:cubicBezTo>
                    <a:pt x="20211" y="1301"/>
                    <a:pt x="19762" y="776"/>
                    <a:pt x="19215" y="689"/>
                  </a:cubicBezTo>
                  <a:cubicBezTo>
                    <a:pt x="16339" y="232"/>
                    <a:pt x="13423" y="0"/>
                    <a:pt x="10547" y="0"/>
                  </a:cubicBezTo>
                  <a:cubicBezTo>
                    <a:pt x="7671" y="0"/>
                    <a:pt x="4755" y="232"/>
                    <a:pt x="1879" y="689"/>
                  </a:cubicBezTo>
                  <a:cubicBezTo>
                    <a:pt x="1332" y="776"/>
                    <a:pt x="883" y="1301"/>
                    <a:pt x="756" y="2005"/>
                  </a:cubicBezTo>
                  <a:cubicBezTo>
                    <a:pt x="-252" y="7553"/>
                    <a:pt x="-252" y="13181"/>
                    <a:pt x="756" y="18731"/>
                  </a:cubicBezTo>
                  <a:cubicBezTo>
                    <a:pt x="883" y="19434"/>
                    <a:pt x="1332" y="19959"/>
                    <a:pt x="1879" y="20046"/>
                  </a:cubicBezTo>
                  <a:cubicBezTo>
                    <a:pt x="3265" y="20266"/>
                    <a:pt x="4660" y="20429"/>
                    <a:pt x="6055" y="20544"/>
                  </a:cubicBezTo>
                  <a:cubicBezTo>
                    <a:pt x="5979" y="20606"/>
                    <a:pt x="5931" y="20670"/>
                    <a:pt x="5931" y="20735"/>
                  </a:cubicBezTo>
                  <a:cubicBezTo>
                    <a:pt x="5931" y="21213"/>
                    <a:pt x="7997" y="21599"/>
                    <a:pt x="10547" y="21599"/>
                  </a:cubicBezTo>
                  <a:cubicBezTo>
                    <a:pt x="13097" y="21599"/>
                    <a:pt x="15164" y="21213"/>
                    <a:pt x="15164" y="20735"/>
                  </a:cubicBezTo>
                  <a:cubicBezTo>
                    <a:pt x="15164" y="20670"/>
                    <a:pt x="15115" y="20606"/>
                    <a:pt x="15040" y="20544"/>
                  </a:cubicBezTo>
                  <a:cubicBezTo>
                    <a:pt x="16434" y="20429"/>
                    <a:pt x="17830" y="20266"/>
                    <a:pt x="19215" y="20046"/>
                  </a:cubicBezTo>
                  <a:cubicBezTo>
                    <a:pt x="19762" y="19959"/>
                    <a:pt x="20211" y="19434"/>
                    <a:pt x="20338" y="18731"/>
                  </a:cubicBezTo>
                  <a:cubicBezTo>
                    <a:pt x="21347" y="13181"/>
                    <a:pt x="21347" y="7553"/>
                    <a:pt x="20338" y="2005"/>
                  </a:cubicBezTo>
                </a:path>
              </a:pathLst>
            </a:custGeom>
            <a:grpFill/>
            <a:ln>
              <a:noFill/>
            </a:ln>
            <a:effectLst/>
          </p:spPr>
          <p:txBody>
            <a:bodyPr lIns="20091" tIns="20091" rIns="20091" bIns="20091" anchor="ctr"/>
            <a:lstStyle/>
            <a:p>
              <a:pPr algn="ctr" defTabSz="168275"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8" name="AutoShape 142"/>
            <p:cNvSpPr/>
            <p:nvPr/>
          </p:nvSpPr>
          <p:spPr bwMode="auto">
            <a:xfrm>
              <a:off x="2944019" y="1783557"/>
              <a:ext cx="43656" cy="4286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7200"/>
                  </a:moveTo>
                  <a:cubicBezTo>
                    <a:pt x="12779" y="7200"/>
                    <a:pt x="14399" y="8820"/>
                    <a:pt x="14399" y="10800"/>
                  </a:cubicBezTo>
                  <a:cubicBezTo>
                    <a:pt x="14399" y="12779"/>
                    <a:pt x="12779" y="14400"/>
                    <a:pt x="10800" y="14400"/>
                  </a:cubicBezTo>
                  <a:cubicBezTo>
                    <a:pt x="8820" y="14400"/>
                    <a:pt x="7199" y="12779"/>
                    <a:pt x="7199" y="10800"/>
                  </a:cubicBezTo>
                  <a:cubicBezTo>
                    <a:pt x="7199" y="8820"/>
                    <a:pt x="8820" y="7200"/>
                    <a:pt x="10800" y="7200"/>
                  </a:cubicBezTo>
                  <a:moveTo>
                    <a:pt x="10800" y="21599"/>
                  </a:moveTo>
                  <a:cubicBezTo>
                    <a:pt x="16762" y="21599"/>
                    <a:pt x="21600" y="16762"/>
                    <a:pt x="21600" y="10800"/>
                  </a:cubicBezTo>
                  <a:cubicBezTo>
                    <a:pt x="21600" y="4837"/>
                    <a:pt x="16762" y="0"/>
                    <a:pt x="10800" y="0"/>
                  </a:cubicBezTo>
                  <a:cubicBezTo>
                    <a:pt x="4837" y="0"/>
                    <a:pt x="0" y="4837"/>
                    <a:pt x="0" y="10800"/>
                  </a:cubicBezTo>
                  <a:cubicBezTo>
                    <a:pt x="0" y="16762"/>
                    <a:pt x="4837" y="21599"/>
                    <a:pt x="10800" y="21599"/>
                  </a:cubicBezTo>
                </a:path>
              </a:pathLst>
            </a:custGeom>
            <a:grpFill/>
            <a:ln>
              <a:noFill/>
            </a:ln>
            <a:effectLst/>
          </p:spPr>
          <p:txBody>
            <a:bodyPr lIns="20091" tIns="20091" rIns="20091" bIns="20091" anchor="ctr"/>
            <a:lstStyle/>
            <a:p>
              <a:pPr algn="ctr" defTabSz="168275"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59" name="AutoShape 143"/>
            <p:cNvSpPr/>
            <p:nvPr/>
          </p:nvSpPr>
          <p:spPr bwMode="auto">
            <a:xfrm>
              <a:off x="2929732" y="1971675"/>
              <a:ext cx="57944" cy="1508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899" y="0"/>
                  </a:moveTo>
                  <a:lnTo>
                    <a:pt x="2699" y="0"/>
                  </a:lnTo>
                  <a:cubicBezTo>
                    <a:pt x="1210" y="0"/>
                    <a:pt x="0" y="4841"/>
                    <a:pt x="0" y="10800"/>
                  </a:cubicBezTo>
                  <a:cubicBezTo>
                    <a:pt x="0" y="16758"/>
                    <a:pt x="1210" y="21599"/>
                    <a:pt x="2699" y="21599"/>
                  </a:cubicBezTo>
                  <a:lnTo>
                    <a:pt x="18899" y="21599"/>
                  </a:lnTo>
                  <a:cubicBezTo>
                    <a:pt x="20389" y="21599"/>
                    <a:pt x="21600" y="16758"/>
                    <a:pt x="21600" y="10800"/>
                  </a:cubicBezTo>
                  <a:cubicBezTo>
                    <a:pt x="21600" y="4841"/>
                    <a:pt x="20389" y="0"/>
                    <a:pt x="18899" y="0"/>
                  </a:cubicBezTo>
                </a:path>
              </a:pathLst>
            </a:custGeom>
            <a:grpFill/>
            <a:ln>
              <a:noFill/>
            </a:ln>
            <a:effectLst/>
          </p:spPr>
          <p:txBody>
            <a:bodyPr lIns="20091" tIns="20091" rIns="20091" bIns="20091" anchor="ctr"/>
            <a:lstStyle/>
            <a:p>
              <a:pPr algn="ctr" defTabSz="168275"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0" name="AutoShape 144"/>
            <p:cNvSpPr/>
            <p:nvPr/>
          </p:nvSpPr>
          <p:spPr bwMode="auto">
            <a:xfrm>
              <a:off x="2944019" y="1928019"/>
              <a:ext cx="58738" cy="1508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899" y="0"/>
                  </a:moveTo>
                  <a:lnTo>
                    <a:pt x="2699" y="0"/>
                  </a:lnTo>
                  <a:cubicBezTo>
                    <a:pt x="1210" y="0"/>
                    <a:pt x="0" y="4841"/>
                    <a:pt x="0" y="10800"/>
                  </a:cubicBezTo>
                  <a:cubicBezTo>
                    <a:pt x="0" y="16758"/>
                    <a:pt x="1210" y="21599"/>
                    <a:pt x="2699" y="21599"/>
                  </a:cubicBezTo>
                  <a:lnTo>
                    <a:pt x="18899" y="21599"/>
                  </a:lnTo>
                  <a:cubicBezTo>
                    <a:pt x="20389" y="21599"/>
                    <a:pt x="21600" y="16758"/>
                    <a:pt x="21600" y="10800"/>
                  </a:cubicBezTo>
                  <a:cubicBezTo>
                    <a:pt x="21600" y="4841"/>
                    <a:pt x="20389" y="0"/>
                    <a:pt x="18899" y="0"/>
                  </a:cubicBezTo>
                </a:path>
              </a:pathLst>
            </a:custGeom>
            <a:grpFill/>
            <a:ln>
              <a:noFill/>
            </a:ln>
            <a:effectLst/>
          </p:spPr>
          <p:txBody>
            <a:bodyPr lIns="20091" tIns="20091" rIns="20091" bIns="20091" anchor="ctr"/>
            <a:lstStyle/>
            <a:p>
              <a:pPr algn="ctr" defTabSz="168275"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1" name="AutoShape 145"/>
            <p:cNvSpPr/>
            <p:nvPr/>
          </p:nvSpPr>
          <p:spPr bwMode="auto">
            <a:xfrm>
              <a:off x="2944019" y="1885157"/>
              <a:ext cx="58738"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899" y="0"/>
                  </a:moveTo>
                  <a:lnTo>
                    <a:pt x="2699" y="0"/>
                  </a:lnTo>
                  <a:cubicBezTo>
                    <a:pt x="1210" y="0"/>
                    <a:pt x="0" y="4841"/>
                    <a:pt x="0" y="10800"/>
                  </a:cubicBezTo>
                  <a:cubicBezTo>
                    <a:pt x="0" y="16758"/>
                    <a:pt x="1210" y="21599"/>
                    <a:pt x="2699" y="21599"/>
                  </a:cubicBezTo>
                  <a:lnTo>
                    <a:pt x="18899" y="21599"/>
                  </a:lnTo>
                  <a:cubicBezTo>
                    <a:pt x="20389" y="21599"/>
                    <a:pt x="21600" y="16758"/>
                    <a:pt x="21600" y="10800"/>
                  </a:cubicBezTo>
                  <a:cubicBezTo>
                    <a:pt x="21600" y="4841"/>
                    <a:pt x="20389" y="0"/>
                    <a:pt x="18899" y="0"/>
                  </a:cubicBezTo>
                </a:path>
              </a:pathLst>
            </a:custGeom>
            <a:grpFill/>
            <a:ln>
              <a:noFill/>
            </a:ln>
            <a:effectLst/>
          </p:spPr>
          <p:txBody>
            <a:bodyPr lIns="20091" tIns="20091" rIns="20091" bIns="20091" anchor="ctr"/>
            <a:lstStyle/>
            <a:p>
              <a:pPr algn="ctr" defTabSz="168275"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2" name="AutoShape 146"/>
            <p:cNvSpPr/>
            <p:nvPr/>
          </p:nvSpPr>
          <p:spPr bwMode="auto">
            <a:xfrm>
              <a:off x="2697957" y="1826419"/>
              <a:ext cx="86519" cy="61119"/>
            </a:xfrm>
            <a:custGeom>
              <a:avLst/>
              <a:gdLst>
                <a:gd name="T0" fmla="+- 0 10822 44"/>
                <a:gd name="T1" fmla="*/ T0 w 21556"/>
                <a:gd name="T2" fmla="+- 0 10826 53"/>
                <a:gd name="T3" fmla="*/ 10826 h 21547"/>
                <a:gd name="T4" fmla="+- 0 10822 44"/>
                <a:gd name="T5" fmla="*/ T4 w 21556"/>
                <a:gd name="T6" fmla="+- 0 10826 53"/>
                <a:gd name="T7" fmla="*/ 10826 h 21547"/>
                <a:gd name="T8" fmla="+- 0 10822 44"/>
                <a:gd name="T9" fmla="*/ T8 w 21556"/>
                <a:gd name="T10" fmla="+- 0 10826 53"/>
                <a:gd name="T11" fmla="*/ 10826 h 21547"/>
                <a:gd name="T12" fmla="+- 0 10822 44"/>
                <a:gd name="T13" fmla="*/ T12 w 21556"/>
                <a:gd name="T14" fmla="+- 0 10826 53"/>
                <a:gd name="T15" fmla="*/ 10826 h 21547"/>
              </a:gdLst>
              <a:ahLst/>
              <a:cxnLst>
                <a:cxn ang="0">
                  <a:pos x="T1" y="T3"/>
                </a:cxn>
                <a:cxn ang="0">
                  <a:pos x="T5" y="T7"/>
                </a:cxn>
                <a:cxn ang="0">
                  <a:pos x="T9" y="T11"/>
                </a:cxn>
                <a:cxn ang="0">
                  <a:pos x="T13" y="T15"/>
                </a:cxn>
              </a:cxnLst>
              <a:rect l="0" t="0" r="r" b="b"/>
              <a:pathLst>
                <a:path w="21556" h="21547">
                  <a:moveTo>
                    <a:pt x="19751" y="2"/>
                  </a:moveTo>
                  <a:lnTo>
                    <a:pt x="3200" y="1845"/>
                  </a:lnTo>
                  <a:cubicBezTo>
                    <a:pt x="2215" y="2010"/>
                    <a:pt x="1272" y="3284"/>
                    <a:pt x="1106" y="4676"/>
                  </a:cubicBezTo>
                  <a:lnTo>
                    <a:pt x="1" y="18986"/>
                  </a:lnTo>
                  <a:cubicBezTo>
                    <a:pt x="-44" y="20398"/>
                    <a:pt x="724" y="21547"/>
                    <a:pt x="1712" y="21547"/>
                  </a:cubicBezTo>
                  <a:cubicBezTo>
                    <a:pt x="2698" y="21547"/>
                    <a:pt x="3542" y="20398"/>
                    <a:pt x="3582" y="18978"/>
                  </a:cubicBezTo>
                  <a:lnTo>
                    <a:pt x="4185" y="9251"/>
                  </a:lnTo>
                  <a:cubicBezTo>
                    <a:pt x="4319" y="7849"/>
                    <a:pt x="5235" y="6592"/>
                    <a:pt x="6220" y="6447"/>
                  </a:cubicBezTo>
                  <a:lnTo>
                    <a:pt x="19751" y="5128"/>
                  </a:lnTo>
                  <a:cubicBezTo>
                    <a:pt x="20743" y="5078"/>
                    <a:pt x="21556" y="3884"/>
                    <a:pt x="21556" y="2467"/>
                  </a:cubicBezTo>
                  <a:cubicBezTo>
                    <a:pt x="21556" y="1055"/>
                    <a:pt x="20743" y="-53"/>
                    <a:pt x="19751" y="2"/>
                  </a:cubicBezTo>
                </a:path>
              </a:pathLst>
            </a:custGeom>
            <a:grpFill/>
            <a:ln>
              <a:noFill/>
            </a:ln>
            <a:effectLst/>
          </p:spPr>
          <p:txBody>
            <a:bodyPr lIns="20091" tIns="20091" rIns="20091" bIns="20091" anchor="ctr"/>
            <a:lstStyle/>
            <a:p>
              <a:pPr algn="ctr" defTabSz="168275"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grpSp>
      <p:grpSp>
        <p:nvGrpSpPr>
          <p:cNvPr id="63" name="Group 52"/>
          <p:cNvGrpSpPr/>
          <p:nvPr/>
        </p:nvGrpSpPr>
        <p:grpSpPr>
          <a:xfrm>
            <a:off x="4797699" y="3268243"/>
            <a:ext cx="235564" cy="341855"/>
            <a:chOff x="5441157" y="4440238"/>
            <a:chExt cx="319088" cy="465138"/>
          </a:xfrm>
          <a:solidFill>
            <a:srgbClr val="0070C0"/>
          </a:solidFill>
        </p:grpSpPr>
        <p:sp>
          <p:nvSpPr>
            <p:cNvPr id="64" name="AutoShape 97"/>
            <p:cNvSpPr/>
            <p:nvPr/>
          </p:nvSpPr>
          <p:spPr bwMode="auto">
            <a:xfrm>
              <a:off x="5441157" y="4440238"/>
              <a:ext cx="319088" cy="46513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636" y="3374"/>
                  </a:moveTo>
                  <a:lnTo>
                    <a:pt x="1963" y="3375"/>
                  </a:lnTo>
                  <a:lnTo>
                    <a:pt x="1963" y="2025"/>
                  </a:lnTo>
                  <a:cubicBezTo>
                    <a:pt x="1963" y="1653"/>
                    <a:pt x="2402" y="1350"/>
                    <a:pt x="2945" y="1350"/>
                  </a:cubicBezTo>
                  <a:lnTo>
                    <a:pt x="18654" y="1349"/>
                  </a:lnTo>
                  <a:cubicBezTo>
                    <a:pt x="19195" y="1349"/>
                    <a:pt x="19636" y="1652"/>
                    <a:pt x="19636" y="2024"/>
                  </a:cubicBezTo>
                  <a:cubicBezTo>
                    <a:pt x="19636" y="2024"/>
                    <a:pt x="19636" y="3374"/>
                    <a:pt x="19636" y="3374"/>
                  </a:cubicBezTo>
                  <a:close/>
                  <a:moveTo>
                    <a:pt x="19636" y="17546"/>
                  </a:moveTo>
                  <a:lnTo>
                    <a:pt x="1963" y="17547"/>
                  </a:lnTo>
                  <a:lnTo>
                    <a:pt x="1963" y="4050"/>
                  </a:lnTo>
                  <a:lnTo>
                    <a:pt x="19636" y="4049"/>
                  </a:lnTo>
                  <a:cubicBezTo>
                    <a:pt x="19636" y="4049"/>
                    <a:pt x="19636" y="17546"/>
                    <a:pt x="19636" y="17546"/>
                  </a:cubicBezTo>
                  <a:close/>
                  <a:moveTo>
                    <a:pt x="19636" y="19574"/>
                  </a:moveTo>
                  <a:cubicBezTo>
                    <a:pt x="19636" y="19946"/>
                    <a:pt x="19195" y="20249"/>
                    <a:pt x="18654" y="20249"/>
                  </a:cubicBezTo>
                  <a:lnTo>
                    <a:pt x="2945" y="20250"/>
                  </a:lnTo>
                  <a:cubicBezTo>
                    <a:pt x="2402" y="20250"/>
                    <a:pt x="1963" y="19947"/>
                    <a:pt x="1963" y="19575"/>
                  </a:cubicBezTo>
                  <a:lnTo>
                    <a:pt x="1963" y="18222"/>
                  </a:lnTo>
                  <a:lnTo>
                    <a:pt x="19636" y="18221"/>
                  </a:lnTo>
                  <a:cubicBezTo>
                    <a:pt x="19636" y="18221"/>
                    <a:pt x="19636" y="19574"/>
                    <a:pt x="19636" y="19574"/>
                  </a:cubicBezTo>
                  <a:close/>
                  <a:moveTo>
                    <a:pt x="18654" y="0"/>
                  </a:moveTo>
                  <a:lnTo>
                    <a:pt x="2945" y="0"/>
                  </a:lnTo>
                  <a:cubicBezTo>
                    <a:pt x="1317" y="0"/>
                    <a:pt x="0" y="907"/>
                    <a:pt x="0" y="2025"/>
                  </a:cubicBezTo>
                  <a:lnTo>
                    <a:pt x="0" y="19575"/>
                  </a:lnTo>
                  <a:cubicBezTo>
                    <a:pt x="0" y="20693"/>
                    <a:pt x="1317" y="21600"/>
                    <a:pt x="2945" y="21600"/>
                  </a:cubicBezTo>
                  <a:lnTo>
                    <a:pt x="18654" y="21599"/>
                  </a:lnTo>
                  <a:cubicBezTo>
                    <a:pt x="20280" y="21599"/>
                    <a:pt x="21600" y="20693"/>
                    <a:pt x="21600" y="19574"/>
                  </a:cubicBezTo>
                  <a:lnTo>
                    <a:pt x="21600" y="2024"/>
                  </a:lnTo>
                  <a:cubicBezTo>
                    <a:pt x="21600" y="906"/>
                    <a:pt x="20280" y="0"/>
                    <a:pt x="18654" y="0"/>
                  </a:cubicBezTo>
                </a:path>
              </a:pathLst>
            </a:custGeom>
            <a:grpFill/>
            <a:ln>
              <a:noFill/>
            </a:ln>
            <a:effectLst/>
          </p:spPr>
          <p:txBody>
            <a:bodyPr lIns="20091" tIns="20091" rIns="20091" bIns="20091" anchor="ctr"/>
            <a:lstStyle/>
            <a:p>
              <a:pPr algn="ctr" defTabSz="168275"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5" name="AutoShape 98"/>
            <p:cNvSpPr/>
            <p:nvPr/>
          </p:nvSpPr>
          <p:spPr bwMode="auto">
            <a:xfrm>
              <a:off x="5571332" y="4483894"/>
              <a:ext cx="58738"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00"/>
                  </a:moveTo>
                  <a:cubicBezTo>
                    <a:pt x="21600" y="16758"/>
                    <a:pt x="20387" y="21599"/>
                    <a:pt x="18899" y="21599"/>
                  </a:cubicBezTo>
                  <a:lnTo>
                    <a:pt x="2699" y="21599"/>
                  </a:lnTo>
                  <a:cubicBezTo>
                    <a:pt x="1202" y="21599"/>
                    <a:pt x="0" y="16758"/>
                    <a:pt x="0" y="10800"/>
                  </a:cubicBezTo>
                  <a:cubicBezTo>
                    <a:pt x="0" y="4841"/>
                    <a:pt x="1202" y="0"/>
                    <a:pt x="2699" y="0"/>
                  </a:cubicBezTo>
                  <a:lnTo>
                    <a:pt x="18899" y="0"/>
                  </a:lnTo>
                  <a:cubicBezTo>
                    <a:pt x="20387" y="0"/>
                    <a:pt x="21600" y="4841"/>
                    <a:pt x="21600" y="10800"/>
                  </a:cubicBezTo>
                </a:path>
              </a:pathLst>
            </a:custGeom>
            <a:grpFill/>
            <a:ln>
              <a:noFill/>
            </a:ln>
            <a:effectLst/>
          </p:spPr>
          <p:txBody>
            <a:bodyPr lIns="20091" tIns="20091" rIns="20091" bIns="20091" anchor="ctr"/>
            <a:lstStyle/>
            <a:p>
              <a:pPr algn="ctr" defTabSz="168275"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sp>
          <p:nvSpPr>
            <p:cNvPr id="66" name="AutoShape 99"/>
            <p:cNvSpPr/>
            <p:nvPr/>
          </p:nvSpPr>
          <p:spPr bwMode="auto">
            <a:xfrm>
              <a:off x="5586413" y="4847432"/>
              <a:ext cx="28575" cy="14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10800"/>
                  </a:moveTo>
                  <a:cubicBezTo>
                    <a:pt x="21600" y="16769"/>
                    <a:pt x="19174" y="21599"/>
                    <a:pt x="16199" y="21599"/>
                  </a:cubicBezTo>
                  <a:lnTo>
                    <a:pt x="5399" y="21599"/>
                  </a:lnTo>
                  <a:cubicBezTo>
                    <a:pt x="2404" y="21599"/>
                    <a:pt x="0" y="16769"/>
                    <a:pt x="0" y="10800"/>
                  </a:cubicBezTo>
                  <a:cubicBezTo>
                    <a:pt x="0" y="4830"/>
                    <a:pt x="2404" y="0"/>
                    <a:pt x="5399" y="0"/>
                  </a:cubicBezTo>
                  <a:lnTo>
                    <a:pt x="16199" y="0"/>
                  </a:lnTo>
                  <a:cubicBezTo>
                    <a:pt x="19174" y="0"/>
                    <a:pt x="21600" y="4830"/>
                    <a:pt x="21600" y="10800"/>
                  </a:cubicBezTo>
                </a:path>
              </a:pathLst>
            </a:custGeom>
            <a:grpFill/>
            <a:ln>
              <a:noFill/>
            </a:ln>
            <a:effectLst/>
          </p:spPr>
          <p:txBody>
            <a:bodyPr lIns="20091" tIns="20091" rIns="20091" bIns="20091" anchor="ctr"/>
            <a:lstStyle/>
            <a:p>
              <a:pPr algn="ctr" defTabSz="168275" eaLnBrk="1">
                <a:lnSpc>
                  <a:spcPct val="130000"/>
                </a:lnSpc>
                <a:defRPr/>
              </a:pPr>
              <a:endParaRPr lang="en-US" sz="900" noProof="1">
                <a:solidFill>
                  <a:schemeClr val="tx1">
                    <a:lumMod val="50000"/>
                    <a:lumOff val="50000"/>
                  </a:schemeClr>
                </a:solidFill>
                <a:effectLst>
                  <a:outerShdw blurRad="38100" dist="38100" dir="2700000" algn="tl">
                    <a:srgbClr val="000000"/>
                  </a:outerShdw>
                </a:effectLst>
                <a:latin typeface="Arial" panose="020B0604020202020204" pitchFamily="34" charset="0"/>
                <a:ea typeface="微软雅黑" panose="020B0503020204020204" pitchFamily="34" charset="-122"/>
                <a:sym typeface="Arial" panose="020B0604020202020204" pitchFamily="34" charset="0"/>
              </a:endParaRPr>
            </a:p>
          </p:txBody>
        </p:sp>
      </p:grpSp>
      <p:sp>
        <p:nvSpPr>
          <p:cNvPr id="67" name="TextBox 23"/>
          <p:cNvSpPr txBox="1">
            <a:spLocks noChangeArrowheads="1"/>
          </p:cNvSpPr>
          <p:nvPr/>
        </p:nvSpPr>
        <p:spPr bwMode="auto">
          <a:xfrm>
            <a:off x="6567488" y="1932710"/>
            <a:ext cx="1652429"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68" name="TextBox 24"/>
          <p:cNvSpPr txBox="1">
            <a:spLocks noChangeArrowheads="1"/>
          </p:cNvSpPr>
          <p:nvPr/>
        </p:nvSpPr>
        <p:spPr bwMode="auto">
          <a:xfrm>
            <a:off x="6567487" y="1651710"/>
            <a:ext cx="1134587"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anose="020B0503020204020204" pitchFamily="34" charset="-122"/>
              </a:rPr>
              <a:t>请替换文字内容</a:t>
            </a:r>
          </a:p>
        </p:txBody>
      </p:sp>
      <p:sp>
        <p:nvSpPr>
          <p:cNvPr id="69" name="TextBox 23"/>
          <p:cNvSpPr txBox="1">
            <a:spLocks noChangeArrowheads="1"/>
          </p:cNvSpPr>
          <p:nvPr/>
        </p:nvSpPr>
        <p:spPr bwMode="auto">
          <a:xfrm>
            <a:off x="5480685" y="3919629"/>
            <a:ext cx="1652429"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0" name="TextBox 24"/>
          <p:cNvSpPr txBox="1">
            <a:spLocks noChangeArrowheads="1"/>
          </p:cNvSpPr>
          <p:nvPr/>
        </p:nvSpPr>
        <p:spPr bwMode="auto">
          <a:xfrm>
            <a:off x="5480685" y="3638629"/>
            <a:ext cx="1134587"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anose="020B0503020204020204" pitchFamily="34" charset="-122"/>
              </a:rPr>
              <a:t>请替换文字内容</a:t>
            </a:r>
          </a:p>
        </p:txBody>
      </p:sp>
      <p:sp>
        <p:nvSpPr>
          <p:cNvPr id="71" name="TextBox 23"/>
          <p:cNvSpPr txBox="1">
            <a:spLocks noChangeArrowheads="1"/>
          </p:cNvSpPr>
          <p:nvPr/>
        </p:nvSpPr>
        <p:spPr bwMode="auto">
          <a:xfrm>
            <a:off x="4168299" y="1932710"/>
            <a:ext cx="1652428"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2" name="TextBox 24"/>
          <p:cNvSpPr txBox="1">
            <a:spLocks noChangeArrowheads="1"/>
          </p:cNvSpPr>
          <p:nvPr/>
        </p:nvSpPr>
        <p:spPr bwMode="auto">
          <a:xfrm>
            <a:off x="4168299" y="1651710"/>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anose="020B0503020204020204" pitchFamily="34" charset="-122"/>
              </a:rPr>
              <a:t>请替换文字内容</a:t>
            </a:r>
          </a:p>
        </p:txBody>
      </p:sp>
      <p:sp>
        <p:nvSpPr>
          <p:cNvPr id="73" name="TextBox 23"/>
          <p:cNvSpPr txBox="1">
            <a:spLocks noChangeArrowheads="1"/>
          </p:cNvSpPr>
          <p:nvPr/>
        </p:nvSpPr>
        <p:spPr bwMode="auto">
          <a:xfrm>
            <a:off x="3218180" y="3919629"/>
            <a:ext cx="1652429"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4" name="TextBox 24"/>
          <p:cNvSpPr txBox="1">
            <a:spLocks noChangeArrowheads="1"/>
          </p:cNvSpPr>
          <p:nvPr/>
        </p:nvSpPr>
        <p:spPr bwMode="auto">
          <a:xfrm>
            <a:off x="3218180" y="3638629"/>
            <a:ext cx="1134587"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anose="020B0503020204020204" pitchFamily="34" charset="-122"/>
              </a:rPr>
              <a:t>请替换文字内容</a:t>
            </a:r>
          </a:p>
        </p:txBody>
      </p:sp>
      <p:sp>
        <p:nvSpPr>
          <p:cNvPr id="75" name="TextBox 23"/>
          <p:cNvSpPr txBox="1">
            <a:spLocks noChangeArrowheads="1"/>
          </p:cNvSpPr>
          <p:nvPr/>
        </p:nvSpPr>
        <p:spPr bwMode="auto">
          <a:xfrm>
            <a:off x="1956912" y="1932710"/>
            <a:ext cx="1652428"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6" name="TextBox 24"/>
          <p:cNvSpPr txBox="1">
            <a:spLocks noChangeArrowheads="1"/>
          </p:cNvSpPr>
          <p:nvPr/>
        </p:nvSpPr>
        <p:spPr bwMode="auto">
          <a:xfrm>
            <a:off x="1956912" y="1651710"/>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anose="020B0503020204020204" pitchFamily="34" charset="-122"/>
              </a:rPr>
              <a:t>请替换文字内容</a:t>
            </a:r>
          </a:p>
        </p:txBody>
      </p:sp>
      <p:sp>
        <p:nvSpPr>
          <p:cNvPr id="77" name="TextBox 23"/>
          <p:cNvSpPr txBox="1">
            <a:spLocks noChangeArrowheads="1"/>
          </p:cNvSpPr>
          <p:nvPr/>
        </p:nvSpPr>
        <p:spPr bwMode="auto">
          <a:xfrm>
            <a:off x="903447" y="3919629"/>
            <a:ext cx="1652428"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8" name="TextBox 24"/>
          <p:cNvSpPr txBox="1">
            <a:spLocks noChangeArrowheads="1"/>
          </p:cNvSpPr>
          <p:nvPr/>
        </p:nvSpPr>
        <p:spPr bwMode="auto">
          <a:xfrm>
            <a:off x="903447" y="3638629"/>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rgbClr val="00A4E3"/>
                </a:solidFill>
                <a:ea typeface="微软雅黑" panose="020B0503020204020204" pitchFamily="34" charset="-122"/>
              </a:rPr>
              <a:t>请替换文字内容</a:t>
            </a:r>
          </a:p>
        </p:txBody>
      </p:sp>
      <p:sp>
        <p:nvSpPr>
          <p:cNvPr id="79" name="平行四边形 78"/>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0" name="平行四边形 79"/>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1" name="平行四边形 80"/>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2" name="平行四边形 81"/>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83" name="直接连接符 82"/>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84"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85" name="Group 7"/>
          <p:cNvGrpSpPr/>
          <p:nvPr/>
        </p:nvGrpSpPr>
        <p:grpSpPr bwMode="auto">
          <a:xfrm>
            <a:off x="180202" y="181952"/>
            <a:ext cx="216018" cy="113981"/>
            <a:chOff x="0" y="0"/>
            <a:chExt cx="1041399" cy="549275"/>
          </a:xfrm>
          <a:solidFill>
            <a:srgbClr val="133E73"/>
          </a:solidFill>
        </p:grpSpPr>
        <p:sp>
          <p:nvSpPr>
            <p:cNvPr id="86"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7"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8"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89"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85"/>
                                        </p:tgtEl>
                                        <p:attrNameLst>
                                          <p:attrName>style.visibility</p:attrName>
                                        </p:attrNameLst>
                                      </p:cBhvr>
                                      <p:to>
                                        <p:strVal val="visible"/>
                                      </p:to>
                                    </p:set>
                                    <p:anim calcmode="lin" valueType="num">
                                      <p:cBhvr additive="base">
                                        <p:cTn id="7" dur="500" fill="hold"/>
                                        <p:tgtEl>
                                          <p:spTgt spid="85"/>
                                        </p:tgtEl>
                                        <p:attrNameLst>
                                          <p:attrName>ppt_x</p:attrName>
                                        </p:attrNameLst>
                                      </p:cBhvr>
                                      <p:tavLst>
                                        <p:tav tm="0">
                                          <p:val>
                                            <p:strVal val="0-#ppt_w/2"/>
                                          </p:val>
                                        </p:tav>
                                        <p:tav tm="100000">
                                          <p:val>
                                            <p:strVal val="#ppt_x"/>
                                          </p:val>
                                        </p:tav>
                                      </p:tavLst>
                                    </p:anim>
                                    <p:anim calcmode="lin" valueType="num">
                                      <p:cBhvr additive="base">
                                        <p:cTn id="8" dur="500" fill="hold"/>
                                        <p:tgtEl>
                                          <p:spTgt spid="8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84"/>
                                        </p:tgtEl>
                                        <p:attrNameLst>
                                          <p:attrName>style.visibility</p:attrName>
                                        </p:attrNameLst>
                                      </p:cBhvr>
                                      <p:to>
                                        <p:strVal val="visible"/>
                                      </p:to>
                                    </p:set>
                                    <p:anim calcmode="lin" valueType="num">
                                      <p:cBhvr>
                                        <p:cTn id="12" dur="500" fill="hold"/>
                                        <p:tgtEl>
                                          <p:spTgt spid="84"/>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84"/>
                                        </p:tgtEl>
                                        <p:attrNameLst>
                                          <p:attrName>ppt_y</p:attrName>
                                        </p:attrNameLst>
                                      </p:cBhvr>
                                      <p:tavLst>
                                        <p:tav tm="0">
                                          <p:val>
                                            <p:strVal val="#ppt_y"/>
                                          </p:val>
                                        </p:tav>
                                        <p:tav tm="100000">
                                          <p:val>
                                            <p:strVal val="#ppt_y"/>
                                          </p:val>
                                        </p:tav>
                                      </p:tavLst>
                                    </p:anim>
                                    <p:anim calcmode="lin" valueType="num">
                                      <p:cBhvr>
                                        <p:cTn id="14" dur="500" fill="hold"/>
                                        <p:tgtEl>
                                          <p:spTgt spid="84"/>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84"/>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84"/>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81"/>
                                        </p:tgtEl>
                                        <p:attrNameLst>
                                          <p:attrName>fillcolor</p:attrName>
                                        </p:attrNameLst>
                                      </p:cBhvr>
                                      <p:to>
                                        <a:srgbClr val="00AEEF"/>
                                      </p:to>
                                    </p:animClr>
                                    <p:set>
                                      <p:cBhvr>
                                        <p:cTn id="20" dur="300" fill="hold"/>
                                        <p:tgtEl>
                                          <p:spTgt spid="81"/>
                                        </p:tgtEl>
                                        <p:attrNameLst>
                                          <p:attrName>fill.type</p:attrName>
                                        </p:attrNameLst>
                                      </p:cBhvr>
                                      <p:to>
                                        <p:strVal val="solid"/>
                                      </p:to>
                                    </p:set>
                                    <p:set>
                                      <p:cBhvr>
                                        <p:cTn id="21" dur="300" fill="hold"/>
                                        <p:tgtEl>
                                          <p:spTgt spid="81"/>
                                        </p:tgtEl>
                                        <p:attrNameLst>
                                          <p:attrName>fill.on</p:attrName>
                                        </p:attrNameLst>
                                      </p:cBhvr>
                                      <p:to>
                                        <p:strVal val="true"/>
                                      </p:to>
                                    </p:set>
                                  </p:childTnLst>
                                </p:cTn>
                              </p:par>
                            </p:childTnLst>
                          </p:cTn>
                        </p:par>
                        <p:par>
                          <p:cTn id="22" fill="hold">
                            <p:stCondLst>
                              <p:cond delay="1799"/>
                            </p:stCondLst>
                            <p:childTnLst>
                              <p:par>
                                <p:cTn id="23" presetID="2" presetClass="entr" presetSubtype="8" fill="hold" nodeType="afterEffect">
                                  <p:stCondLst>
                                    <p:cond delay="0"/>
                                  </p:stCondLst>
                                  <p:childTnLst>
                                    <p:set>
                                      <p:cBhvr>
                                        <p:cTn id="24" dur="1" fill="hold">
                                          <p:stCondLst>
                                            <p:cond delay="0"/>
                                          </p:stCondLst>
                                        </p:cTn>
                                        <p:tgtEl>
                                          <p:spTgt spid="30"/>
                                        </p:tgtEl>
                                        <p:attrNameLst>
                                          <p:attrName>style.visibility</p:attrName>
                                        </p:attrNameLst>
                                      </p:cBhvr>
                                      <p:to>
                                        <p:strVal val="visible"/>
                                      </p:to>
                                    </p:set>
                                    <p:anim calcmode="lin" valueType="num">
                                      <p:cBhvr>
                                        <p:cTn id="25" dur="500" fill="hold"/>
                                        <p:tgtEl>
                                          <p:spTgt spid="30"/>
                                        </p:tgtEl>
                                        <p:attrNameLst>
                                          <p:attrName>ppt_x</p:attrName>
                                        </p:attrNameLst>
                                      </p:cBhvr>
                                      <p:tavLst>
                                        <p:tav tm="0">
                                          <p:val>
                                            <p:strVal val="0-#ppt_w/2"/>
                                          </p:val>
                                        </p:tav>
                                        <p:tav tm="100000">
                                          <p:val>
                                            <p:strVal val="#ppt_x"/>
                                          </p:val>
                                        </p:tav>
                                      </p:tavLst>
                                    </p:anim>
                                    <p:anim calcmode="lin" valueType="num">
                                      <p:cBhvr>
                                        <p:cTn id="26" dur="500" fill="hold"/>
                                        <p:tgtEl>
                                          <p:spTgt spid="30"/>
                                        </p:tgtEl>
                                        <p:attrNameLst>
                                          <p:attrName>ppt_y</p:attrName>
                                        </p:attrNameLst>
                                      </p:cBhvr>
                                      <p:tavLst>
                                        <p:tav tm="0">
                                          <p:val>
                                            <p:strVal val="#ppt_y"/>
                                          </p:val>
                                        </p:tav>
                                        <p:tav tm="100000">
                                          <p:val>
                                            <p:strVal val="#ppt_y"/>
                                          </p:val>
                                        </p:tav>
                                      </p:tavLst>
                                    </p:anim>
                                  </p:childTnLst>
                                </p:cTn>
                              </p:par>
                            </p:childTnLst>
                          </p:cTn>
                        </p:par>
                        <p:par>
                          <p:cTn id="27" fill="hold">
                            <p:stCondLst>
                              <p:cond delay="2299"/>
                            </p:stCondLst>
                            <p:childTnLst>
                              <p:par>
                                <p:cTn id="28" presetID="53" presetClass="entr" presetSubtype="16" fill="hold" nodeType="afterEffect">
                                  <p:stCondLst>
                                    <p:cond delay="0"/>
                                  </p:stCondLst>
                                  <p:childTnLst>
                                    <p:set>
                                      <p:cBhvr>
                                        <p:cTn id="29" dur="1" fill="hold">
                                          <p:stCondLst>
                                            <p:cond delay="0"/>
                                          </p:stCondLst>
                                        </p:cTn>
                                        <p:tgtEl>
                                          <p:spTgt spid="36"/>
                                        </p:tgtEl>
                                        <p:attrNameLst>
                                          <p:attrName>style.visibility</p:attrName>
                                        </p:attrNameLst>
                                      </p:cBhvr>
                                      <p:to>
                                        <p:strVal val="visible"/>
                                      </p:to>
                                    </p:set>
                                    <p:anim calcmode="lin" valueType="num">
                                      <p:cBhvr>
                                        <p:cTn id="30" dur="500" fill="hold"/>
                                        <p:tgtEl>
                                          <p:spTgt spid="36"/>
                                        </p:tgtEl>
                                        <p:attrNameLst>
                                          <p:attrName>ppt_w</p:attrName>
                                        </p:attrNameLst>
                                      </p:cBhvr>
                                      <p:tavLst>
                                        <p:tav tm="0">
                                          <p:val>
                                            <p:fltVal val="0"/>
                                          </p:val>
                                        </p:tav>
                                        <p:tav tm="100000">
                                          <p:val>
                                            <p:strVal val="#ppt_w"/>
                                          </p:val>
                                        </p:tav>
                                      </p:tavLst>
                                    </p:anim>
                                    <p:anim calcmode="lin" valueType="num">
                                      <p:cBhvr>
                                        <p:cTn id="31" dur="500" fill="hold"/>
                                        <p:tgtEl>
                                          <p:spTgt spid="36"/>
                                        </p:tgtEl>
                                        <p:attrNameLst>
                                          <p:attrName>ppt_h</p:attrName>
                                        </p:attrNameLst>
                                      </p:cBhvr>
                                      <p:tavLst>
                                        <p:tav tm="0">
                                          <p:val>
                                            <p:fltVal val="0"/>
                                          </p:val>
                                        </p:tav>
                                        <p:tav tm="100000">
                                          <p:val>
                                            <p:strVal val="#ppt_h"/>
                                          </p:val>
                                        </p:tav>
                                      </p:tavLst>
                                    </p:anim>
                                    <p:animEffect transition="in" filter="fade">
                                      <p:cBhvr>
                                        <p:cTn id="32" dur="500"/>
                                        <p:tgtEl>
                                          <p:spTgt spid="36"/>
                                        </p:tgtEl>
                                      </p:cBhvr>
                                    </p:animEffect>
                                  </p:childTnLst>
                                </p:cTn>
                              </p:par>
                            </p:childTnLst>
                          </p:cTn>
                        </p:par>
                        <p:par>
                          <p:cTn id="33" fill="hold">
                            <p:stCondLst>
                              <p:cond delay="2799"/>
                            </p:stCondLst>
                            <p:childTnLst>
                              <p:par>
                                <p:cTn id="34" presetID="12" presetClass="entr" presetSubtype="4" fill="hold" grpId="0" nodeType="afterEffect">
                                  <p:stCondLst>
                                    <p:cond delay="0"/>
                                  </p:stCondLst>
                                  <p:childTnLst>
                                    <p:set>
                                      <p:cBhvr>
                                        <p:cTn id="35" dur="1" fill="hold">
                                          <p:stCondLst>
                                            <p:cond delay="0"/>
                                          </p:stCondLst>
                                        </p:cTn>
                                        <p:tgtEl>
                                          <p:spTgt spid="67"/>
                                        </p:tgtEl>
                                        <p:attrNameLst>
                                          <p:attrName>style.visibility</p:attrName>
                                        </p:attrNameLst>
                                      </p:cBhvr>
                                      <p:to>
                                        <p:strVal val="visible"/>
                                      </p:to>
                                    </p:set>
                                    <p:anim calcmode="lin" valueType="num">
                                      <p:cBhvr>
                                        <p:cTn id="36" dur="500"/>
                                        <p:tgtEl>
                                          <p:spTgt spid="67"/>
                                        </p:tgtEl>
                                        <p:attrNameLst>
                                          <p:attrName>ppt_y</p:attrName>
                                        </p:attrNameLst>
                                      </p:cBhvr>
                                      <p:tavLst>
                                        <p:tav tm="0">
                                          <p:val>
                                            <p:strVal val="#ppt_y+#ppt_h*1.125000"/>
                                          </p:val>
                                        </p:tav>
                                        <p:tav tm="100000">
                                          <p:val>
                                            <p:strVal val="#ppt_y"/>
                                          </p:val>
                                        </p:tav>
                                      </p:tavLst>
                                    </p:anim>
                                    <p:animEffect transition="in" filter="wipe(up)">
                                      <p:cBhvr>
                                        <p:cTn id="37" dur="500"/>
                                        <p:tgtEl>
                                          <p:spTgt spid="67"/>
                                        </p:tgtEl>
                                      </p:cBhvr>
                                    </p:animEffect>
                                  </p:childTnLst>
                                </p:cTn>
                              </p:par>
                              <p:par>
                                <p:cTn id="38" presetID="12" presetClass="entr" presetSubtype="1" fill="hold" grpId="0" nodeType="withEffect">
                                  <p:stCondLst>
                                    <p:cond delay="0"/>
                                  </p:stCondLst>
                                  <p:childTnLst>
                                    <p:set>
                                      <p:cBhvr>
                                        <p:cTn id="39" dur="1" fill="hold">
                                          <p:stCondLst>
                                            <p:cond delay="0"/>
                                          </p:stCondLst>
                                        </p:cTn>
                                        <p:tgtEl>
                                          <p:spTgt spid="68"/>
                                        </p:tgtEl>
                                        <p:attrNameLst>
                                          <p:attrName>style.visibility</p:attrName>
                                        </p:attrNameLst>
                                      </p:cBhvr>
                                      <p:to>
                                        <p:strVal val="visible"/>
                                      </p:to>
                                    </p:set>
                                    <p:anim calcmode="lin" valueType="num">
                                      <p:cBhvr>
                                        <p:cTn id="40" dur="500"/>
                                        <p:tgtEl>
                                          <p:spTgt spid="68"/>
                                        </p:tgtEl>
                                        <p:attrNameLst>
                                          <p:attrName>ppt_y</p:attrName>
                                        </p:attrNameLst>
                                      </p:cBhvr>
                                      <p:tavLst>
                                        <p:tav tm="0">
                                          <p:val>
                                            <p:strVal val="#ppt_y-#ppt_h*1.125000"/>
                                          </p:val>
                                        </p:tav>
                                        <p:tav tm="100000">
                                          <p:val>
                                            <p:strVal val="#ppt_y"/>
                                          </p:val>
                                        </p:tav>
                                      </p:tavLst>
                                    </p:anim>
                                    <p:animEffect transition="in" filter="wipe(down)">
                                      <p:cBhvr>
                                        <p:cTn id="41" dur="500"/>
                                        <p:tgtEl>
                                          <p:spTgt spid="68"/>
                                        </p:tgtEl>
                                      </p:cBhvr>
                                    </p:animEffect>
                                  </p:childTnLst>
                                </p:cTn>
                              </p:par>
                            </p:childTnLst>
                          </p:cTn>
                        </p:par>
                        <p:par>
                          <p:cTn id="42" fill="hold">
                            <p:stCondLst>
                              <p:cond delay="3299"/>
                            </p:stCondLst>
                            <p:childTnLst>
                              <p:par>
                                <p:cTn id="43" presetID="2" presetClass="entr" presetSubtype="8" fill="hold" nodeType="afterEffect">
                                  <p:stCondLst>
                                    <p:cond delay="0"/>
                                  </p:stCondLst>
                                  <p:childTnLst>
                                    <p:set>
                                      <p:cBhvr>
                                        <p:cTn id="44" dur="1" fill="hold">
                                          <p:stCondLst>
                                            <p:cond delay="0"/>
                                          </p:stCondLst>
                                        </p:cTn>
                                        <p:tgtEl>
                                          <p:spTgt spid="33"/>
                                        </p:tgtEl>
                                        <p:attrNameLst>
                                          <p:attrName>style.visibility</p:attrName>
                                        </p:attrNameLst>
                                      </p:cBhvr>
                                      <p:to>
                                        <p:strVal val="visible"/>
                                      </p:to>
                                    </p:set>
                                    <p:anim calcmode="lin" valueType="num">
                                      <p:cBhvr>
                                        <p:cTn id="45" dur="500" fill="hold"/>
                                        <p:tgtEl>
                                          <p:spTgt spid="33"/>
                                        </p:tgtEl>
                                        <p:attrNameLst>
                                          <p:attrName>ppt_x</p:attrName>
                                        </p:attrNameLst>
                                      </p:cBhvr>
                                      <p:tavLst>
                                        <p:tav tm="0">
                                          <p:val>
                                            <p:strVal val="0-#ppt_w/2"/>
                                          </p:val>
                                        </p:tav>
                                        <p:tav tm="100000">
                                          <p:val>
                                            <p:strVal val="#ppt_x"/>
                                          </p:val>
                                        </p:tav>
                                      </p:tavLst>
                                    </p:anim>
                                    <p:anim calcmode="lin" valueType="num">
                                      <p:cBhvr>
                                        <p:cTn id="46" dur="500" fill="hold"/>
                                        <p:tgtEl>
                                          <p:spTgt spid="33"/>
                                        </p:tgtEl>
                                        <p:attrNameLst>
                                          <p:attrName>ppt_y</p:attrName>
                                        </p:attrNameLst>
                                      </p:cBhvr>
                                      <p:tavLst>
                                        <p:tav tm="0">
                                          <p:val>
                                            <p:strVal val="#ppt_y"/>
                                          </p:val>
                                        </p:tav>
                                        <p:tav tm="100000">
                                          <p:val>
                                            <p:strVal val="#ppt_y"/>
                                          </p:val>
                                        </p:tav>
                                      </p:tavLst>
                                    </p:anim>
                                  </p:childTnLst>
                                </p:cTn>
                              </p:par>
                            </p:childTnLst>
                          </p:cTn>
                        </p:par>
                        <p:par>
                          <p:cTn id="47" fill="hold">
                            <p:stCondLst>
                              <p:cond delay="3799"/>
                            </p:stCondLst>
                            <p:childTnLst>
                              <p:par>
                                <p:cTn id="48" presetID="53" presetClass="entr" presetSubtype="16" fill="hold" nodeType="afterEffect">
                                  <p:stCondLst>
                                    <p:cond delay="0"/>
                                  </p:stCondLst>
                                  <p:childTnLst>
                                    <p:set>
                                      <p:cBhvr>
                                        <p:cTn id="49" dur="1" fill="hold">
                                          <p:stCondLst>
                                            <p:cond delay="0"/>
                                          </p:stCondLst>
                                        </p:cTn>
                                        <p:tgtEl>
                                          <p:spTgt spid="46"/>
                                        </p:tgtEl>
                                        <p:attrNameLst>
                                          <p:attrName>style.visibility</p:attrName>
                                        </p:attrNameLst>
                                      </p:cBhvr>
                                      <p:to>
                                        <p:strVal val="visible"/>
                                      </p:to>
                                    </p:set>
                                    <p:anim calcmode="lin" valueType="num">
                                      <p:cBhvr>
                                        <p:cTn id="50" dur="500" fill="hold"/>
                                        <p:tgtEl>
                                          <p:spTgt spid="46"/>
                                        </p:tgtEl>
                                        <p:attrNameLst>
                                          <p:attrName>ppt_w</p:attrName>
                                        </p:attrNameLst>
                                      </p:cBhvr>
                                      <p:tavLst>
                                        <p:tav tm="0">
                                          <p:val>
                                            <p:fltVal val="0"/>
                                          </p:val>
                                        </p:tav>
                                        <p:tav tm="100000">
                                          <p:val>
                                            <p:strVal val="#ppt_w"/>
                                          </p:val>
                                        </p:tav>
                                      </p:tavLst>
                                    </p:anim>
                                    <p:anim calcmode="lin" valueType="num">
                                      <p:cBhvr>
                                        <p:cTn id="51" dur="500" fill="hold"/>
                                        <p:tgtEl>
                                          <p:spTgt spid="46"/>
                                        </p:tgtEl>
                                        <p:attrNameLst>
                                          <p:attrName>ppt_h</p:attrName>
                                        </p:attrNameLst>
                                      </p:cBhvr>
                                      <p:tavLst>
                                        <p:tav tm="0">
                                          <p:val>
                                            <p:fltVal val="0"/>
                                          </p:val>
                                        </p:tav>
                                        <p:tav tm="100000">
                                          <p:val>
                                            <p:strVal val="#ppt_h"/>
                                          </p:val>
                                        </p:tav>
                                      </p:tavLst>
                                    </p:anim>
                                    <p:animEffect transition="in" filter="fade">
                                      <p:cBhvr>
                                        <p:cTn id="52" dur="500"/>
                                        <p:tgtEl>
                                          <p:spTgt spid="46"/>
                                        </p:tgtEl>
                                      </p:cBhvr>
                                    </p:animEffect>
                                  </p:childTnLst>
                                </p:cTn>
                              </p:par>
                            </p:childTnLst>
                          </p:cTn>
                        </p:par>
                        <p:par>
                          <p:cTn id="53" fill="hold">
                            <p:stCondLst>
                              <p:cond delay="4299"/>
                            </p:stCondLst>
                            <p:childTnLst>
                              <p:par>
                                <p:cTn id="54" presetID="12" presetClass="entr" presetSubtype="4" fill="hold" grpId="0" nodeType="afterEffect">
                                  <p:stCondLst>
                                    <p:cond delay="0"/>
                                  </p:stCondLst>
                                  <p:childTnLst>
                                    <p:set>
                                      <p:cBhvr>
                                        <p:cTn id="55" dur="1" fill="hold">
                                          <p:stCondLst>
                                            <p:cond delay="0"/>
                                          </p:stCondLst>
                                        </p:cTn>
                                        <p:tgtEl>
                                          <p:spTgt spid="69"/>
                                        </p:tgtEl>
                                        <p:attrNameLst>
                                          <p:attrName>style.visibility</p:attrName>
                                        </p:attrNameLst>
                                      </p:cBhvr>
                                      <p:to>
                                        <p:strVal val="visible"/>
                                      </p:to>
                                    </p:set>
                                    <p:anim calcmode="lin" valueType="num">
                                      <p:cBhvr>
                                        <p:cTn id="56" dur="500"/>
                                        <p:tgtEl>
                                          <p:spTgt spid="69"/>
                                        </p:tgtEl>
                                        <p:attrNameLst>
                                          <p:attrName>ppt_y</p:attrName>
                                        </p:attrNameLst>
                                      </p:cBhvr>
                                      <p:tavLst>
                                        <p:tav tm="0">
                                          <p:val>
                                            <p:strVal val="#ppt_y+#ppt_h*1.125000"/>
                                          </p:val>
                                        </p:tav>
                                        <p:tav tm="100000">
                                          <p:val>
                                            <p:strVal val="#ppt_y"/>
                                          </p:val>
                                        </p:tav>
                                      </p:tavLst>
                                    </p:anim>
                                    <p:animEffect transition="in" filter="wipe(up)">
                                      <p:cBhvr>
                                        <p:cTn id="57" dur="500"/>
                                        <p:tgtEl>
                                          <p:spTgt spid="69"/>
                                        </p:tgtEl>
                                      </p:cBhvr>
                                    </p:animEffect>
                                  </p:childTnLst>
                                </p:cTn>
                              </p:par>
                              <p:par>
                                <p:cTn id="58" presetID="12" presetClass="entr" presetSubtype="1" fill="hold" grpId="0" nodeType="withEffect">
                                  <p:stCondLst>
                                    <p:cond delay="0"/>
                                  </p:stCondLst>
                                  <p:childTnLst>
                                    <p:set>
                                      <p:cBhvr>
                                        <p:cTn id="59" dur="1" fill="hold">
                                          <p:stCondLst>
                                            <p:cond delay="0"/>
                                          </p:stCondLst>
                                        </p:cTn>
                                        <p:tgtEl>
                                          <p:spTgt spid="70"/>
                                        </p:tgtEl>
                                        <p:attrNameLst>
                                          <p:attrName>style.visibility</p:attrName>
                                        </p:attrNameLst>
                                      </p:cBhvr>
                                      <p:to>
                                        <p:strVal val="visible"/>
                                      </p:to>
                                    </p:set>
                                    <p:anim calcmode="lin" valueType="num">
                                      <p:cBhvr>
                                        <p:cTn id="60" dur="500"/>
                                        <p:tgtEl>
                                          <p:spTgt spid="70"/>
                                        </p:tgtEl>
                                        <p:attrNameLst>
                                          <p:attrName>ppt_y</p:attrName>
                                        </p:attrNameLst>
                                      </p:cBhvr>
                                      <p:tavLst>
                                        <p:tav tm="0">
                                          <p:val>
                                            <p:strVal val="#ppt_y-#ppt_h*1.125000"/>
                                          </p:val>
                                        </p:tav>
                                        <p:tav tm="100000">
                                          <p:val>
                                            <p:strVal val="#ppt_y"/>
                                          </p:val>
                                        </p:tav>
                                      </p:tavLst>
                                    </p:anim>
                                    <p:animEffect transition="in" filter="wipe(down)">
                                      <p:cBhvr>
                                        <p:cTn id="61" dur="500"/>
                                        <p:tgtEl>
                                          <p:spTgt spid="70"/>
                                        </p:tgtEl>
                                      </p:cBhvr>
                                    </p:animEffect>
                                  </p:childTnLst>
                                </p:cTn>
                              </p:par>
                            </p:childTnLst>
                          </p:cTn>
                        </p:par>
                        <p:par>
                          <p:cTn id="62" fill="hold">
                            <p:stCondLst>
                              <p:cond delay="4799"/>
                            </p:stCondLst>
                            <p:childTnLst>
                              <p:par>
                                <p:cTn id="63" presetID="2" presetClass="entr" presetSubtype="8" fill="hold" nodeType="afterEffect">
                                  <p:stCondLst>
                                    <p:cond delay="0"/>
                                  </p:stCondLst>
                                  <p:childTnLst>
                                    <p:set>
                                      <p:cBhvr>
                                        <p:cTn id="64" dur="1" fill="hold">
                                          <p:stCondLst>
                                            <p:cond delay="0"/>
                                          </p:stCondLst>
                                        </p:cTn>
                                        <p:tgtEl>
                                          <p:spTgt spid="27"/>
                                        </p:tgtEl>
                                        <p:attrNameLst>
                                          <p:attrName>style.visibility</p:attrName>
                                        </p:attrNameLst>
                                      </p:cBhvr>
                                      <p:to>
                                        <p:strVal val="visible"/>
                                      </p:to>
                                    </p:set>
                                    <p:anim calcmode="lin" valueType="num">
                                      <p:cBhvr>
                                        <p:cTn id="65" dur="500" fill="hold"/>
                                        <p:tgtEl>
                                          <p:spTgt spid="27"/>
                                        </p:tgtEl>
                                        <p:attrNameLst>
                                          <p:attrName>ppt_x</p:attrName>
                                        </p:attrNameLst>
                                      </p:cBhvr>
                                      <p:tavLst>
                                        <p:tav tm="0">
                                          <p:val>
                                            <p:strVal val="0-#ppt_w/2"/>
                                          </p:val>
                                        </p:tav>
                                        <p:tav tm="100000">
                                          <p:val>
                                            <p:strVal val="#ppt_x"/>
                                          </p:val>
                                        </p:tav>
                                      </p:tavLst>
                                    </p:anim>
                                    <p:anim calcmode="lin" valueType="num">
                                      <p:cBhvr>
                                        <p:cTn id="66" dur="500" fill="hold"/>
                                        <p:tgtEl>
                                          <p:spTgt spid="27"/>
                                        </p:tgtEl>
                                        <p:attrNameLst>
                                          <p:attrName>ppt_y</p:attrName>
                                        </p:attrNameLst>
                                      </p:cBhvr>
                                      <p:tavLst>
                                        <p:tav tm="0">
                                          <p:val>
                                            <p:strVal val="#ppt_y"/>
                                          </p:val>
                                        </p:tav>
                                        <p:tav tm="100000">
                                          <p:val>
                                            <p:strVal val="#ppt_y"/>
                                          </p:val>
                                        </p:tav>
                                      </p:tavLst>
                                    </p:anim>
                                  </p:childTnLst>
                                </p:cTn>
                              </p:par>
                            </p:childTnLst>
                          </p:cTn>
                        </p:par>
                        <p:par>
                          <p:cTn id="67" fill="hold">
                            <p:stCondLst>
                              <p:cond delay="5299"/>
                            </p:stCondLst>
                            <p:childTnLst>
                              <p:par>
                                <p:cTn id="68" presetID="53" presetClass="entr" presetSubtype="16" fill="hold" nodeType="afterEffect">
                                  <p:stCondLst>
                                    <p:cond delay="0"/>
                                  </p:stCondLst>
                                  <p:childTnLst>
                                    <p:set>
                                      <p:cBhvr>
                                        <p:cTn id="69" dur="1" fill="hold">
                                          <p:stCondLst>
                                            <p:cond delay="0"/>
                                          </p:stCondLst>
                                        </p:cTn>
                                        <p:tgtEl>
                                          <p:spTgt spid="63"/>
                                        </p:tgtEl>
                                        <p:attrNameLst>
                                          <p:attrName>style.visibility</p:attrName>
                                        </p:attrNameLst>
                                      </p:cBhvr>
                                      <p:to>
                                        <p:strVal val="visible"/>
                                      </p:to>
                                    </p:set>
                                    <p:anim calcmode="lin" valueType="num">
                                      <p:cBhvr>
                                        <p:cTn id="70" dur="500" fill="hold"/>
                                        <p:tgtEl>
                                          <p:spTgt spid="63"/>
                                        </p:tgtEl>
                                        <p:attrNameLst>
                                          <p:attrName>ppt_w</p:attrName>
                                        </p:attrNameLst>
                                      </p:cBhvr>
                                      <p:tavLst>
                                        <p:tav tm="0">
                                          <p:val>
                                            <p:fltVal val="0"/>
                                          </p:val>
                                        </p:tav>
                                        <p:tav tm="100000">
                                          <p:val>
                                            <p:strVal val="#ppt_w"/>
                                          </p:val>
                                        </p:tav>
                                      </p:tavLst>
                                    </p:anim>
                                    <p:anim calcmode="lin" valueType="num">
                                      <p:cBhvr>
                                        <p:cTn id="71" dur="500" fill="hold"/>
                                        <p:tgtEl>
                                          <p:spTgt spid="63"/>
                                        </p:tgtEl>
                                        <p:attrNameLst>
                                          <p:attrName>ppt_h</p:attrName>
                                        </p:attrNameLst>
                                      </p:cBhvr>
                                      <p:tavLst>
                                        <p:tav tm="0">
                                          <p:val>
                                            <p:fltVal val="0"/>
                                          </p:val>
                                        </p:tav>
                                        <p:tav tm="100000">
                                          <p:val>
                                            <p:strVal val="#ppt_h"/>
                                          </p:val>
                                        </p:tav>
                                      </p:tavLst>
                                    </p:anim>
                                    <p:animEffect transition="in" filter="fade">
                                      <p:cBhvr>
                                        <p:cTn id="72" dur="500"/>
                                        <p:tgtEl>
                                          <p:spTgt spid="63"/>
                                        </p:tgtEl>
                                      </p:cBhvr>
                                    </p:animEffect>
                                  </p:childTnLst>
                                </p:cTn>
                              </p:par>
                            </p:childTnLst>
                          </p:cTn>
                        </p:par>
                        <p:par>
                          <p:cTn id="73" fill="hold">
                            <p:stCondLst>
                              <p:cond delay="5799"/>
                            </p:stCondLst>
                            <p:childTnLst>
                              <p:par>
                                <p:cTn id="74" presetID="12" presetClass="entr" presetSubtype="4" fill="hold" grpId="0" nodeType="afterEffect">
                                  <p:stCondLst>
                                    <p:cond delay="0"/>
                                  </p:stCondLst>
                                  <p:childTnLst>
                                    <p:set>
                                      <p:cBhvr>
                                        <p:cTn id="75" dur="1" fill="hold">
                                          <p:stCondLst>
                                            <p:cond delay="0"/>
                                          </p:stCondLst>
                                        </p:cTn>
                                        <p:tgtEl>
                                          <p:spTgt spid="71"/>
                                        </p:tgtEl>
                                        <p:attrNameLst>
                                          <p:attrName>style.visibility</p:attrName>
                                        </p:attrNameLst>
                                      </p:cBhvr>
                                      <p:to>
                                        <p:strVal val="visible"/>
                                      </p:to>
                                    </p:set>
                                    <p:anim calcmode="lin" valueType="num">
                                      <p:cBhvr>
                                        <p:cTn id="76" dur="500"/>
                                        <p:tgtEl>
                                          <p:spTgt spid="71"/>
                                        </p:tgtEl>
                                        <p:attrNameLst>
                                          <p:attrName>ppt_y</p:attrName>
                                        </p:attrNameLst>
                                      </p:cBhvr>
                                      <p:tavLst>
                                        <p:tav tm="0">
                                          <p:val>
                                            <p:strVal val="#ppt_y+#ppt_h*1.125000"/>
                                          </p:val>
                                        </p:tav>
                                        <p:tav tm="100000">
                                          <p:val>
                                            <p:strVal val="#ppt_y"/>
                                          </p:val>
                                        </p:tav>
                                      </p:tavLst>
                                    </p:anim>
                                    <p:animEffect transition="in" filter="wipe(up)">
                                      <p:cBhvr>
                                        <p:cTn id="77" dur="500"/>
                                        <p:tgtEl>
                                          <p:spTgt spid="71"/>
                                        </p:tgtEl>
                                      </p:cBhvr>
                                    </p:animEffect>
                                  </p:childTnLst>
                                </p:cTn>
                              </p:par>
                              <p:par>
                                <p:cTn id="78" presetID="12" presetClass="entr" presetSubtype="1" fill="hold" grpId="0" nodeType="withEffect">
                                  <p:stCondLst>
                                    <p:cond delay="0"/>
                                  </p:stCondLst>
                                  <p:childTnLst>
                                    <p:set>
                                      <p:cBhvr>
                                        <p:cTn id="79" dur="1" fill="hold">
                                          <p:stCondLst>
                                            <p:cond delay="0"/>
                                          </p:stCondLst>
                                        </p:cTn>
                                        <p:tgtEl>
                                          <p:spTgt spid="72"/>
                                        </p:tgtEl>
                                        <p:attrNameLst>
                                          <p:attrName>style.visibility</p:attrName>
                                        </p:attrNameLst>
                                      </p:cBhvr>
                                      <p:to>
                                        <p:strVal val="visible"/>
                                      </p:to>
                                    </p:set>
                                    <p:anim calcmode="lin" valueType="num">
                                      <p:cBhvr>
                                        <p:cTn id="80" dur="500"/>
                                        <p:tgtEl>
                                          <p:spTgt spid="72"/>
                                        </p:tgtEl>
                                        <p:attrNameLst>
                                          <p:attrName>ppt_y</p:attrName>
                                        </p:attrNameLst>
                                      </p:cBhvr>
                                      <p:tavLst>
                                        <p:tav tm="0">
                                          <p:val>
                                            <p:strVal val="#ppt_y-#ppt_h*1.125000"/>
                                          </p:val>
                                        </p:tav>
                                        <p:tav tm="100000">
                                          <p:val>
                                            <p:strVal val="#ppt_y"/>
                                          </p:val>
                                        </p:tav>
                                      </p:tavLst>
                                    </p:anim>
                                    <p:animEffect transition="in" filter="wipe(down)">
                                      <p:cBhvr>
                                        <p:cTn id="81" dur="500"/>
                                        <p:tgtEl>
                                          <p:spTgt spid="72"/>
                                        </p:tgtEl>
                                      </p:cBhvr>
                                    </p:animEffect>
                                  </p:childTnLst>
                                </p:cTn>
                              </p:par>
                            </p:childTnLst>
                          </p:cTn>
                        </p:par>
                        <p:par>
                          <p:cTn id="82" fill="hold">
                            <p:stCondLst>
                              <p:cond delay="6299"/>
                            </p:stCondLst>
                            <p:childTnLst>
                              <p:par>
                                <p:cTn id="83" presetID="2" presetClass="entr" presetSubtype="8" fill="hold" nodeType="afterEffect">
                                  <p:stCondLst>
                                    <p:cond delay="0"/>
                                  </p:stCondLst>
                                  <p:childTnLst>
                                    <p:set>
                                      <p:cBhvr>
                                        <p:cTn id="84" dur="1" fill="hold">
                                          <p:stCondLst>
                                            <p:cond delay="0"/>
                                          </p:stCondLst>
                                        </p:cTn>
                                        <p:tgtEl>
                                          <p:spTgt spid="24"/>
                                        </p:tgtEl>
                                        <p:attrNameLst>
                                          <p:attrName>style.visibility</p:attrName>
                                        </p:attrNameLst>
                                      </p:cBhvr>
                                      <p:to>
                                        <p:strVal val="visible"/>
                                      </p:to>
                                    </p:set>
                                    <p:anim calcmode="lin" valueType="num">
                                      <p:cBhvr>
                                        <p:cTn id="85" dur="500" fill="hold"/>
                                        <p:tgtEl>
                                          <p:spTgt spid="24"/>
                                        </p:tgtEl>
                                        <p:attrNameLst>
                                          <p:attrName>ppt_x</p:attrName>
                                        </p:attrNameLst>
                                      </p:cBhvr>
                                      <p:tavLst>
                                        <p:tav tm="0">
                                          <p:val>
                                            <p:strVal val="0-#ppt_w/2"/>
                                          </p:val>
                                        </p:tav>
                                        <p:tav tm="100000">
                                          <p:val>
                                            <p:strVal val="#ppt_x"/>
                                          </p:val>
                                        </p:tav>
                                      </p:tavLst>
                                    </p:anim>
                                    <p:anim calcmode="lin" valueType="num">
                                      <p:cBhvr>
                                        <p:cTn id="86" dur="500" fill="hold"/>
                                        <p:tgtEl>
                                          <p:spTgt spid="24"/>
                                        </p:tgtEl>
                                        <p:attrNameLst>
                                          <p:attrName>ppt_y</p:attrName>
                                        </p:attrNameLst>
                                      </p:cBhvr>
                                      <p:tavLst>
                                        <p:tav tm="0">
                                          <p:val>
                                            <p:strVal val="#ppt_y"/>
                                          </p:val>
                                        </p:tav>
                                        <p:tav tm="100000">
                                          <p:val>
                                            <p:strVal val="#ppt_y"/>
                                          </p:val>
                                        </p:tav>
                                      </p:tavLst>
                                    </p:anim>
                                  </p:childTnLst>
                                </p:cTn>
                              </p:par>
                            </p:childTnLst>
                          </p:cTn>
                        </p:par>
                        <p:par>
                          <p:cTn id="87" fill="hold">
                            <p:stCondLst>
                              <p:cond delay="6799"/>
                            </p:stCondLst>
                            <p:childTnLst>
                              <p:par>
                                <p:cTn id="88" presetID="53" presetClass="entr" presetSubtype="16" fill="hold" nodeType="afterEffect">
                                  <p:stCondLst>
                                    <p:cond delay="0"/>
                                  </p:stCondLst>
                                  <p:childTnLst>
                                    <p:set>
                                      <p:cBhvr>
                                        <p:cTn id="89" dur="1" fill="hold">
                                          <p:stCondLst>
                                            <p:cond delay="0"/>
                                          </p:stCondLst>
                                        </p:cTn>
                                        <p:tgtEl>
                                          <p:spTgt spid="51"/>
                                        </p:tgtEl>
                                        <p:attrNameLst>
                                          <p:attrName>style.visibility</p:attrName>
                                        </p:attrNameLst>
                                      </p:cBhvr>
                                      <p:to>
                                        <p:strVal val="visible"/>
                                      </p:to>
                                    </p:set>
                                    <p:anim calcmode="lin" valueType="num">
                                      <p:cBhvr>
                                        <p:cTn id="90" dur="500" fill="hold"/>
                                        <p:tgtEl>
                                          <p:spTgt spid="51"/>
                                        </p:tgtEl>
                                        <p:attrNameLst>
                                          <p:attrName>ppt_w</p:attrName>
                                        </p:attrNameLst>
                                      </p:cBhvr>
                                      <p:tavLst>
                                        <p:tav tm="0">
                                          <p:val>
                                            <p:fltVal val="0"/>
                                          </p:val>
                                        </p:tav>
                                        <p:tav tm="100000">
                                          <p:val>
                                            <p:strVal val="#ppt_w"/>
                                          </p:val>
                                        </p:tav>
                                      </p:tavLst>
                                    </p:anim>
                                    <p:anim calcmode="lin" valueType="num">
                                      <p:cBhvr>
                                        <p:cTn id="91" dur="500" fill="hold"/>
                                        <p:tgtEl>
                                          <p:spTgt spid="51"/>
                                        </p:tgtEl>
                                        <p:attrNameLst>
                                          <p:attrName>ppt_h</p:attrName>
                                        </p:attrNameLst>
                                      </p:cBhvr>
                                      <p:tavLst>
                                        <p:tav tm="0">
                                          <p:val>
                                            <p:fltVal val="0"/>
                                          </p:val>
                                        </p:tav>
                                        <p:tav tm="100000">
                                          <p:val>
                                            <p:strVal val="#ppt_h"/>
                                          </p:val>
                                        </p:tav>
                                      </p:tavLst>
                                    </p:anim>
                                    <p:animEffect transition="in" filter="fade">
                                      <p:cBhvr>
                                        <p:cTn id="92" dur="500"/>
                                        <p:tgtEl>
                                          <p:spTgt spid="51"/>
                                        </p:tgtEl>
                                      </p:cBhvr>
                                    </p:animEffect>
                                  </p:childTnLst>
                                </p:cTn>
                              </p:par>
                            </p:childTnLst>
                          </p:cTn>
                        </p:par>
                        <p:par>
                          <p:cTn id="93" fill="hold">
                            <p:stCondLst>
                              <p:cond delay="7299"/>
                            </p:stCondLst>
                            <p:childTnLst>
                              <p:par>
                                <p:cTn id="94" presetID="12" presetClass="entr" presetSubtype="4" fill="hold" grpId="0" nodeType="afterEffect">
                                  <p:stCondLst>
                                    <p:cond delay="0"/>
                                  </p:stCondLst>
                                  <p:childTnLst>
                                    <p:set>
                                      <p:cBhvr>
                                        <p:cTn id="95" dur="1" fill="hold">
                                          <p:stCondLst>
                                            <p:cond delay="0"/>
                                          </p:stCondLst>
                                        </p:cTn>
                                        <p:tgtEl>
                                          <p:spTgt spid="73"/>
                                        </p:tgtEl>
                                        <p:attrNameLst>
                                          <p:attrName>style.visibility</p:attrName>
                                        </p:attrNameLst>
                                      </p:cBhvr>
                                      <p:to>
                                        <p:strVal val="visible"/>
                                      </p:to>
                                    </p:set>
                                    <p:anim calcmode="lin" valueType="num">
                                      <p:cBhvr>
                                        <p:cTn id="96" dur="500"/>
                                        <p:tgtEl>
                                          <p:spTgt spid="73"/>
                                        </p:tgtEl>
                                        <p:attrNameLst>
                                          <p:attrName>ppt_y</p:attrName>
                                        </p:attrNameLst>
                                      </p:cBhvr>
                                      <p:tavLst>
                                        <p:tav tm="0">
                                          <p:val>
                                            <p:strVal val="#ppt_y+#ppt_h*1.125000"/>
                                          </p:val>
                                        </p:tav>
                                        <p:tav tm="100000">
                                          <p:val>
                                            <p:strVal val="#ppt_y"/>
                                          </p:val>
                                        </p:tav>
                                      </p:tavLst>
                                    </p:anim>
                                    <p:animEffect transition="in" filter="wipe(up)">
                                      <p:cBhvr>
                                        <p:cTn id="97" dur="500"/>
                                        <p:tgtEl>
                                          <p:spTgt spid="73"/>
                                        </p:tgtEl>
                                      </p:cBhvr>
                                    </p:animEffect>
                                  </p:childTnLst>
                                </p:cTn>
                              </p:par>
                              <p:par>
                                <p:cTn id="98" presetID="12" presetClass="entr" presetSubtype="1" fill="hold" grpId="0" nodeType="withEffect">
                                  <p:stCondLst>
                                    <p:cond delay="0"/>
                                  </p:stCondLst>
                                  <p:childTnLst>
                                    <p:set>
                                      <p:cBhvr>
                                        <p:cTn id="99" dur="1" fill="hold">
                                          <p:stCondLst>
                                            <p:cond delay="0"/>
                                          </p:stCondLst>
                                        </p:cTn>
                                        <p:tgtEl>
                                          <p:spTgt spid="74"/>
                                        </p:tgtEl>
                                        <p:attrNameLst>
                                          <p:attrName>style.visibility</p:attrName>
                                        </p:attrNameLst>
                                      </p:cBhvr>
                                      <p:to>
                                        <p:strVal val="visible"/>
                                      </p:to>
                                    </p:set>
                                    <p:anim calcmode="lin" valueType="num">
                                      <p:cBhvr>
                                        <p:cTn id="100" dur="500"/>
                                        <p:tgtEl>
                                          <p:spTgt spid="74"/>
                                        </p:tgtEl>
                                        <p:attrNameLst>
                                          <p:attrName>ppt_y</p:attrName>
                                        </p:attrNameLst>
                                      </p:cBhvr>
                                      <p:tavLst>
                                        <p:tav tm="0">
                                          <p:val>
                                            <p:strVal val="#ppt_y-#ppt_h*1.125000"/>
                                          </p:val>
                                        </p:tav>
                                        <p:tav tm="100000">
                                          <p:val>
                                            <p:strVal val="#ppt_y"/>
                                          </p:val>
                                        </p:tav>
                                      </p:tavLst>
                                    </p:anim>
                                    <p:animEffect transition="in" filter="wipe(down)">
                                      <p:cBhvr>
                                        <p:cTn id="101" dur="500"/>
                                        <p:tgtEl>
                                          <p:spTgt spid="74"/>
                                        </p:tgtEl>
                                      </p:cBhvr>
                                    </p:animEffect>
                                  </p:childTnLst>
                                </p:cTn>
                              </p:par>
                            </p:childTnLst>
                          </p:cTn>
                        </p:par>
                        <p:par>
                          <p:cTn id="102" fill="hold">
                            <p:stCondLst>
                              <p:cond delay="7799"/>
                            </p:stCondLst>
                            <p:childTnLst>
                              <p:par>
                                <p:cTn id="103" presetID="1" presetClass="mediacall" presetSubtype="0" fill="hold" nodeType="afterEffect">
                                  <p:stCondLst>
                                    <p:cond delay="0"/>
                                  </p:stCondLst>
                                  <p:childTnLst>
                                    <p:cmd type="call" cmd="playFrom(0.0)">
                                      <p:cBhvr>
                                        <p:cTn id="104" dur="1" fill="hold"/>
                                        <p:tgtEl>
                                          <p:spTgt spid="89"/>
                                        </p:tgtEl>
                                      </p:cBhvr>
                                    </p:cmd>
                                  </p:childTnLst>
                                </p:cTn>
                              </p:par>
                            </p:childTnLst>
                          </p:cTn>
                        </p:par>
                        <p:par>
                          <p:cTn id="105" fill="hold">
                            <p:stCondLst>
                              <p:cond delay="7799"/>
                            </p:stCondLst>
                            <p:childTnLst>
                              <p:par>
                                <p:cTn id="106" presetID="2" presetClass="entr" presetSubtype="8" fill="hold" nodeType="afterEffect">
                                  <p:stCondLst>
                                    <p:cond delay="0"/>
                                  </p:stCondLst>
                                  <p:childTnLst>
                                    <p:set>
                                      <p:cBhvr>
                                        <p:cTn id="107" dur="1" fill="hold">
                                          <p:stCondLst>
                                            <p:cond delay="0"/>
                                          </p:stCondLst>
                                        </p:cTn>
                                        <p:tgtEl>
                                          <p:spTgt spid="21"/>
                                        </p:tgtEl>
                                        <p:attrNameLst>
                                          <p:attrName>style.visibility</p:attrName>
                                        </p:attrNameLst>
                                      </p:cBhvr>
                                      <p:to>
                                        <p:strVal val="visible"/>
                                      </p:to>
                                    </p:set>
                                    <p:anim calcmode="lin" valueType="num">
                                      <p:cBhvr>
                                        <p:cTn id="108" dur="500" fill="hold"/>
                                        <p:tgtEl>
                                          <p:spTgt spid="21"/>
                                        </p:tgtEl>
                                        <p:attrNameLst>
                                          <p:attrName>ppt_x</p:attrName>
                                        </p:attrNameLst>
                                      </p:cBhvr>
                                      <p:tavLst>
                                        <p:tav tm="0">
                                          <p:val>
                                            <p:strVal val="0-#ppt_w/2"/>
                                          </p:val>
                                        </p:tav>
                                        <p:tav tm="100000">
                                          <p:val>
                                            <p:strVal val="#ppt_x"/>
                                          </p:val>
                                        </p:tav>
                                      </p:tavLst>
                                    </p:anim>
                                    <p:anim calcmode="lin" valueType="num">
                                      <p:cBhvr>
                                        <p:cTn id="109" dur="500" fill="hold"/>
                                        <p:tgtEl>
                                          <p:spTgt spid="21"/>
                                        </p:tgtEl>
                                        <p:attrNameLst>
                                          <p:attrName>ppt_y</p:attrName>
                                        </p:attrNameLst>
                                      </p:cBhvr>
                                      <p:tavLst>
                                        <p:tav tm="0">
                                          <p:val>
                                            <p:strVal val="#ppt_y"/>
                                          </p:val>
                                        </p:tav>
                                        <p:tav tm="100000">
                                          <p:val>
                                            <p:strVal val="#ppt_y"/>
                                          </p:val>
                                        </p:tav>
                                      </p:tavLst>
                                    </p:anim>
                                  </p:childTnLst>
                                </p:cTn>
                              </p:par>
                            </p:childTnLst>
                          </p:cTn>
                        </p:par>
                        <p:par>
                          <p:cTn id="110" fill="hold">
                            <p:stCondLst>
                              <p:cond delay="8299"/>
                            </p:stCondLst>
                            <p:childTnLst>
                              <p:par>
                                <p:cTn id="111" presetID="53" presetClass="entr" presetSubtype="16" fill="hold" nodeType="afterEffect">
                                  <p:stCondLst>
                                    <p:cond delay="0"/>
                                  </p:stCondLst>
                                  <p:childTnLst>
                                    <p:set>
                                      <p:cBhvr>
                                        <p:cTn id="112" dur="1" fill="hold">
                                          <p:stCondLst>
                                            <p:cond delay="0"/>
                                          </p:stCondLst>
                                        </p:cTn>
                                        <p:tgtEl>
                                          <p:spTgt spid="50"/>
                                        </p:tgtEl>
                                        <p:attrNameLst>
                                          <p:attrName>style.visibility</p:attrName>
                                        </p:attrNameLst>
                                      </p:cBhvr>
                                      <p:to>
                                        <p:strVal val="visible"/>
                                      </p:to>
                                    </p:set>
                                    <p:anim calcmode="lin" valueType="num">
                                      <p:cBhvr>
                                        <p:cTn id="113" dur="500" fill="hold"/>
                                        <p:tgtEl>
                                          <p:spTgt spid="50"/>
                                        </p:tgtEl>
                                        <p:attrNameLst>
                                          <p:attrName>ppt_w</p:attrName>
                                        </p:attrNameLst>
                                      </p:cBhvr>
                                      <p:tavLst>
                                        <p:tav tm="0">
                                          <p:val>
                                            <p:fltVal val="0"/>
                                          </p:val>
                                        </p:tav>
                                        <p:tav tm="100000">
                                          <p:val>
                                            <p:strVal val="#ppt_w"/>
                                          </p:val>
                                        </p:tav>
                                      </p:tavLst>
                                    </p:anim>
                                    <p:anim calcmode="lin" valueType="num">
                                      <p:cBhvr>
                                        <p:cTn id="114" dur="500" fill="hold"/>
                                        <p:tgtEl>
                                          <p:spTgt spid="50"/>
                                        </p:tgtEl>
                                        <p:attrNameLst>
                                          <p:attrName>ppt_h</p:attrName>
                                        </p:attrNameLst>
                                      </p:cBhvr>
                                      <p:tavLst>
                                        <p:tav tm="0">
                                          <p:val>
                                            <p:fltVal val="0"/>
                                          </p:val>
                                        </p:tav>
                                        <p:tav tm="100000">
                                          <p:val>
                                            <p:strVal val="#ppt_h"/>
                                          </p:val>
                                        </p:tav>
                                      </p:tavLst>
                                    </p:anim>
                                    <p:animEffect transition="in" filter="fade">
                                      <p:cBhvr>
                                        <p:cTn id="115" dur="500"/>
                                        <p:tgtEl>
                                          <p:spTgt spid="50"/>
                                        </p:tgtEl>
                                      </p:cBhvr>
                                    </p:animEffect>
                                  </p:childTnLst>
                                </p:cTn>
                              </p:par>
                            </p:childTnLst>
                          </p:cTn>
                        </p:par>
                        <p:par>
                          <p:cTn id="116" fill="hold">
                            <p:stCondLst>
                              <p:cond delay="8799"/>
                            </p:stCondLst>
                            <p:childTnLst>
                              <p:par>
                                <p:cTn id="117" presetID="12" presetClass="entr" presetSubtype="4" fill="hold" grpId="0" nodeType="afterEffect">
                                  <p:stCondLst>
                                    <p:cond delay="0"/>
                                  </p:stCondLst>
                                  <p:childTnLst>
                                    <p:set>
                                      <p:cBhvr>
                                        <p:cTn id="118" dur="1" fill="hold">
                                          <p:stCondLst>
                                            <p:cond delay="0"/>
                                          </p:stCondLst>
                                        </p:cTn>
                                        <p:tgtEl>
                                          <p:spTgt spid="75"/>
                                        </p:tgtEl>
                                        <p:attrNameLst>
                                          <p:attrName>style.visibility</p:attrName>
                                        </p:attrNameLst>
                                      </p:cBhvr>
                                      <p:to>
                                        <p:strVal val="visible"/>
                                      </p:to>
                                    </p:set>
                                    <p:anim calcmode="lin" valueType="num">
                                      <p:cBhvr>
                                        <p:cTn id="119" dur="500"/>
                                        <p:tgtEl>
                                          <p:spTgt spid="75"/>
                                        </p:tgtEl>
                                        <p:attrNameLst>
                                          <p:attrName>ppt_y</p:attrName>
                                        </p:attrNameLst>
                                      </p:cBhvr>
                                      <p:tavLst>
                                        <p:tav tm="0">
                                          <p:val>
                                            <p:strVal val="#ppt_y+#ppt_h*1.125000"/>
                                          </p:val>
                                        </p:tav>
                                        <p:tav tm="100000">
                                          <p:val>
                                            <p:strVal val="#ppt_y"/>
                                          </p:val>
                                        </p:tav>
                                      </p:tavLst>
                                    </p:anim>
                                    <p:animEffect transition="in" filter="wipe(up)">
                                      <p:cBhvr>
                                        <p:cTn id="120" dur="500"/>
                                        <p:tgtEl>
                                          <p:spTgt spid="75"/>
                                        </p:tgtEl>
                                      </p:cBhvr>
                                    </p:animEffect>
                                  </p:childTnLst>
                                </p:cTn>
                              </p:par>
                              <p:par>
                                <p:cTn id="121" presetID="12" presetClass="entr" presetSubtype="1" fill="hold" grpId="0" nodeType="withEffect">
                                  <p:stCondLst>
                                    <p:cond delay="0"/>
                                  </p:stCondLst>
                                  <p:childTnLst>
                                    <p:set>
                                      <p:cBhvr>
                                        <p:cTn id="122" dur="1" fill="hold">
                                          <p:stCondLst>
                                            <p:cond delay="0"/>
                                          </p:stCondLst>
                                        </p:cTn>
                                        <p:tgtEl>
                                          <p:spTgt spid="76"/>
                                        </p:tgtEl>
                                        <p:attrNameLst>
                                          <p:attrName>style.visibility</p:attrName>
                                        </p:attrNameLst>
                                      </p:cBhvr>
                                      <p:to>
                                        <p:strVal val="visible"/>
                                      </p:to>
                                    </p:set>
                                    <p:anim calcmode="lin" valueType="num">
                                      <p:cBhvr>
                                        <p:cTn id="123" dur="500"/>
                                        <p:tgtEl>
                                          <p:spTgt spid="76"/>
                                        </p:tgtEl>
                                        <p:attrNameLst>
                                          <p:attrName>ppt_y</p:attrName>
                                        </p:attrNameLst>
                                      </p:cBhvr>
                                      <p:tavLst>
                                        <p:tav tm="0">
                                          <p:val>
                                            <p:strVal val="#ppt_y-#ppt_h*1.125000"/>
                                          </p:val>
                                        </p:tav>
                                        <p:tav tm="100000">
                                          <p:val>
                                            <p:strVal val="#ppt_y"/>
                                          </p:val>
                                        </p:tav>
                                      </p:tavLst>
                                    </p:anim>
                                    <p:animEffect transition="in" filter="wipe(down)">
                                      <p:cBhvr>
                                        <p:cTn id="124" dur="500"/>
                                        <p:tgtEl>
                                          <p:spTgt spid="76"/>
                                        </p:tgtEl>
                                      </p:cBhvr>
                                    </p:animEffect>
                                  </p:childTnLst>
                                </p:cTn>
                              </p:par>
                            </p:childTnLst>
                          </p:cTn>
                        </p:par>
                        <p:par>
                          <p:cTn id="125" fill="hold">
                            <p:stCondLst>
                              <p:cond delay="9299"/>
                            </p:stCondLst>
                            <p:childTnLst>
                              <p:par>
                                <p:cTn id="126" presetID="2" presetClass="entr" presetSubtype="8" fill="hold" nodeType="afterEffect">
                                  <p:stCondLst>
                                    <p:cond delay="0"/>
                                  </p:stCondLst>
                                  <p:childTnLst>
                                    <p:set>
                                      <p:cBhvr>
                                        <p:cTn id="127" dur="1" fill="hold">
                                          <p:stCondLst>
                                            <p:cond delay="0"/>
                                          </p:stCondLst>
                                        </p:cTn>
                                        <p:tgtEl>
                                          <p:spTgt spid="18"/>
                                        </p:tgtEl>
                                        <p:attrNameLst>
                                          <p:attrName>style.visibility</p:attrName>
                                        </p:attrNameLst>
                                      </p:cBhvr>
                                      <p:to>
                                        <p:strVal val="visible"/>
                                      </p:to>
                                    </p:set>
                                    <p:anim calcmode="lin" valueType="num">
                                      <p:cBhvr>
                                        <p:cTn id="128" dur="500" fill="hold"/>
                                        <p:tgtEl>
                                          <p:spTgt spid="18"/>
                                        </p:tgtEl>
                                        <p:attrNameLst>
                                          <p:attrName>ppt_x</p:attrName>
                                        </p:attrNameLst>
                                      </p:cBhvr>
                                      <p:tavLst>
                                        <p:tav tm="0">
                                          <p:val>
                                            <p:strVal val="0-#ppt_w/2"/>
                                          </p:val>
                                        </p:tav>
                                        <p:tav tm="100000">
                                          <p:val>
                                            <p:strVal val="#ppt_x"/>
                                          </p:val>
                                        </p:tav>
                                      </p:tavLst>
                                    </p:anim>
                                    <p:anim calcmode="lin" valueType="num">
                                      <p:cBhvr>
                                        <p:cTn id="129" dur="500" fill="hold"/>
                                        <p:tgtEl>
                                          <p:spTgt spid="18"/>
                                        </p:tgtEl>
                                        <p:attrNameLst>
                                          <p:attrName>ppt_y</p:attrName>
                                        </p:attrNameLst>
                                      </p:cBhvr>
                                      <p:tavLst>
                                        <p:tav tm="0">
                                          <p:val>
                                            <p:strVal val="#ppt_y"/>
                                          </p:val>
                                        </p:tav>
                                        <p:tav tm="100000">
                                          <p:val>
                                            <p:strVal val="#ppt_y"/>
                                          </p:val>
                                        </p:tav>
                                      </p:tavLst>
                                    </p:anim>
                                  </p:childTnLst>
                                </p:cTn>
                              </p:par>
                            </p:childTnLst>
                          </p:cTn>
                        </p:par>
                        <p:par>
                          <p:cTn id="130" fill="hold">
                            <p:stCondLst>
                              <p:cond delay="9799"/>
                            </p:stCondLst>
                            <p:childTnLst>
                              <p:par>
                                <p:cTn id="131" presetID="53" presetClass="entr" presetSubtype="16" fill="hold" nodeType="afterEffect">
                                  <p:stCondLst>
                                    <p:cond delay="0"/>
                                  </p:stCondLst>
                                  <p:childTnLst>
                                    <p:set>
                                      <p:cBhvr>
                                        <p:cTn id="132" dur="1" fill="hold">
                                          <p:stCondLst>
                                            <p:cond delay="0"/>
                                          </p:stCondLst>
                                        </p:cTn>
                                        <p:tgtEl>
                                          <p:spTgt spid="55"/>
                                        </p:tgtEl>
                                        <p:attrNameLst>
                                          <p:attrName>style.visibility</p:attrName>
                                        </p:attrNameLst>
                                      </p:cBhvr>
                                      <p:to>
                                        <p:strVal val="visible"/>
                                      </p:to>
                                    </p:set>
                                    <p:anim calcmode="lin" valueType="num">
                                      <p:cBhvr>
                                        <p:cTn id="133" dur="500" fill="hold"/>
                                        <p:tgtEl>
                                          <p:spTgt spid="55"/>
                                        </p:tgtEl>
                                        <p:attrNameLst>
                                          <p:attrName>ppt_w</p:attrName>
                                        </p:attrNameLst>
                                      </p:cBhvr>
                                      <p:tavLst>
                                        <p:tav tm="0">
                                          <p:val>
                                            <p:fltVal val="0"/>
                                          </p:val>
                                        </p:tav>
                                        <p:tav tm="100000">
                                          <p:val>
                                            <p:strVal val="#ppt_w"/>
                                          </p:val>
                                        </p:tav>
                                      </p:tavLst>
                                    </p:anim>
                                    <p:anim calcmode="lin" valueType="num">
                                      <p:cBhvr>
                                        <p:cTn id="134" dur="500" fill="hold"/>
                                        <p:tgtEl>
                                          <p:spTgt spid="55"/>
                                        </p:tgtEl>
                                        <p:attrNameLst>
                                          <p:attrName>ppt_h</p:attrName>
                                        </p:attrNameLst>
                                      </p:cBhvr>
                                      <p:tavLst>
                                        <p:tav tm="0">
                                          <p:val>
                                            <p:fltVal val="0"/>
                                          </p:val>
                                        </p:tav>
                                        <p:tav tm="100000">
                                          <p:val>
                                            <p:strVal val="#ppt_h"/>
                                          </p:val>
                                        </p:tav>
                                      </p:tavLst>
                                    </p:anim>
                                    <p:animEffect transition="in" filter="fade">
                                      <p:cBhvr>
                                        <p:cTn id="135" dur="500"/>
                                        <p:tgtEl>
                                          <p:spTgt spid="55"/>
                                        </p:tgtEl>
                                      </p:cBhvr>
                                    </p:animEffect>
                                  </p:childTnLst>
                                </p:cTn>
                              </p:par>
                            </p:childTnLst>
                          </p:cTn>
                        </p:par>
                        <p:par>
                          <p:cTn id="136" fill="hold">
                            <p:stCondLst>
                              <p:cond delay="10299"/>
                            </p:stCondLst>
                            <p:childTnLst>
                              <p:par>
                                <p:cTn id="137" presetID="12" presetClass="entr" presetSubtype="4" fill="hold" grpId="0" nodeType="afterEffect">
                                  <p:stCondLst>
                                    <p:cond delay="0"/>
                                  </p:stCondLst>
                                  <p:childTnLst>
                                    <p:set>
                                      <p:cBhvr>
                                        <p:cTn id="138" dur="1" fill="hold">
                                          <p:stCondLst>
                                            <p:cond delay="0"/>
                                          </p:stCondLst>
                                        </p:cTn>
                                        <p:tgtEl>
                                          <p:spTgt spid="77"/>
                                        </p:tgtEl>
                                        <p:attrNameLst>
                                          <p:attrName>style.visibility</p:attrName>
                                        </p:attrNameLst>
                                      </p:cBhvr>
                                      <p:to>
                                        <p:strVal val="visible"/>
                                      </p:to>
                                    </p:set>
                                    <p:anim calcmode="lin" valueType="num">
                                      <p:cBhvr>
                                        <p:cTn id="139" dur="500"/>
                                        <p:tgtEl>
                                          <p:spTgt spid="77"/>
                                        </p:tgtEl>
                                        <p:attrNameLst>
                                          <p:attrName>ppt_y</p:attrName>
                                        </p:attrNameLst>
                                      </p:cBhvr>
                                      <p:tavLst>
                                        <p:tav tm="0">
                                          <p:val>
                                            <p:strVal val="#ppt_y+#ppt_h*1.125000"/>
                                          </p:val>
                                        </p:tav>
                                        <p:tav tm="100000">
                                          <p:val>
                                            <p:strVal val="#ppt_y"/>
                                          </p:val>
                                        </p:tav>
                                      </p:tavLst>
                                    </p:anim>
                                    <p:animEffect transition="in" filter="wipe(up)">
                                      <p:cBhvr>
                                        <p:cTn id="140" dur="500"/>
                                        <p:tgtEl>
                                          <p:spTgt spid="77"/>
                                        </p:tgtEl>
                                      </p:cBhvr>
                                    </p:animEffect>
                                  </p:childTnLst>
                                </p:cTn>
                              </p:par>
                              <p:par>
                                <p:cTn id="141" presetID="12" presetClass="entr" presetSubtype="1" fill="hold" grpId="0" nodeType="withEffect">
                                  <p:stCondLst>
                                    <p:cond delay="0"/>
                                  </p:stCondLst>
                                  <p:childTnLst>
                                    <p:set>
                                      <p:cBhvr>
                                        <p:cTn id="142" dur="1" fill="hold">
                                          <p:stCondLst>
                                            <p:cond delay="0"/>
                                          </p:stCondLst>
                                        </p:cTn>
                                        <p:tgtEl>
                                          <p:spTgt spid="78"/>
                                        </p:tgtEl>
                                        <p:attrNameLst>
                                          <p:attrName>style.visibility</p:attrName>
                                        </p:attrNameLst>
                                      </p:cBhvr>
                                      <p:to>
                                        <p:strVal val="visible"/>
                                      </p:to>
                                    </p:set>
                                    <p:anim calcmode="lin" valueType="num">
                                      <p:cBhvr>
                                        <p:cTn id="143" dur="500"/>
                                        <p:tgtEl>
                                          <p:spTgt spid="78"/>
                                        </p:tgtEl>
                                        <p:attrNameLst>
                                          <p:attrName>ppt_y</p:attrName>
                                        </p:attrNameLst>
                                      </p:cBhvr>
                                      <p:tavLst>
                                        <p:tav tm="0">
                                          <p:val>
                                            <p:strVal val="#ppt_y-#ppt_h*1.125000"/>
                                          </p:val>
                                        </p:tav>
                                        <p:tav tm="100000">
                                          <p:val>
                                            <p:strVal val="#ppt_y"/>
                                          </p:val>
                                        </p:tav>
                                      </p:tavLst>
                                    </p:anim>
                                    <p:animEffect transition="in" filter="wipe(down)">
                                      <p:cBhvr>
                                        <p:cTn id="144" dur="5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45" fill="hold" display="0">
                  <p:stCondLst>
                    <p:cond delay="indefinite"/>
                  </p:stCondLst>
                  <p:endCondLst>
                    <p:cond evt="onStopAudio" delay="0">
                      <p:tgtEl>
                        <p:sldTgt/>
                      </p:tgtEl>
                    </p:cond>
                  </p:endCondLst>
                </p:cTn>
                <p:tgtEl>
                  <p:spTgt spid="89"/>
                </p:tgtEl>
              </p:cMediaNode>
            </p:audio>
          </p:childTnLst>
        </p:cTn>
      </p:par>
    </p:tnLst>
    <p:bldLst>
      <p:bldP spid="67" grpId="0"/>
      <p:bldP spid="68" grpId="0"/>
      <p:bldP spid="69" grpId="0"/>
      <p:bldP spid="70" grpId="0"/>
      <p:bldP spid="71" grpId="0"/>
      <p:bldP spid="72" grpId="0"/>
      <p:bldP spid="73" grpId="0"/>
      <p:bldP spid="74" grpId="0"/>
      <p:bldP spid="75" grpId="0"/>
      <p:bldP spid="76" grpId="0"/>
      <p:bldP spid="77" grpId="0"/>
      <p:bldP spid="78" grpId="0"/>
      <p:bldP spid="81" grpId="0" animBg="1"/>
      <p:bldP spid="8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86"/>
          <p:cNvGrpSpPr/>
          <p:nvPr/>
        </p:nvGrpSpPr>
        <p:grpSpPr>
          <a:xfrm>
            <a:off x="4481817" y="1560244"/>
            <a:ext cx="4296779" cy="2471249"/>
            <a:chOff x="4552949" y="1591929"/>
            <a:chExt cx="4366119" cy="2522498"/>
          </a:xfrm>
        </p:grpSpPr>
        <p:pic>
          <p:nvPicPr>
            <p:cNvPr id="23"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a:fillRect/>
            </a:stretch>
          </p:blipFill>
          <p:spPr bwMode="auto">
            <a:xfrm rot="1164247" flipV="1">
              <a:off x="7212990" y="3259838"/>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3"/>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a:fillRect/>
            </a:stretch>
          </p:blipFill>
          <p:spPr bwMode="auto">
            <a:xfrm rot="19878225" flipV="1">
              <a:off x="8211649" y="3972668"/>
              <a:ext cx="558904" cy="6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a:fillRect/>
            </a:stretch>
          </p:blipFill>
          <p:spPr bwMode="auto">
            <a:xfrm rot="1152643" flipV="1">
              <a:off x="7672523" y="4013457"/>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a:fillRect/>
            </a:stretch>
          </p:blipFill>
          <p:spPr bwMode="auto">
            <a:xfrm rot="12057140" flipV="1">
              <a:off x="8245135" y="3111865"/>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a:fillRect/>
            </a:stretch>
          </p:blipFill>
          <p:spPr bwMode="auto">
            <a:xfrm rot="12057140" flipV="1">
              <a:off x="7733400" y="2357195"/>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a:fillRect/>
            </a:stretch>
          </p:blipFill>
          <p:spPr bwMode="auto">
            <a:xfrm rot="12057140" flipV="1">
              <a:off x="7272375" y="1616057"/>
              <a:ext cx="563293" cy="62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a:fillRect/>
            </a:stretch>
          </p:blipFill>
          <p:spPr bwMode="auto">
            <a:xfrm rot="8981151" flipV="1">
              <a:off x="6626991" y="1711212"/>
              <a:ext cx="765578" cy="852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平行四边形 115"/>
            <p:cNvSpPr/>
            <p:nvPr/>
          </p:nvSpPr>
          <p:spPr>
            <a:xfrm rot="1200000">
              <a:off x="6825944" y="1597157"/>
              <a:ext cx="919687" cy="456299"/>
            </a:xfrm>
            <a:prstGeom prst="parallelogram">
              <a:avLst>
                <a:gd name="adj" fmla="val 88523"/>
              </a:avLst>
            </a:prstGeom>
            <a:solidFill>
              <a:srgbClr val="F8F9FB"/>
            </a:solidFill>
            <a:ln>
              <a:noFill/>
            </a:ln>
            <a:effectLst>
              <a:outerShdw blurRad="457200" dist="114300" dir="15660000" sx="65000" sy="65000" rotWithShape="0">
                <a:prstClr val="black">
                  <a:alpha val="51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1" name="平行四边形 116"/>
            <p:cNvSpPr/>
            <p:nvPr/>
          </p:nvSpPr>
          <p:spPr>
            <a:xfrm rot="16200000">
              <a:off x="6645902" y="2019619"/>
              <a:ext cx="740288" cy="477033"/>
            </a:xfrm>
            <a:prstGeom prst="parallelogram">
              <a:avLst>
                <a:gd name="adj" fmla="val 36484"/>
              </a:avLst>
            </a:prstGeom>
            <a:solidFill>
              <a:srgbClr val="00AEEF"/>
            </a:solidFill>
            <a:ln w="14288" cap="flat">
              <a:noFill/>
              <a:prstDash val="solid"/>
              <a:miter lim="800000"/>
            </a:ln>
            <a:effectLst>
              <a:outerShdw blurRad="101600" dist="50800" dir="5400000" sx="102000" sy="102000" algn="t" rotWithShape="0">
                <a:prstClr val="black">
                  <a:alpha val="28000"/>
                </a:prstClr>
              </a:outerShdw>
            </a:effectLst>
          </p:spPr>
          <p:txBody>
            <a:bodyPr vert="horz" wrap="square" lIns="91416" tIns="45708" rIns="91416" bIns="45708" numCol="1" anchor="t" anchorCtr="0" compatLnSpc="1"/>
            <a:lstStyle/>
            <a:p>
              <a:endParaRPr lang="zh-CN" altLang="en-US" sz="2400"/>
            </a:p>
          </p:txBody>
        </p:sp>
        <p:sp>
          <p:nvSpPr>
            <p:cNvPr id="32" name="平行四边形 117"/>
            <p:cNvSpPr/>
            <p:nvPr/>
          </p:nvSpPr>
          <p:spPr>
            <a:xfrm rot="9071256">
              <a:off x="7074221" y="1950233"/>
              <a:ext cx="890783" cy="502656"/>
            </a:xfrm>
            <a:prstGeom prst="parallelogram">
              <a:avLst>
                <a:gd name="adj" fmla="val 55040"/>
              </a:avLst>
            </a:prstGeom>
            <a:solidFill>
              <a:srgbClr val="BECCCD"/>
            </a:solidFill>
            <a:ln>
              <a:noFill/>
            </a:ln>
            <a:effectLst>
              <a:innerShdw blurRad="292100" dist="165100" dir="4200000">
                <a:prstClr val="black">
                  <a:alpha val="17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3" name="五边形 118"/>
            <p:cNvSpPr/>
            <p:nvPr/>
          </p:nvSpPr>
          <p:spPr>
            <a:xfrm flipH="1">
              <a:off x="5503720" y="3371869"/>
              <a:ext cx="2227320" cy="568209"/>
            </a:xfrm>
            <a:prstGeom prst="homePlate">
              <a:avLst>
                <a:gd name="adj" fmla="val 37444"/>
              </a:avLst>
            </a:prstGeom>
            <a:solidFill>
              <a:srgbClr val="00AEEF"/>
            </a:solidFill>
            <a:ln w="14288" cap="flat">
              <a:noFill/>
              <a:prstDash val="solid"/>
              <a:miter lim="800000"/>
            </a:ln>
            <a:effectLst>
              <a:reflection blurRad="6350" stA="52000" endA="300" endPos="35000" dir="5400000" sy="-100000" algn="bl" rotWithShape="0"/>
            </a:effectLst>
          </p:spPr>
          <p:txBody>
            <a:bodyPr vert="horz" wrap="square" lIns="91416" tIns="45708" rIns="91416" bIns="45708" numCol="1" anchor="t" anchorCtr="0" compatLnSpc="1"/>
            <a:lstStyle/>
            <a:p>
              <a:endParaRPr lang="zh-CN" altLang="en-US" sz="2400">
                <a:sym typeface="Batang" panose="02030600000101010101" charset="-127"/>
              </a:endParaRPr>
            </a:p>
          </p:txBody>
        </p:sp>
        <p:sp>
          <p:nvSpPr>
            <p:cNvPr id="34" name="平行四边形 119"/>
            <p:cNvSpPr/>
            <p:nvPr/>
          </p:nvSpPr>
          <p:spPr>
            <a:xfrm rot="1200000">
              <a:off x="7302977" y="2335693"/>
              <a:ext cx="919687" cy="456299"/>
            </a:xfrm>
            <a:prstGeom prst="parallelogram">
              <a:avLst>
                <a:gd name="adj" fmla="val 88523"/>
              </a:avLst>
            </a:prstGeom>
            <a:solidFill>
              <a:srgbClr val="F8F9FB"/>
            </a:solidFill>
            <a:ln>
              <a:noFill/>
            </a:ln>
            <a:effectLst>
              <a:outerShdw blurRad="457200" dist="114300" dir="15660000" sx="65000" sy="65000" rotWithShape="0">
                <a:prstClr val="black">
                  <a:alpha val="51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5" name="平行四边形 120"/>
            <p:cNvSpPr/>
            <p:nvPr/>
          </p:nvSpPr>
          <p:spPr>
            <a:xfrm rot="16200000">
              <a:off x="7122935" y="2758157"/>
              <a:ext cx="740288" cy="477033"/>
            </a:xfrm>
            <a:prstGeom prst="parallelogram">
              <a:avLst>
                <a:gd name="adj" fmla="val 36484"/>
              </a:avLst>
            </a:prstGeom>
            <a:solidFill>
              <a:srgbClr val="0070C0"/>
            </a:solidFill>
            <a:ln w="14288" cap="flat">
              <a:noFill/>
              <a:prstDash val="solid"/>
              <a:miter lim="800000"/>
            </a:ln>
            <a:effectLst>
              <a:outerShdw blurRad="101600" dist="50800" dir="5400000" sx="102000" sy="102000" algn="t" rotWithShape="0">
                <a:prstClr val="black">
                  <a:alpha val="28000"/>
                </a:prstClr>
              </a:outerShdw>
            </a:effectLst>
          </p:spPr>
          <p:txBody>
            <a:bodyPr vert="horz" wrap="square" lIns="91416" tIns="45708" rIns="91416" bIns="45708" numCol="1" anchor="t" anchorCtr="0" compatLnSpc="1"/>
            <a:lstStyle/>
            <a:p>
              <a:endParaRPr lang="zh-CN" altLang="en-US" sz="2400"/>
            </a:p>
          </p:txBody>
        </p:sp>
        <p:sp>
          <p:nvSpPr>
            <p:cNvPr id="36" name="平行四边形 121"/>
            <p:cNvSpPr/>
            <p:nvPr/>
          </p:nvSpPr>
          <p:spPr>
            <a:xfrm rot="9071256">
              <a:off x="7551254" y="2688771"/>
              <a:ext cx="890783" cy="502656"/>
            </a:xfrm>
            <a:prstGeom prst="parallelogram">
              <a:avLst>
                <a:gd name="adj" fmla="val 55040"/>
              </a:avLst>
            </a:prstGeom>
            <a:solidFill>
              <a:srgbClr val="BECCCD"/>
            </a:solidFill>
            <a:ln>
              <a:noFill/>
            </a:ln>
            <a:effectLst>
              <a:innerShdw blurRad="292100" dist="165100" dir="4200000">
                <a:prstClr val="black">
                  <a:alpha val="17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7" name="平行四边形 122"/>
            <p:cNvSpPr/>
            <p:nvPr/>
          </p:nvSpPr>
          <p:spPr>
            <a:xfrm rot="1200000">
              <a:off x="7780009" y="3083302"/>
              <a:ext cx="919687" cy="456299"/>
            </a:xfrm>
            <a:prstGeom prst="parallelogram">
              <a:avLst>
                <a:gd name="adj" fmla="val 88523"/>
              </a:avLst>
            </a:prstGeom>
            <a:solidFill>
              <a:srgbClr val="F8F9FB"/>
            </a:solidFill>
            <a:ln>
              <a:noFill/>
            </a:ln>
            <a:effectLst>
              <a:outerShdw blurRad="457200" dist="114300" dir="15660000" sx="65000" sy="65000" rotWithShape="0">
                <a:prstClr val="black">
                  <a:alpha val="51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38" name="平行四边形 123"/>
            <p:cNvSpPr/>
            <p:nvPr/>
          </p:nvSpPr>
          <p:spPr>
            <a:xfrm rot="16200000">
              <a:off x="7599968" y="3505766"/>
              <a:ext cx="740288" cy="477033"/>
            </a:xfrm>
            <a:prstGeom prst="parallelogram">
              <a:avLst>
                <a:gd name="adj" fmla="val 36484"/>
              </a:avLst>
            </a:prstGeom>
            <a:solidFill>
              <a:srgbClr val="00AEEF"/>
            </a:solidFill>
            <a:ln w="14288" cap="flat">
              <a:noFill/>
              <a:prstDash val="solid"/>
              <a:miter lim="800000"/>
            </a:ln>
            <a:effectLst>
              <a:outerShdw blurRad="101600" dist="50800" dir="5400000" sx="102000" sy="102000" algn="t" rotWithShape="0">
                <a:prstClr val="black">
                  <a:alpha val="28000"/>
                </a:prstClr>
              </a:outerShdw>
            </a:effectLst>
          </p:spPr>
          <p:txBody>
            <a:bodyPr vert="horz" wrap="square" lIns="91416" tIns="45708" rIns="91416" bIns="45708" numCol="1" anchor="t" anchorCtr="0" compatLnSpc="1"/>
            <a:lstStyle/>
            <a:p>
              <a:endParaRPr lang="zh-CN" altLang="en-US" sz="2400"/>
            </a:p>
          </p:txBody>
        </p:sp>
        <p:sp>
          <p:nvSpPr>
            <p:cNvPr id="39" name="平行四边形 124"/>
            <p:cNvSpPr/>
            <p:nvPr/>
          </p:nvSpPr>
          <p:spPr>
            <a:xfrm rot="9071256">
              <a:off x="8028285" y="3436379"/>
              <a:ext cx="890783" cy="502656"/>
            </a:xfrm>
            <a:prstGeom prst="parallelogram">
              <a:avLst>
                <a:gd name="adj" fmla="val 55040"/>
              </a:avLst>
            </a:prstGeom>
            <a:solidFill>
              <a:srgbClr val="BECCCD"/>
            </a:solidFill>
            <a:ln>
              <a:noFill/>
            </a:ln>
            <a:effectLst>
              <a:innerShdw blurRad="292100" dist="165100" dir="4200000">
                <a:prstClr val="black">
                  <a:alpha val="17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p>
          </p:txBody>
        </p:sp>
        <p:sp>
          <p:nvSpPr>
            <p:cNvPr id="40" name="五边形 125"/>
            <p:cNvSpPr/>
            <p:nvPr/>
          </p:nvSpPr>
          <p:spPr>
            <a:xfrm flipH="1">
              <a:off x="5022115" y="2625012"/>
              <a:ext cx="2238255" cy="568209"/>
            </a:xfrm>
            <a:prstGeom prst="homePlate">
              <a:avLst>
                <a:gd name="adj" fmla="val 37444"/>
              </a:avLst>
            </a:prstGeom>
            <a:solidFill>
              <a:srgbClr val="0070C0"/>
            </a:solidFill>
            <a:ln w="14288" cap="flat">
              <a:noFill/>
              <a:prstDash val="solid"/>
              <a:miter lim="800000"/>
            </a:ln>
            <a:effectLst>
              <a:reflection blurRad="6350" stA="52000" endA="300" endPos="35000" dir="5400000" sy="-100000" algn="bl" rotWithShape="0"/>
            </a:effectLst>
          </p:spPr>
          <p:txBody>
            <a:bodyPr vert="horz" wrap="square" lIns="91416" tIns="45708" rIns="91416" bIns="45708" numCol="1" anchor="t" anchorCtr="0" compatLnSpc="1"/>
            <a:lstStyle/>
            <a:p>
              <a:endParaRPr lang="zh-CN" altLang="en-US" sz="2400" dirty="0">
                <a:sym typeface="Batang" panose="02030600000101010101" charset="-127"/>
              </a:endParaRPr>
            </a:p>
          </p:txBody>
        </p:sp>
        <p:sp>
          <p:nvSpPr>
            <p:cNvPr id="41" name="五边形 126"/>
            <p:cNvSpPr/>
            <p:nvPr/>
          </p:nvSpPr>
          <p:spPr>
            <a:xfrm flipH="1">
              <a:off x="4552949" y="1883949"/>
              <a:ext cx="2227320" cy="568209"/>
            </a:xfrm>
            <a:prstGeom prst="homePlate">
              <a:avLst>
                <a:gd name="adj" fmla="val 40583"/>
              </a:avLst>
            </a:prstGeom>
            <a:solidFill>
              <a:srgbClr val="00AEEF"/>
            </a:solidFill>
            <a:ln w="14288" cap="flat">
              <a:noFill/>
              <a:prstDash val="solid"/>
              <a:miter lim="800000"/>
            </a:ln>
            <a:effectLst>
              <a:reflection blurRad="6350" stA="52000" endA="300" endPos="35000" dir="5400000" sy="-100000" algn="bl" rotWithShape="0"/>
            </a:effectLst>
          </p:spPr>
          <p:txBody>
            <a:bodyPr vert="horz" wrap="square" lIns="91416" tIns="45708" rIns="91416" bIns="45708" numCol="1" anchor="t" anchorCtr="0" compatLnSpc="1"/>
            <a:lstStyle/>
            <a:p>
              <a:endParaRPr lang="zh-CN" altLang="en-US" sz="2400">
                <a:sym typeface="Batang" panose="02030600000101010101" charset="-127"/>
              </a:endParaRPr>
            </a:p>
          </p:txBody>
        </p:sp>
        <p:sp>
          <p:nvSpPr>
            <p:cNvPr id="42" name="Freeform 89"/>
            <p:cNvSpPr>
              <a:spLocks noEditPoints="1"/>
            </p:cNvSpPr>
            <p:nvPr/>
          </p:nvSpPr>
          <p:spPr bwMode="black">
            <a:xfrm>
              <a:off x="7563794" y="2376547"/>
              <a:ext cx="422573" cy="268028"/>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rgbClr val="00AEEF"/>
            </a:solidFill>
            <a:ln>
              <a:noFill/>
            </a:ln>
            <a:effectLst>
              <a:reflection blurRad="6350" stA="52000" endA="300" endPos="35000" dir="5400000" sy="-100000" algn="bl" rotWithShape="0"/>
            </a:effectLst>
          </p:spPr>
          <p:txBody>
            <a:bodyPr vert="horz" wrap="square" lIns="61719" tIns="30859" rIns="61719" bIns="30859" numCol="1" anchor="t" anchorCtr="0" compatLnSpc="1"/>
            <a:lstStyle/>
            <a:p>
              <a:endParaRPr lang="en-US" sz="900" dirty="0"/>
            </a:p>
          </p:txBody>
        </p:sp>
        <p:sp>
          <p:nvSpPr>
            <p:cNvPr id="43" name="矩形 128"/>
            <p:cNvSpPr/>
            <p:nvPr/>
          </p:nvSpPr>
          <p:spPr>
            <a:xfrm rot="10800000">
              <a:off x="6626393" y="1888658"/>
              <a:ext cx="148050" cy="563500"/>
            </a:xfrm>
            <a:prstGeom prst="rect">
              <a:avLst/>
            </a:prstGeom>
            <a:gradFill>
              <a:gsLst>
                <a:gs pos="0">
                  <a:schemeClr val="bg1">
                    <a:alpha val="0"/>
                  </a:schemeClr>
                </a:gs>
                <a:gs pos="87000">
                  <a:schemeClr val="tx1">
                    <a:alpha val="23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Batang" panose="02030600000101010101" charset="-127"/>
                <a:sym typeface="Batang" panose="02030600000101010101" charset="-127"/>
              </a:endParaRPr>
            </a:p>
          </p:txBody>
        </p:sp>
        <p:sp>
          <p:nvSpPr>
            <p:cNvPr id="44" name="矩形 129"/>
            <p:cNvSpPr/>
            <p:nvPr/>
          </p:nvSpPr>
          <p:spPr>
            <a:xfrm rot="10800000">
              <a:off x="7110671" y="2625011"/>
              <a:ext cx="148050" cy="568209"/>
            </a:xfrm>
            <a:prstGeom prst="rect">
              <a:avLst/>
            </a:prstGeom>
            <a:gradFill>
              <a:gsLst>
                <a:gs pos="0">
                  <a:schemeClr val="bg1">
                    <a:alpha val="0"/>
                  </a:schemeClr>
                </a:gs>
                <a:gs pos="87000">
                  <a:schemeClr val="tx1">
                    <a:alpha val="23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Batang" panose="02030600000101010101" charset="-127"/>
                <a:sym typeface="Batang" panose="02030600000101010101" charset="-127"/>
              </a:endParaRPr>
            </a:p>
          </p:txBody>
        </p:sp>
        <p:sp>
          <p:nvSpPr>
            <p:cNvPr id="45" name="矩形 130"/>
            <p:cNvSpPr/>
            <p:nvPr/>
          </p:nvSpPr>
          <p:spPr>
            <a:xfrm rot="10800000">
              <a:off x="7377911" y="3371869"/>
              <a:ext cx="354683" cy="568209"/>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Batang" panose="02030600000101010101" charset="-127"/>
                <a:sym typeface="Batang" panose="02030600000101010101" charset="-127"/>
              </a:endParaRPr>
            </a:p>
          </p:txBody>
        </p:sp>
        <p:pic>
          <p:nvPicPr>
            <p:cNvPr id="46"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a:fillRect/>
            </a:stretch>
          </p:blipFill>
          <p:spPr bwMode="auto">
            <a:xfrm rot="19878225" flipV="1">
              <a:off x="7637917" y="3214337"/>
              <a:ext cx="765578" cy="852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7"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a:fillRect/>
            </a:stretch>
          </p:blipFill>
          <p:spPr bwMode="auto">
            <a:xfrm rot="19878225" flipV="1">
              <a:off x="7113625" y="2493408"/>
              <a:ext cx="765578" cy="852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8" name="组合 133"/>
            <p:cNvGrpSpPr>
              <a:grpSpLocks noChangeAspect="1"/>
            </p:cNvGrpSpPr>
            <p:nvPr/>
          </p:nvGrpSpPr>
          <p:grpSpPr>
            <a:xfrm>
              <a:off x="7088733" y="1591929"/>
              <a:ext cx="339976" cy="286883"/>
              <a:chOff x="2162176" y="-104775"/>
              <a:chExt cx="1655763" cy="1417638"/>
            </a:xfrm>
            <a:solidFill>
              <a:srgbClr val="3666D7"/>
            </a:solidFill>
          </p:grpSpPr>
          <p:sp>
            <p:nvSpPr>
              <p:cNvPr id="71" name="Freeform 3767"/>
              <p:cNvSpPr/>
              <p:nvPr/>
            </p:nvSpPr>
            <p:spPr bwMode="auto">
              <a:xfrm>
                <a:off x="2311401" y="104775"/>
                <a:ext cx="1370013" cy="1208088"/>
              </a:xfrm>
              <a:custGeom>
                <a:avLst/>
                <a:gdLst>
                  <a:gd name="T0" fmla="*/ 231 w 431"/>
                  <a:gd name="T1" fmla="*/ 6 h 380"/>
                  <a:gd name="T2" fmla="*/ 190 w 431"/>
                  <a:gd name="T3" fmla="*/ 7 h 380"/>
                  <a:gd name="T4" fmla="*/ 20 w 431"/>
                  <a:gd name="T5" fmla="*/ 106 h 380"/>
                  <a:gd name="T6" fmla="*/ 0 w 431"/>
                  <a:gd name="T7" fmla="*/ 142 h 380"/>
                  <a:gd name="T8" fmla="*/ 0 w 431"/>
                  <a:gd name="T9" fmla="*/ 357 h 380"/>
                  <a:gd name="T10" fmla="*/ 24 w 431"/>
                  <a:gd name="T11" fmla="*/ 380 h 380"/>
                  <a:gd name="T12" fmla="*/ 124 w 431"/>
                  <a:gd name="T13" fmla="*/ 380 h 380"/>
                  <a:gd name="T14" fmla="*/ 148 w 431"/>
                  <a:gd name="T15" fmla="*/ 357 h 380"/>
                  <a:gd name="T16" fmla="*/ 148 w 431"/>
                  <a:gd name="T17" fmla="*/ 258 h 380"/>
                  <a:gd name="T18" fmla="*/ 171 w 431"/>
                  <a:gd name="T19" fmla="*/ 235 h 380"/>
                  <a:gd name="T20" fmla="*/ 260 w 431"/>
                  <a:gd name="T21" fmla="*/ 235 h 380"/>
                  <a:gd name="T22" fmla="*/ 283 w 431"/>
                  <a:gd name="T23" fmla="*/ 258 h 380"/>
                  <a:gd name="T24" fmla="*/ 283 w 431"/>
                  <a:gd name="T25" fmla="*/ 357 h 380"/>
                  <a:gd name="T26" fmla="*/ 307 w 431"/>
                  <a:gd name="T27" fmla="*/ 380 h 380"/>
                  <a:gd name="T28" fmla="*/ 407 w 431"/>
                  <a:gd name="T29" fmla="*/ 380 h 380"/>
                  <a:gd name="T30" fmla="*/ 431 w 431"/>
                  <a:gd name="T31" fmla="*/ 357 h 380"/>
                  <a:gd name="T32" fmla="*/ 431 w 431"/>
                  <a:gd name="T33" fmla="*/ 142 h 380"/>
                  <a:gd name="T34" fmla="*/ 410 w 431"/>
                  <a:gd name="T35" fmla="*/ 107 h 380"/>
                  <a:gd name="T36" fmla="*/ 231 w 431"/>
                  <a:gd name="T37" fmla="*/ 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1" h="380">
                    <a:moveTo>
                      <a:pt x="231" y="6"/>
                    </a:moveTo>
                    <a:cubicBezTo>
                      <a:pt x="220" y="0"/>
                      <a:pt x="201" y="0"/>
                      <a:pt x="190" y="7"/>
                    </a:cubicBezTo>
                    <a:cubicBezTo>
                      <a:pt x="20" y="106"/>
                      <a:pt x="20" y="106"/>
                      <a:pt x="20" y="106"/>
                    </a:cubicBezTo>
                    <a:cubicBezTo>
                      <a:pt x="9" y="113"/>
                      <a:pt x="0" y="129"/>
                      <a:pt x="0" y="142"/>
                    </a:cubicBezTo>
                    <a:cubicBezTo>
                      <a:pt x="0" y="357"/>
                      <a:pt x="0" y="357"/>
                      <a:pt x="0" y="357"/>
                    </a:cubicBezTo>
                    <a:cubicBezTo>
                      <a:pt x="0" y="370"/>
                      <a:pt x="10" y="380"/>
                      <a:pt x="24" y="380"/>
                    </a:cubicBezTo>
                    <a:cubicBezTo>
                      <a:pt x="124" y="380"/>
                      <a:pt x="124" y="380"/>
                      <a:pt x="124" y="380"/>
                    </a:cubicBezTo>
                    <a:cubicBezTo>
                      <a:pt x="137" y="380"/>
                      <a:pt x="148" y="370"/>
                      <a:pt x="148" y="357"/>
                    </a:cubicBezTo>
                    <a:cubicBezTo>
                      <a:pt x="148" y="258"/>
                      <a:pt x="148" y="258"/>
                      <a:pt x="148" y="258"/>
                    </a:cubicBezTo>
                    <a:cubicBezTo>
                      <a:pt x="148" y="245"/>
                      <a:pt x="158" y="235"/>
                      <a:pt x="171" y="235"/>
                    </a:cubicBezTo>
                    <a:cubicBezTo>
                      <a:pt x="260" y="235"/>
                      <a:pt x="260" y="235"/>
                      <a:pt x="260" y="235"/>
                    </a:cubicBezTo>
                    <a:cubicBezTo>
                      <a:pt x="273" y="235"/>
                      <a:pt x="283" y="245"/>
                      <a:pt x="283" y="258"/>
                    </a:cubicBezTo>
                    <a:cubicBezTo>
                      <a:pt x="283" y="357"/>
                      <a:pt x="283" y="357"/>
                      <a:pt x="283" y="357"/>
                    </a:cubicBezTo>
                    <a:cubicBezTo>
                      <a:pt x="283" y="370"/>
                      <a:pt x="294" y="380"/>
                      <a:pt x="307" y="380"/>
                    </a:cubicBezTo>
                    <a:cubicBezTo>
                      <a:pt x="407" y="380"/>
                      <a:pt x="407" y="380"/>
                      <a:pt x="407" y="380"/>
                    </a:cubicBezTo>
                    <a:cubicBezTo>
                      <a:pt x="420" y="380"/>
                      <a:pt x="431" y="370"/>
                      <a:pt x="431" y="357"/>
                    </a:cubicBezTo>
                    <a:cubicBezTo>
                      <a:pt x="431" y="142"/>
                      <a:pt x="431" y="142"/>
                      <a:pt x="431" y="142"/>
                    </a:cubicBezTo>
                    <a:cubicBezTo>
                      <a:pt x="431" y="129"/>
                      <a:pt x="422" y="113"/>
                      <a:pt x="410" y="107"/>
                    </a:cubicBezTo>
                    <a:lnTo>
                      <a:pt x="231" y="6"/>
                    </a:lnTo>
                    <a:close/>
                  </a:path>
                </a:pathLst>
              </a:custGeom>
              <a:solidFill>
                <a:srgbClr val="00AEEF"/>
              </a:solidFill>
              <a:ln>
                <a:noFill/>
              </a:ln>
              <a:effectLst>
                <a:reflection blurRad="6350" stA="52000" endA="300" endPos="35000" dir="5400000" sy="-100000" algn="bl" rotWithShape="0"/>
              </a:effectLst>
            </p:spPr>
            <p:txBody>
              <a:bodyPr vert="horz" wrap="square" lIns="82292" tIns="41145" rIns="82292" bIns="41145" numCol="1" anchor="t" anchorCtr="0" compatLnSpc="1"/>
              <a:lstStyle/>
              <a:p>
                <a:endParaRPr lang="zh-CN" altLang="en-US" sz="900" dirty="0"/>
              </a:p>
            </p:txBody>
          </p:sp>
          <p:sp>
            <p:nvSpPr>
              <p:cNvPr id="72" name="Freeform 3768"/>
              <p:cNvSpPr/>
              <p:nvPr/>
            </p:nvSpPr>
            <p:spPr bwMode="auto">
              <a:xfrm>
                <a:off x="2162176" y="-104775"/>
                <a:ext cx="1655763" cy="552450"/>
              </a:xfrm>
              <a:custGeom>
                <a:avLst/>
                <a:gdLst>
                  <a:gd name="T0" fmla="*/ 516 w 521"/>
                  <a:gd name="T1" fmla="*/ 165 h 174"/>
                  <a:gd name="T2" fmla="*/ 487 w 521"/>
                  <a:gd name="T3" fmla="*/ 167 h 174"/>
                  <a:gd name="T4" fmla="*/ 276 w 521"/>
                  <a:gd name="T5" fmla="*/ 45 h 174"/>
                  <a:gd name="T6" fmla="*/ 235 w 521"/>
                  <a:gd name="T7" fmla="*/ 45 h 174"/>
                  <a:gd name="T8" fmla="*/ 34 w 521"/>
                  <a:gd name="T9" fmla="*/ 167 h 174"/>
                  <a:gd name="T10" fmla="*/ 5 w 521"/>
                  <a:gd name="T11" fmla="*/ 165 h 174"/>
                  <a:gd name="T12" fmla="*/ 16 w 521"/>
                  <a:gd name="T13" fmla="*/ 138 h 174"/>
                  <a:gd name="T14" fmla="*/ 235 w 521"/>
                  <a:gd name="T15" fmla="*/ 7 h 174"/>
                  <a:gd name="T16" fmla="*/ 276 w 521"/>
                  <a:gd name="T17" fmla="*/ 6 h 174"/>
                  <a:gd name="T18" fmla="*/ 504 w 521"/>
                  <a:gd name="T19" fmla="*/ 139 h 174"/>
                  <a:gd name="T20" fmla="*/ 516 w 521"/>
                  <a:gd name="T21" fmla="*/ 16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1" h="174">
                    <a:moveTo>
                      <a:pt x="516" y="165"/>
                    </a:moveTo>
                    <a:cubicBezTo>
                      <a:pt x="512" y="173"/>
                      <a:pt x="499" y="174"/>
                      <a:pt x="487" y="167"/>
                    </a:cubicBezTo>
                    <a:cubicBezTo>
                      <a:pt x="276" y="45"/>
                      <a:pt x="276" y="45"/>
                      <a:pt x="276" y="45"/>
                    </a:cubicBezTo>
                    <a:cubicBezTo>
                      <a:pt x="265" y="38"/>
                      <a:pt x="247" y="38"/>
                      <a:pt x="235" y="45"/>
                    </a:cubicBezTo>
                    <a:cubicBezTo>
                      <a:pt x="34" y="167"/>
                      <a:pt x="34" y="167"/>
                      <a:pt x="34" y="167"/>
                    </a:cubicBezTo>
                    <a:cubicBezTo>
                      <a:pt x="22" y="174"/>
                      <a:pt x="9" y="173"/>
                      <a:pt x="5" y="165"/>
                    </a:cubicBezTo>
                    <a:cubicBezTo>
                      <a:pt x="0" y="157"/>
                      <a:pt x="5" y="145"/>
                      <a:pt x="16" y="138"/>
                    </a:cubicBezTo>
                    <a:cubicBezTo>
                      <a:pt x="235" y="7"/>
                      <a:pt x="235" y="7"/>
                      <a:pt x="235" y="7"/>
                    </a:cubicBezTo>
                    <a:cubicBezTo>
                      <a:pt x="246" y="0"/>
                      <a:pt x="265" y="0"/>
                      <a:pt x="276" y="6"/>
                    </a:cubicBezTo>
                    <a:cubicBezTo>
                      <a:pt x="504" y="139"/>
                      <a:pt x="504" y="139"/>
                      <a:pt x="504" y="139"/>
                    </a:cubicBezTo>
                    <a:cubicBezTo>
                      <a:pt x="515" y="145"/>
                      <a:pt x="521" y="157"/>
                      <a:pt x="516" y="165"/>
                    </a:cubicBezTo>
                    <a:close/>
                  </a:path>
                </a:pathLst>
              </a:custGeom>
              <a:solidFill>
                <a:schemeClr val="accent1"/>
              </a:solidFill>
              <a:ln>
                <a:noFill/>
              </a:ln>
              <a:effectLst>
                <a:reflection blurRad="6350" stA="52000" endA="300" endPos="35000" dir="5400000" sy="-100000" algn="bl" rotWithShape="0"/>
              </a:effectLst>
            </p:spPr>
            <p:txBody>
              <a:bodyPr vert="horz" wrap="square" lIns="82292" tIns="41145" rIns="82292" bIns="41145" numCol="1" anchor="t" anchorCtr="0" compatLnSpc="1"/>
              <a:lstStyle/>
              <a:p>
                <a:endParaRPr lang="zh-CN" altLang="en-US" sz="900" dirty="0"/>
              </a:p>
            </p:txBody>
          </p:sp>
        </p:grpSp>
        <p:pic>
          <p:nvPicPr>
            <p:cNvPr id="49" name="Picture 5" descr="\\MAGNUM\Projects\Microsoft\Cloud Power FY12\Design\ICONS_PNG\Increase.png"/>
            <p:cNvPicPr>
              <a:picLocks noChangeAspect="1" noChangeArrowheads="1"/>
            </p:cNvPicPr>
            <p:nvPr/>
          </p:nvPicPr>
          <p:blipFill rotWithShape="1">
            <a:blip r:embed="rId9" cstate="print">
              <a:duotone>
                <a:prstClr val="black"/>
                <a:srgbClr val="393F59">
                  <a:tint val="45000"/>
                  <a:satMod val="400000"/>
                </a:srgbClr>
              </a:duotone>
            </a:blip>
            <a:srcRect b="16251"/>
            <a:stretch>
              <a:fillRect/>
            </a:stretch>
          </p:blipFill>
          <p:spPr bwMode="auto">
            <a:xfrm>
              <a:off x="7816381" y="2782717"/>
              <a:ext cx="713153" cy="588490"/>
            </a:xfrm>
            <a:prstGeom prst="rect">
              <a:avLst/>
            </a:prstGeom>
            <a:noFill/>
            <a:effectLst>
              <a:reflection blurRad="6350" stA="52000" endA="300" endPos="35000" dir="5400000" sy="-100000" algn="bl" rotWithShape="0"/>
            </a:effectLst>
          </p:spPr>
        </p:pic>
        <p:sp>
          <p:nvSpPr>
            <p:cNvPr id="50" name="文本框 137"/>
            <p:cNvSpPr txBox="1"/>
            <p:nvPr/>
          </p:nvSpPr>
          <p:spPr>
            <a:xfrm>
              <a:off x="5007689" y="1998337"/>
              <a:ext cx="1594942" cy="376967"/>
            </a:xfrm>
            <a:prstGeom prst="rect">
              <a:avLst/>
            </a:prstGeom>
            <a:noFill/>
          </p:spPr>
          <p:txBody>
            <a:bodyPr wrap="none" lIns="91416" tIns="45708" rIns="91416" bIns="45708" rtlCol="0">
              <a:spAutoFit/>
            </a:bodyPr>
            <a:lstStyle/>
            <a:p>
              <a:r>
                <a:rPr lang="zh-CN" altLang="en-US" sz="1800" dirty="0">
                  <a:solidFill>
                    <a:schemeClr val="bg1"/>
                  </a:solidFill>
                  <a:latin typeface="微软雅黑" panose="020B0503020204020204" pitchFamily="34" charset="-122"/>
                  <a:ea typeface="微软雅黑" panose="020B0503020204020204" pitchFamily="34" charset="-122"/>
                  <a:cs typeface="Tahoma" panose="020B0604030504040204" pitchFamily="34" charset="0"/>
                </a:rPr>
                <a:t>点击输入文字</a:t>
              </a:r>
            </a:p>
          </p:txBody>
        </p:sp>
        <p:sp>
          <p:nvSpPr>
            <p:cNvPr id="51" name="文本框 138"/>
            <p:cNvSpPr txBox="1"/>
            <p:nvPr/>
          </p:nvSpPr>
          <p:spPr>
            <a:xfrm>
              <a:off x="5407901" y="2735217"/>
              <a:ext cx="1594942" cy="376967"/>
            </a:xfrm>
            <a:prstGeom prst="rect">
              <a:avLst/>
            </a:prstGeom>
            <a:noFill/>
          </p:spPr>
          <p:txBody>
            <a:bodyPr wrap="none" lIns="91416" tIns="45708" rIns="91416" bIns="45708" rtlCol="0">
              <a:spAutoFit/>
            </a:bodyPr>
            <a:lstStyle/>
            <a:p>
              <a:r>
                <a:rPr lang="zh-CN" altLang="en-US" sz="1800" dirty="0">
                  <a:solidFill>
                    <a:schemeClr val="bg1"/>
                  </a:solidFill>
                  <a:latin typeface="微软雅黑" panose="020B0503020204020204" pitchFamily="34" charset="-122"/>
                  <a:ea typeface="微软雅黑" panose="020B0503020204020204" pitchFamily="34" charset="-122"/>
                  <a:cs typeface="Tahoma" panose="020B0604030504040204" pitchFamily="34" charset="0"/>
                </a:rPr>
                <a:t>点击输入文字</a:t>
              </a:r>
            </a:p>
          </p:txBody>
        </p:sp>
        <p:sp>
          <p:nvSpPr>
            <p:cNvPr id="52" name="文本框 139"/>
            <p:cNvSpPr txBox="1"/>
            <p:nvPr/>
          </p:nvSpPr>
          <p:spPr>
            <a:xfrm>
              <a:off x="5808113" y="3472097"/>
              <a:ext cx="1594942" cy="376967"/>
            </a:xfrm>
            <a:prstGeom prst="rect">
              <a:avLst/>
            </a:prstGeom>
            <a:noFill/>
          </p:spPr>
          <p:txBody>
            <a:bodyPr wrap="none" lIns="91416" tIns="45708" rIns="91416" bIns="45708" rtlCol="0">
              <a:spAutoFit/>
            </a:bodyPr>
            <a:lstStyle/>
            <a:p>
              <a:r>
                <a:rPr lang="zh-CN" altLang="en-US" sz="1800" dirty="0">
                  <a:solidFill>
                    <a:schemeClr val="bg1"/>
                  </a:solidFill>
                  <a:latin typeface="微软雅黑" panose="020B0503020204020204" pitchFamily="34" charset="-122"/>
                  <a:ea typeface="微软雅黑" panose="020B0503020204020204" pitchFamily="34" charset="-122"/>
                  <a:cs typeface="Tahoma" panose="020B0604030504040204" pitchFamily="34" charset="0"/>
                </a:rPr>
                <a:t>点击输入文字</a:t>
              </a:r>
            </a:p>
          </p:txBody>
        </p:sp>
        <p:grpSp>
          <p:nvGrpSpPr>
            <p:cNvPr id="53" name="组合 140"/>
            <p:cNvGrpSpPr/>
            <p:nvPr/>
          </p:nvGrpSpPr>
          <p:grpSpPr>
            <a:xfrm>
              <a:off x="6901085" y="2030573"/>
              <a:ext cx="218826" cy="477753"/>
              <a:chOff x="5038767" y="1303073"/>
              <a:chExt cx="325210" cy="720403"/>
            </a:xfrm>
          </p:grpSpPr>
          <p:sp>
            <p:nvSpPr>
              <p:cNvPr id="66" name="Freeform 22"/>
              <p:cNvSpPr/>
              <p:nvPr/>
            </p:nvSpPr>
            <p:spPr bwMode="auto">
              <a:xfrm>
                <a:off x="5122540" y="1634458"/>
                <a:ext cx="100858" cy="389018"/>
              </a:xfrm>
              <a:custGeom>
                <a:avLst/>
                <a:gdLst>
                  <a:gd name="T0" fmla="*/ 14 w 21"/>
                  <a:gd name="T1" fmla="*/ 78 h 80"/>
                  <a:gd name="T2" fmla="*/ 7 w 21"/>
                  <a:gd name="T3" fmla="*/ 67 h 80"/>
                  <a:gd name="T4" fmla="*/ 7 w 21"/>
                  <a:gd name="T5" fmla="*/ 16 h 80"/>
                  <a:gd name="T6" fmla="*/ 0 w 21"/>
                  <a:gd name="T7" fmla="*/ 6 h 80"/>
                  <a:gd name="T8" fmla="*/ 7 w 21"/>
                  <a:gd name="T9" fmla="*/ 3 h 80"/>
                  <a:gd name="T10" fmla="*/ 14 w 21"/>
                  <a:gd name="T11" fmla="*/ 6 h 80"/>
                  <a:gd name="T12" fmla="*/ 21 w 21"/>
                  <a:gd name="T13" fmla="*/ 17 h 80"/>
                  <a:gd name="T14" fmla="*/ 21 w 21"/>
                  <a:gd name="T15" fmla="*/ 75 h 80"/>
                  <a:gd name="T16" fmla="*/ 14 w 21"/>
                  <a:gd name="T17" fmla="*/ 7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80">
                    <a:moveTo>
                      <a:pt x="14" y="78"/>
                    </a:moveTo>
                    <a:cubicBezTo>
                      <a:pt x="9" y="75"/>
                      <a:pt x="7" y="72"/>
                      <a:pt x="7" y="67"/>
                    </a:cubicBezTo>
                    <a:cubicBezTo>
                      <a:pt x="7" y="16"/>
                      <a:pt x="7" y="16"/>
                      <a:pt x="7" y="16"/>
                    </a:cubicBezTo>
                    <a:cubicBezTo>
                      <a:pt x="2" y="13"/>
                      <a:pt x="0" y="10"/>
                      <a:pt x="0" y="6"/>
                    </a:cubicBezTo>
                    <a:cubicBezTo>
                      <a:pt x="0" y="1"/>
                      <a:pt x="2" y="0"/>
                      <a:pt x="7" y="3"/>
                    </a:cubicBezTo>
                    <a:cubicBezTo>
                      <a:pt x="14" y="6"/>
                      <a:pt x="14" y="6"/>
                      <a:pt x="14" y="6"/>
                    </a:cubicBezTo>
                    <a:cubicBezTo>
                      <a:pt x="19" y="9"/>
                      <a:pt x="21" y="13"/>
                      <a:pt x="21" y="17"/>
                    </a:cubicBezTo>
                    <a:cubicBezTo>
                      <a:pt x="21" y="75"/>
                      <a:pt x="21" y="75"/>
                      <a:pt x="21" y="75"/>
                    </a:cubicBezTo>
                    <a:cubicBezTo>
                      <a:pt x="21" y="79"/>
                      <a:pt x="19" y="80"/>
                      <a:pt x="14" y="78"/>
                    </a:cubicBez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7" name="Freeform 23"/>
              <p:cNvSpPr/>
              <p:nvPr/>
            </p:nvSpPr>
            <p:spPr bwMode="auto">
              <a:xfrm>
                <a:off x="5038767" y="1303073"/>
                <a:ext cx="47341" cy="139964"/>
              </a:xfrm>
              <a:custGeom>
                <a:avLst/>
                <a:gdLst>
                  <a:gd name="T0" fmla="*/ 0 w 10"/>
                  <a:gd name="T1" fmla="*/ 15 h 29"/>
                  <a:gd name="T2" fmla="*/ 3 w 10"/>
                  <a:gd name="T3" fmla="*/ 17 h 29"/>
                  <a:gd name="T4" fmla="*/ 4 w 10"/>
                  <a:gd name="T5" fmla="*/ 21 h 29"/>
                  <a:gd name="T6" fmla="*/ 5 w 10"/>
                  <a:gd name="T7" fmla="*/ 25 h 29"/>
                  <a:gd name="T8" fmla="*/ 7 w 10"/>
                  <a:gd name="T9" fmla="*/ 23 h 29"/>
                  <a:gd name="T10" fmla="*/ 5 w 10"/>
                  <a:gd name="T11" fmla="*/ 17 h 29"/>
                  <a:gd name="T12" fmla="*/ 2 w 10"/>
                  <a:gd name="T13" fmla="*/ 10 h 29"/>
                  <a:gd name="T14" fmla="*/ 1 w 10"/>
                  <a:gd name="T15" fmla="*/ 4 h 29"/>
                  <a:gd name="T16" fmla="*/ 2 w 10"/>
                  <a:gd name="T17" fmla="*/ 1 h 29"/>
                  <a:gd name="T18" fmla="*/ 5 w 10"/>
                  <a:gd name="T19" fmla="*/ 1 h 29"/>
                  <a:gd name="T20" fmla="*/ 9 w 10"/>
                  <a:gd name="T21" fmla="*/ 4 h 29"/>
                  <a:gd name="T22" fmla="*/ 10 w 10"/>
                  <a:gd name="T23" fmla="*/ 8 h 29"/>
                  <a:gd name="T24" fmla="*/ 10 w 10"/>
                  <a:gd name="T25" fmla="*/ 13 h 29"/>
                  <a:gd name="T26" fmla="*/ 7 w 10"/>
                  <a:gd name="T27" fmla="*/ 11 h 29"/>
                  <a:gd name="T28" fmla="*/ 7 w 10"/>
                  <a:gd name="T29" fmla="*/ 6 h 29"/>
                  <a:gd name="T30" fmla="*/ 6 w 10"/>
                  <a:gd name="T31" fmla="*/ 4 h 29"/>
                  <a:gd name="T32" fmla="*/ 4 w 10"/>
                  <a:gd name="T33" fmla="*/ 4 h 29"/>
                  <a:gd name="T34" fmla="*/ 4 w 10"/>
                  <a:gd name="T35" fmla="*/ 5 h 29"/>
                  <a:gd name="T36" fmla="*/ 6 w 10"/>
                  <a:gd name="T37" fmla="*/ 12 h 29"/>
                  <a:gd name="T38" fmla="*/ 9 w 10"/>
                  <a:gd name="T39" fmla="*/ 18 h 29"/>
                  <a:gd name="T40" fmla="*/ 10 w 10"/>
                  <a:gd name="T41" fmla="*/ 25 h 29"/>
                  <a:gd name="T42" fmla="*/ 9 w 10"/>
                  <a:gd name="T43" fmla="*/ 28 h 29"/>
                  <a:gd name="T44" fmla="*/ 5 w 10"/>
                  <a:gd name="T45" fmla="*/ 28 h 29"/>
                  <a:gd name="T46" fmla="*/ 0 w 10"/>
                  <a:gd name="T47" fmla="*/ 19 h 29"/>
                  <a:gd name="T48" fmla="*/ 0 w 10"/>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29">
                    <a:moveTo>
                      <a:pt x="0" y="15"/>
                    </a:moveTo>
                    <a:cubicBezTo>
                      <a:pt x="3" y="17"/>
                      <a:pt x="3" y="17"/>
                      <a:pt x="3" y="17"/>
                    </a:cubicBezTo>
                    <a:cubicBezTo>
                      <a:pt x="4" y="21"/>
                      <a:pt x="4" y="21"/>
                      <a:pt x="4" y="21"/>
                    </a:cubicBezTo>
                    <a:cubicBezTo>
                      <a:pt x="4" y="23"/>
                      <a:pt x="4" y="24"/>
                      <a:pt x="5" y="25"/>
                    </a:cubicBezTo>
                    <a:cubicBezTo>
                      <a:pt x="6" y="26"/>
                      <a:pt x="7" y="25"/>
                      <a:pt x="7" y="23"/>
                    </a:cubicBezTo>
                    <a:cubicBezTo>
                      <a:pt x="7" y="21"/>
                      <a:pt x="6" y="19"/>
                      <a:pt x="5" y="17"/>
                    </a:cubicBezTo>
                    <a:cubicBezTo>
                      <a:pt x="2" y="10"/>
                      <a:pt x="2" y="10"/>
                      <a:pt x="2" y="10"/>
                    </a:cubicBezTo>
                    <a:cubicBezTo>
                      <a:pt x="1" y="8"/>
                      <a:pt x="1" y="6"/>
                      <a:pt x="1" y="4"/>
                    </a:cubicBezTo>
                    <a:cubicBezTo>
                      <a:pt x="1" y="2"/>
                      <a:pt x="1" y="1"/>
                      <a:pt x="2" y="1"/>
                    </a:cubicBezTo>
                    <a:cubicBezTo>
                      <a:pt x="3" y="0"/>
                      <a:pt x="4" y="0"/>
                      <a:pt x="5" y="1"/>
                    </a:cubicBezTo>
                    <a:cubicBezTo>
                      <a:pt x="7" y="2"/>
                      <a:pt x="8" y="3"/>
                      <a:pt x="9" y="4"/>
                    </a:cubicBezTo>
                    <a:cubicBezTo>
                      <a:pt x="10" y="5"/>
                      <a:pt x="10" y="7"/>
                      <a:pt x="10" y="8"/>
                    </a:cubicBezTo>
                    <a:cubicBezTo>
                      <a:pt x="10" y="13"/>
                      <a:pt x="10" y="13"/>
                      <a:pt x="10" y="13"/>
                    </a:cubicBezTo>
                    <a:cubicBezTo>
                      <a:pt x="7" y="11"/>
                      <a:pt x="7" y="11"/>
                      <a:pt x="7" y="11"/>
                    </a:cubicBezTo>
                    <a:cubicBezTo>
                      <a:pt x="7" y="6"/>
                      <a:pt x="7" y="6"/>
                      <a:pt x="7" y="6"/>
                    </a:cubicBezTo>
                    <a:cubicBezTo>
                      <a:pt x="7" y="5"/>
                      <a:pt x="7" y="4"/>
                      <a:pt x="6" y="4"/>
                    </a:cubicBezTo>
                    <a:cubicBezTo>
                      <a:pt x="5" y="4"/>
                      <a:pt x="5" y="3"/>
                      <a:pt x="4" y="4"/>
                    </a:cubicBezTo>
                    <a:cubicBezTo>
                      <a:pt x="4" y="4"/>
                      <a:pt x="4" y="5"/>
                      <a:pt x="4" y="5"/>
                    </a:cubicBezTo>
                    <a:cubicBezTo>
                      <a:pt x="4" y="7"/>
                      <a:pt x="5" y="9"/>
                      <a:pt x="6" y="12"/>
                    </a:cubicBezTo>
                    <a:cubicBezTo>
                      <a:pt x="9" y="18"/>
                      <a:pt x="9" y="18"/>
                      <a:pt x="9" y="18"/>
                    </a:cubicBezTo>
                    <a:cubicBezTo>
                      <a:pt x="10" y="21"/>
                      <a:pt x="10" y="23"/>
                      <a:pt x="10" y="25"/>
                    </a:cubicBezTo>
                    <a:cubicBezTo>
                      <a:pt x="10" y="26"/>
                      <a:pt x="10" y="27"/>
                      <a:pt x="9" y="28"/>
                    </a:cubicBezTo>
                    <a:cubicBezTo>
                      <a:pt x="8" y="29"/>
                      <a:pt x="7" y="29"/>
                      <a:pt x="5" y="28"/>
                    </a:cubicBezTo>
                    <a:cubicBezTo>
                      <a:pt x="2" y="26"/>
                      <a:pt x="0" y="23"/>
                      <a:pt x="0" y="19"/>
                    </a:cubicBezTo>
                    <a:lnTo>
                      <a:pt x="0" y="15"/>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8" name="Freeform 24"/>
              <p:cNvSpPr/>
              <p:nvPr/>
            </p:nvSpPr>
            <p:spPr bwMode="auto">
              <a:xfrm>
                <a:off x="5131390" y="1346297"/>
                <a:ext cx="53516" cy="146139"/>
              </a:xfrm>
              <a:custGeom>
                <a:avLst/>
                <a:gdLst>
                  <a:gd name="T0" fmla="*/ 26 w 26"/>
                  <a:gd name="T1" fmla="*/ 14 h 71"/>
                  <a:gd name="T2" fmla="*/ 26 w 26"/>
                  <a:gd name="T3" fmla="*/ 21 h 71"/>
                  <a:gd name="T4" fmla="*/ 16 w 26"/>
                  <a:gd name="T5" fmla="*/ 17 h 71"/>
                  <a:gd name="T6" fmla="*/ 16 w 26"/>
                  <a:gd name="T7" fmla="*/ 71 h 71"/>
                  <a:gd name="T8" fmla="*/ 7 w 26"/>
                  <a:gd name="T9" fmla="*/ 66 h 71"/>
                  <a:gd name="T10" fmla="*/ 7 w 26"/>
                  <a:gd name="T11" fmla="*/ 12 h 71"/>
                  <a:gd name="T12" fmla="*/ 0 w 26"/>
                  <a:gd name="T13" fmla="*/ 7 h 71"/>
                  <a:gd name="T14" fmla="*/ 0 w 26"/>
                  <a:gd name="T15" fmla="*/ 2 h 71"/>
                  <a:gd name="T16" fmla="*/ 0 w 26"/>
                  <a:gd name="T17" fmla="*/ 0 h 71"/>
                  <a:gd name="T18" fmla="*/ 26 w 26"/>
                  <a:gd name="T19" fmla="*/ 1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71">
                    <a:moveTo>
                      <a:pt x="26" y="14"/>
                    </a:moveTo>
                    <a:lnTo>
                      <a:pt x="26" y="21"/>
                    </a:lnTo>
                    <a:lnTo>
                      <a:pt x="16" y="17"/>
                    </a:lnTo>
                    <a:lnTo>
                      <a:pt x="16" y="71"/>
                    </a:lnTo>
                    <a:lnTo>
                      <a:pt x="7" y="66"/>
                    </a:lnTo>
                    <a:lnTo>
                      <a:pt x="7" y="12"/>
                    </a:lnTo>
                    <a:lnTo>
                      <a:pt x="0" y="7"/>
                    </a:lnTo>
                    <a:lnTo>
                      <a:pt x="0" y="2"/>
                    </a:lnTo>
                    <a:lnTo>
                      <a:pt x="0" y="0"/>
                    </a:lnTo>
                    <a:lnTo>
                      <a:pt x="26" y="14"/>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9" name="Freeform 25"/>
              <p:cNvSpPr/>
              <p:nvPr/>
            </p:nvSpPr>
            <p:spPr bwMode="auto">
              <a:xfrm>
                <a:off x="5228129" y="1399813"/>
                <a:ext cx="43225" cy="150256"/>
              </a:xfrm>
              <a:custGeom>
                <a:avLst/>
                <a:gdLst>
                  <a:gd name="T0" fmla="*/ 0 w 21"/>
                  <a:gd name="T1" fmla="*/ 0 h 73"/>
                  <a:gd name="T2" fmla="*/ 21 w 21"/>
                  <a:gd name="T3" fmla="*/ 12 h 73"/>
                  <a:gd name="T4" fmla="*/ 21 w 21"/>
                  <a:gd name="T5" fmla="*/ 19 h 73"/>
                  <a:gd name="T6" fmla="*/ 10 w 21"/>
                  <a:gd name="T7" fmla="*/ 12 h 73"/>
                  <a:gd name="T8" fmla="*/ 10 w 21"/>
                  <a:gd name="T9" fmla="*/ 31 h 73"/>
                  <a:gd name="T10" fmla="*/ 19 w 21"/>
                  <a:gd name="T11" fmla="*/ 38 h 73"/>
                  <a:gd name="T12" fmla="*/ 19 w 21"/>
                  <a:gd name="T13" fmla="*/ 45 h 73"/>
                  <a:gd name="T14" fmla="*/ 10 w 21"/>
                  <a:gd name="T15" fmla="*/ 38 h 73"/>
                  <a:gd name="T16" fmla="*/ 10 w 21"/>
                  <a:gd name="T17" fmla="*/ 59 h 73"/>
                  <a:gd name="T18" fmla="*/ 21 w 21"/>
                  <a:gd name="T19" fmla="*/ 66 h 73"/>
                  <a:gd name="T20" fmla="*/ 21 w 21"/>
                  <a:gd name="T21" fmla="*/ 73 h 73"/>
                  <a:gd name="T22" fmla="*/ 0 w 21"/>
                  <a:gd name="T23" fmla="*/ 62 h 73"/>
                  <a:gd name="T24" fmla="*/ 0 w 21"/>
                  <a:gd name="T25"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73">
                    <a:moveTo>
                      <a:pt x="0" y="0"/>
                    </a:moveTo>
                    <a:lnTo>
                      <a:pt x="21" y="12"/>
                    </a:lnTo>
                    <a:lnTo>
                      <a:pt x="21" y="19"/>
                    </a:lnTo>
                    <a:lnTo>
                      <a:pt x="10" y="12"/>
                    </a:lnTo>
                    <a:lnTo>
                      <a:pt x="10" y="31"/>
                    </a:lnTo>
                    <a:lnTo>
                      <a:pt x="19" y="38"/>
                    </a:lnTo>
                    <a:lnTo>
                      <a:pt x="19" y="45"/>
                    </a:lnTo>
                    <a:lnTo>
                      <a:pt x="10" y="38"/>
                    </a:lnTo>
                    <a:lnTo>
                      <a:pt x="10" y="59"/>
                    </a:lnTo>
                    <a:lnTo>
                      <a:pt x="21" y="66"/>
                    </a:lnTo>
                    <a:lnTo>
                      <a:pt x="21" y="73"/>
                    </a:lnTo>
                    <a:lnTo>
                      <a:pt x="0" y="62"/>
                    </a:lnTo>
                    <a:lnTo>
                      <a:pt x="0" y="0"/>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70" name="Freeform 26"/>
              <p:cNvSpPr>
                <a:spLocks noEditPoints="1"/>
              </p:cNvSpPr>
              <p:nvPr/>
            </p:nvSpPr>
            <p:spPr bwMode="auto">
              <a:xfrm>
                <a:off x="5316636" y="1449212"/>
                <a:ext cx="47341" cy="135847"/>
              </a:xfrm>
              <a:custGeom>
                <a:avLst/>
                <a:gdLst>
                  <a:gd name="T0" fmla="*/ 0 w 10"/>
                  <a:gd name="T1" fmla="*/ 0 h 28"/>
                  <a:gd name="T2" fmla="*/ 7 w 10"/>
                  <a:gd name="T3" fmla="*/ 4 h 28"/>
                  <a:gd name="T4" fmla="*/ 10 w 10"/>
                  <a:gd name="T5" fmla="*/ 10 h 28"/>
                  <a:gd name="T6" fmla="*/ 10 w 10"/>
                  <a:gd name="T7" fmla="*/ 17 h 28"/>
                  <a:gd name="T8" fmla="*/ 8 w 10"/>
                  <a:gd name="T9" fmla="*/ 18 h 28"/>
                  <a:gd name="T10" fmla="*/ 4 w 10"/>
                  <a:gd name="T11" fmla="*/ 16 h 28"/>
                  <a:gd name="T12" fmla="*/ 3 w 10"/>
                  <a:gd name="T13" fmla="*/ 16 h 28"/>
                  <a:gd name="T14" fmla="*/ 3 w 10"/>
                  <a:gd name="T15" fmla="*/ 28 h 28"/>
                  <a:gd name="T16" fmla="*/ 0 w 10"/>
                  <a:gd name="T17" fmla="*/ 26 h 28"/>
                  <a:gd name="T18" fmla="*/ 0 w 10"/>
                  <a:gd name="T19" fmla="*/ 0 h 28"/>
                  <a:gd name="T20" fmla="*/ 5 w 10"/>
                  <a:gd name="T21" fmla="*/ 14 h 28"/>
                  <a:gd name="T22" fmla="*/ 6 w 10"/>
                  <a:gd name="T23" fmla="*/ 14 h 28"/>
                  <a:gd name="T24" fmla="*/ 7 w 10"/>
                  <a:gd name="T25" fmla="*/ 14 h 28"/>
                  <a:gd name="T26" fmla="*/ 7 w 10"/>
                  <a:gd name="T27" fmla="*/ 8 h 28"/>
                  <a:gd name="T28" fmla="*/ 5 w 10"/>
                  <a:gd name="T29" fmla="*/ 6 h 28"/>
                  <a:gd name="T30" fmla="*/ 3 w 10"/>
                  <a:gd name="T31" fmla="*/ 5 h 28"/>
                  <a:gd name="T32" fmla="*/ 3 w 10"/>
                  <a:gd name="T33" fmla="*/ 13 h 28"/>
                  <a:gd name="T34" fmla="*/ 5 w 10"/>
                  <a:gd name="T35"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28">
                    <a:moveTo>
                      <a:pt x="0" y="0"/>
                    </a:moveTo>
                    <a:cubicBezTo>
                      <a:pt x="7" y="4"/>
                      <a:pt x="7" y="4"/>
                      <a:pt x="7" y="4"/>
                    </a:cubicBezTo>
                    <a:cubicBezTo>
                      <a:pt x="9" y="5"/>
                      <a:pt x="10" y="7"/>
                      <a:pt x="10" y="10"/>
                    </a:cubicBezTo>
                    <a:cubicBezTo>
                      <a:pt x="10" y="17"/>
                      <a:pt x="10" y="17"/>
                      <a:pt x="10" y="17"/>
                    </a:cubicBezTo>
                    <a:cubicBezTo>
                      <a:pt x="10" y="19"/>
                      <a:pt x="9" y="19"/>
                      <a:pt x="8" y="18"/>
                    </a:cubicBezTo>
                    <a:cubicBezTo>
                      <a:pt x="7" y="18"/>
                      <a:pt x="6" y="18"/>
                      <a:pt x="4" y="16"/>
                    </a:cubicBezTo>
                    <a:cubicBezTo>
                      <a:pt x="3" y="16"/>
                      <a:pt x="3" y="16"/>
                      <a:pt x="3" y="16"/>
                    </a:cubicBezTo>
                    <a:cubicBezTo>
                      <a:pt x="3" y="28"/>
                      <a:pt x="3" y="28"/>
                      <a:pt x="3" y="28"/>
                    </a:cubicBezTo>
                    <a:cubicBezTo>
                      <a:pt x="0" y="26"/>
                      <a:pt x="0" y="26"/>
                      <a:pt x="0" y="26"/>
                    </a:cubicBezTo>
                    <a:lnTo>
                      <a:pt x="0" y="0"/>
                    </a:lnTo>
                    <a:close/>
                    <a:moveTo>
                      <a:pt x="5" y="14"/>
                    </a:moveTo>
                    <a:cubicBezTo>
                      <a:pt x="6" y="14"/>
                      <a:pt x="6" y="14"/>
                      <a:pt x="6" y="14"/>
                    </a:cubicBezTo>
                    <a:cubicBezTo>
                      <a:pt x="7" y="14"/>
                      <a:pt x="7" y="14"/>
                      <a:pt x="7" y="14"/>
                    </a:cubicBezTo>
                    <a:cubicBezTo>
                      <a:pt x="7" y="8"/>
                      <a:pt x="7" y="8"/>
                      <a:pt x="7" y="8"/>
                    </a:cubicBezTo>
                    <a:cubicBezTo>
                      <a:pt x="7" y="7"/>
                      <a:pt x="6" y="7"/>
                      <a:pt x="5" y="6"/>
                    </a:cubicBezTo>
                    <a:cubicBezTo>
                      <a:pt x="3" y="5"/>
                      <a:pt x="3" y="5"/>
                      <a:pt x="3" y="5"/>
                    </a:cubicBezTo>
                    <a:cubicBezTo>
                      <a:pt x="3" y="13"/>
                      <a:pt x="3" y="13"/>
                      <a:pt x="3" y="13"/>
                    </a:cubicBezTo>
                    <a:lnTo>
                      <a:pt x="5" y="14"/>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grpSp>
        <p:grpSp>
          <p:nvGrpSpPr>
            <p:cNvPr id="54" name="组合 147"/>
            <p:cNvGrpSpPr/>
            <p:nvPr/>
          </p:nvGrpSpPr>
          <p:grpSpPr>
            <a:xfrm>
              <a:off x="7386672" y="2749493"/>
              <a:ext cx="224012" cy="498227"/>
              <a:chOff x="5846145" y="2700653"/>
              <a:chExt cx="332915" cy="751275"/>
            </a:xfrm>
          </p:grpSpPr>
          <p:sp>
            <p:nvSpPr>
              <p:cNvPr id="61" name="Freeform 28"/>
              <p:cNvSpPr/>
              <p:nvPr/>
            </p:nvSpPr>
            <p:spPr bwMode="auto">
              <a:xfrm>
                <a:off x="5846145" y="2978521"/>
                <a:ext cx="253170" cy="473407"/>
              </a:xfrm>
              <a:custGeom>
                <a:avLst/>
                <a:gdLst>
                  <a:gd name="T0" fmla="*/ 7 w 52"/>
                  <a:gd name="T1" fmla="*/ 2 h 97"/>
                  <a:gd name="T2" fmla="*/ 31 w 52"/>
                  <a:gd name="T3" fmla="*/ 15 h 97"/>
                  <a:gd name="T4" fmla="*/ 52 w 52"/>
                  <a:gd name="T5" fmla="*/ 47 h 97"/>
                  <a:gd name="T6" fmla="*/ 52 w 52"/>
                  <a:gd name="T7" fmla="*/ 49 h 97"/>
                  <a:gd name="T8" fmla="*/ 31 w 52"/>
                  <a:gd name="T9" fmla="*/ 58 h 97"/>
                  <a:gd name="T10" fmla="*/ 15 w 52"/>
                  <a:gd name="T11" fmla="*/ 58 h 97"/>
                  <a:gd name="T12" fmla="*/ 15 w 52"/>
                  <a:gd name="T13" fmla="*/ 65 h 97"/>
                  <a:gd name="T14" fmla="*/ 46 w 52"/>
                  <a:gd name="T15" fmla="*/ 82 h 97"/>
                  <a:gd name="T16" fmla="*/ 52 w 52"/>
                  <a:gd name="T17" fmla="*/ 92 h 97"/>
                  <a:gd name="T18" fmla="*/ 46 w 52"/>
                  <a:gd name="T19" fmla="*/ 95 h 97"/>
                  <a:gd name="T20" fmla="*/ 7 w 52"/>
                  <a:gd name="T21" fmla="*/ 74 h 97"/>
                  <a:gd name="T22" fmla="*/ 1 w 52"/>
                  <a:gd name="T23" fmla="*/ 63 h 97"/>
                  <a:gd name="T24" fmla="*/ 1 w 52"/>
                  <a:gd name="T25" fmla="*/ 50 h 97"/>
                  <a:gd name="T26" fmla="*/ 31 w 52"/>
                  <a:gd name="T27" fmla="*/ 45 h 97"/>
                  <a:gd name="T28" fmla="*/ 38 w 52"/>
                  <a:gd name="T29" fmla="*/ 42 h 97"/>
                  <a:gd name="T30" fmla="*/ 38 w 52"/>
                  <a:gd name="T31" fmla="*/ 39 h 97"/>
                  <a:gd name="T32" fmla="*/ 31 w 52"/>
                  <a:gd name="T33" fmla="*/ 29 h 97"/>
                  <a:gd name="T34" fmla="*/ 8 w 52"/>
                  <a:gd name="T35" fmla="*/ 16 h 97"/>
                  <a:gd name="T36" fmla="*/ 0 w 52"/>
                  <a:gd name="T37" fmla="*/ 5 h 97"/>
                  <a:gd name="T38" fmla="*/ 7 w 52"/>
                  <a:gd name="T39" fmla="*/ 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 h="97">
                    <a:moveTo>
                      <a:pt x="7" y="2"/>
                    </a:moveTo>
                    <a:cubicBezTo>
                      <a:pt x="31" y="15"/>
                      <a:pt x="31" y="15"/>
                      <a:pt x="31" y="15"/>
                    </a:cubicBezTo>
                    <a:cubicBezTo>
                      <a:pt x="45" y="23"/>
                      <a:pt x="52" y="34"/>
                      <a:pt x="52" y="47"/>
                    </a:cubicBezTo>
                    <a:cubicBezTo>
                      <a:pt x="52" y="49"/>
                      <a:pt x="52" y="49"/>
                      <a:pt x="52" y="49"/>
                    </a:cubicBezTo>
                    <a:cubicBezTo>
                      <a:pt x="52" y="63"/>
                      <a:pt x="45" y="66"/>
                      <a:pt x="31" y="58"/>
                    </a:cubicBezTo>
                    <a:cubicBezTo>
                      <a:pt x="20" y="52"/>
                      <a:pt x="15" y="52"/>
                      <a:pt x="15" y="58"/>
                    </a:cubicBezTo>
                    <a:cubicBezTo>
                      <a:pt x="15" y="65"/>
                      <a:pt x="15" y="65"/>
                      <a:pt x="15" y="65"/>
                    </a:cubicBezTo>
                    <a:cubicBezTo>
                      <a:pt x="46" y="82"/>
                      <a:pt x="46" y="82"/>
                      <a:pt x="46" y="82"/>
                    </a:cubicBezTo>
                    <a:cubicBezTo>
                      <a:pt x="50" y="84"/>
                      <a:pt x="52" y="88"/>
                      <a:pt x="52" y="92"/>
                    </a:cubicBezTo>
                    <a:cubicBezTo>
                      <a:pt x="52" y="96"/>
                      <a:pt x="50" y="97"/>
                      <a:pt x="46" y="95"/>
                    </a:cubicBezTo>
                    <a:cubicBezTo>
                      <a:pt x="7" y="74"/>
                      <a:pt x="7" y="74"/>
                      <a:pt x="7" y="74"/>
                    </a:cubicBezTo>
                    <a:cubicBezTo>
                      <a:pt x="3" y="71"/>
                      <a:pt x="1" y="68"/>
                      <a:pt x="1" y="63"/>
                    </a:cubicBezTo>
                    <a:cubicBezTo>
                      <a:pt x="1" y="50"/>
                      <a:pt x="1" y="50"/>
                      <a:pt x="1" y="50"/>
                    </a:cubicBezTo>
                    <a:cubicBezTo>
                      <a:pt x="1" y="35"/>
                      <a:pt x="11" y="33"/>
                      <a:pt x="31" y="45"/>
                    </a:cubicBezTo>
                    <a:cubicBezTo>
                      <a:pt x="36" y="47"/>
                      <a:pt x="38" y="46"/>
                      <a:pt x="38" y="42"/>
                    </a:cubicBezTo>
                    <a:cubicBezTo>
                      <a:pt x="38" y="39"/>
                      <a:pt x="38" y="39"/>
                      <a:pt x="38" y="39"/>
                    </a:cubicBezTo>
                    <a:cubicBezTo>
                      <a:pt x="38" y="35"/>
                      <a:pt x="36" y="32"/>
                      <a:pt x="31" y="29"/>
                    </a:cubicBezTo>
                    <a:cubicBezTo>
                      <a:pt x="8" y="16"/>
                      <a:pt x="8" y="16"/>
                      <a:pt x="8" y="16"/>
                    </a:cubicBezTo>
                    <a:cubicBezTo>
                      <a:pt x="3" y="13"/>
                      <a:pt x="0" y="10"/>
                      <a:pt x="0" y="5"/>
                    </a:cubicBezTo>
                    <a:cubicBezTo>
                      <a:pt x="0" y="1"/>
                      <a:pt x="3" y="0"/>
                      <a:pt x="7" y="2"/>
                    </a:cubicBez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2" name="Freeform 29"/>
              <p:cNvSpPr/>
              <p:nvPr/>
            </p:nvSpPr>
            <p:spPr bwMode="auto">
              <a:xfrm>
                <a:off x="5855909" y="2700653"/>
                <a:ext cx="49399" cy="142023"/>
              </a:xfrm>
              <a:custGeom>
                <a:avLst/>
                <a:gdLst>
                  <a:gd name="T0" fmla="*/ 0 w 10"/>
                  <a:gd name="T1" fmla="*/ 15 h 29"/>
                  <a:gd name="T2" fmla="*/ 3 w 10"/>
                  <a:gd name="T3" fmla="*/ 16 h 29"/>
                  <a:gd name="T4" fmla="*/ 3 w 10"/>
                  <a:gd name="T5" fmla="*/ 21 h 29"/>
                  <a:gd name="T6" fmla="*/ 5 w 10"/>
                  <a:gd name="T7" fmla="*/ 25 h 29"/>
                  <a:gd name="T8" fmla="*/ 6 w 10"/>
                  <a:gd name="T9" fmla="*/ 23 h 29"/>
                  <a:gd name="T10" fmla="*/ 5 w 10"/>
                  <a:gd name="T11" fmla="*/ 16 h 29"/>
                  <a:gd name="T12" fmla="*/ 2 w 10"/>
                  <a:gd name="T13" fmla="*/ 10 h 29"/>
                  <a:gd name="T14" fmla="*/ 0 w 10"/>
                  <a:gd name="T15" fmla="*/ 4 h 29"/>
                  <a:gd name="T16" fmla="*/ 1 w 10"/>
                  <a:gd name="T17" fmla="*/ 0 h 29"/>
                  <a:gd name="T18" fmla="*/ 5 w 10"/>
                  <a:gd name="T19" fmla="*/ 1 h 29"/>
                  <a:gd name="T20" fmla="*/ 8 w 10"/>
                  <a:gd name="T21" fmla="*/ 4 h 29"/>
                  <a:gd name="T22" fmla="*/ 10 w 10"/>
                  <a:gd name="T23" fmla="*/ 8 h 29"/>
                  <a:gd name="T24" fmla="*/ 10 w 10"/>
                  <a:gd name="T25" fmla="*/ 12 h 29"/>
                  <a:gd name="T26" fmla="*/ 6 w 10"/>
                  <a:gd name="T27" fmla="*/ 11 h 29"/>
                  <a:gd name="T28" fmla="*/ 6 w 10"/>
                  <a:gd name="T29" fmla="*/ 6 h 29"/>
                  <a:gd name="T30" fmla="*/ 5 w 10"/>
                  <a:gd name="T31" fmla="*/ 4 h 29"/>
                  <a:gd name="T32" fmla="*/ 4 w 10"/>
                  <a:gd name="T33" fmla="*/ 3 h 29"/>
                  <a:gd name="T34" fmla="*/ 3 w 10"/>
                  <a:gd name="T35" fmla="*/ 5 h 29"/>
                  <a:gd name="T36" fmla="*/ 5 w 10"/>
                  <a:gd name="T37" fmla="*/ 11 h 29"/>
                  <a:gd name="T38" fmla="*/ 8 w 10"/>
                  <a:gd name="T39" fmla="*/ 18 h 29"/>
                  <a:gd name="T40" fmla="*/ 10 w 10"/>
                  <a:gd name="T41" fmla="*/ 24 h 29"/>
                  <a:gd name="T42" fmla="*/ 9 w 10"/>
                  <a:gd name="T43" fmla="*/ 28 h 29"/>
                  <a:gd name="T44" fmla="*/ 5 w 10"/>
                  <a:gd name="T45" fmla="*/ 28 h 29"/>
                  <a:gd name="T46" fmla="*/ 0 w 10"/>
                  <a:gd name="T47" fmla="*/ 19 h 29"/>
                  <a:gd name="T48" fmla="*/ 0 w 10"/>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29">
                    <a:moveTo>
                      <a:pt x="0" y="15"/>
                    </a:moveTo>
                    <a:cubicBezTo>
                      <a:pt x="3" y="16"/>
                      <a:pt x="3" y="16"/>
                      <a:pt x="3" y="16"/>
                    </a:cubicBezTo>
                    <a:cubicBezTo>
                      <a:pt x="3" y="21"/>
                      <a:pt x="3" y="21"/>
                      <a:pt x="3" y="21"/>
                    </a:cubicBezTo>
                    <a:cubicBezTo>
                      <a:pt x="3" y="23"/>
                      <a:pt x="3" y="24"/>
                      <a:pt x="5" y="25"/>
                    </a:cubicBezTo>
                    <a:cubicBezTo>
                      <a:pt x="6" y="25"/>
                      <a:pt x="6" y="25"/>
                      <a:pt x="6" y="23"/>
                    </a:cubicBezTo>
                    <a:cubicBezTo>
                      <a:pt x="6" y="21"/>
                      <a:pt x="6" y="19"/>
                      <a:pt x="5" y="16"/>
                    </a:cubicBezTo>
                    <a:cubicBezTo>
                      <a:pt x="2" y="10"/>
                      <a:pt x="2" y="10"/>
                      <a:pt x="2" y="10"/>
                    </a:cubicBezTo>
                    <a:cubicBezTo>
                      <a:pt x="0" y="7"/>
                      <a:pt x="0" y="5"/>
                      <a:pt x="0" y="4"/>
                    </a:cubicBezTo>
                    <a:cubicBezTo>
                      <a:pt x="0" y="2"/>
                      <a:pt x="0" y="1"/>
                      <a:pt x="1" y="0"/>
                    </a:cubicBezTo>
                    <a:cubicBezTo>
                      <a:pt x="2" y="0"/>
                      <a:pt x="3" y="0"/>
                      <a:pt x="5" y="1"/>
                    </a:cubicBezTo>
                    <a:cubicBezTo>
                      <a:pt x="7" y="2"/>
                      <a:pt x="8" y="3"/>
                      <a:pt x="8" y="4"/>
                    </a:cubicBezTo>
                    <a:cubicBezTo>
                      <a:pt x="9" y="5"/>
                      <a:pt x="10" y="6"/>
                      <a:pt x="10" y="8"/>
                    </a:cubicBezTo>
                    <a:cubicBezTo>
                      <a:pt x="10" y="12"/>
                      <a:pt x="10" y="12"/>
                      <a:pt x="10" y="12"/>
                    </a:cubicBezTo>
                    <a:cubicBezTo>
                      <a:pt x="6" y="11"/>
                      <a:pt x="6" y="11"/>
                      <a:pt x="6" y="11"/>
                    </a:cubicBezTo>
                    <a:cubicBezTo>
                      <a:pt x="6" y="6"/>
                      <a:pt x="6" y="6"/>
                      <a:pt x="6" y="6"/>
                    </a:cubicBezTo>
                    <a:cubicBezTo>
                      <a:pt x="6" y="5"/>
                      <a:pt x="6" y="4"/>
                      <a:pt x="5" y="4"/>
                    </a:cubicBezTo>
                    <a:cubicBezTo>
                      <a:pt x="4" y="3"/>
                      <a:pt x="4" y="3"/>
                      <a:pt x="4" y="3"/>
                    </a:cubicBezTo>
                    <a:cubicBezTo>
                      <a:pt x="3" y="4"/>
                      <a:pt x="3" y="4"/>
                      <a:pt x="3" y="5"/>
                    </a:cubicBezTo>
                    <a:cubicBezTo>
                      <a:pt x="3" y="7"/>
                      <a:pt x="4" y="9"/>
                      <a:pt x="5" y="11"/>
                    </a:cubicBezTo>
                    <a:cubicBezTo>
                      <a:pt x="8" y="18"/>
                      <a:pt x="8" y="18"/>
                      <a:pt x="8" y="18"/>
                    </a:cubicBezTo>
                    <a:cubicBezTo>
                      <a:pt x="9" y="20"/>
                      <a:pt x="10" y="22"/>
                      <a:pt x="10" y="24"/>
                    </a:cubicBezTo>
                    <a:cubicBezTo>
                      <a:pt x="10" y="26"/>
                      <a:pt x="9" y="27"/>
                      <a:pt x="9" y="28"/>
                    </a:cubicBezTo>
                    <a:cubicBezTo>
                      <a:pt x="8" y="29"/>
                      <a:pt x="6" y="28"/>
                      <a:pt x="5" y="28"/>
                    </a:cubicBezTo>
                    <a:cubicBezTo>
                      <a:pt x="1" y="26"/>
                      <a:pt x="0" y="23"/>
                      <a:pt x="0" y="19"/>
                    </a:cubicBezTo>
                    <a:lnTo>
                      <a:pt x="0" y="15"/>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3" name="Freeform 30"/>
              <p:cNvSpPr/>
              <p:nvPr/>
            </p:nvSpPr>
            <p:spPr bwMode="auto">
              <a:xfrm>
                <a:off x="5944415" y="2745935"/>
                <a:ext cx="53516" cy="139964"/>
              </a:xfrm>
              <a:custGeom>
                <a:avLst/>
                <a:gdLst>
                  <a:gd name="T0" fmla="*/ 26 w 26"/>
                  <a:gd name="T1" fmla="*/ 14 h 68"/>
                  <a:gd name="T2" fmla="*/ 26 w 26"/>
                  <a:gd name="T3" fmla="*/ 21 h 68"/>
                  <a:gd name="T4" fmla="*/ 17 w 26"/>
                  <a:gd name="T5" fmla="*/ 16 h 68"/>
                  <a:gd name="T6" fmla="*/ 17 w 26"/>
                  <a:gd name="T7" fmla="*/ 68 h 68"/>
                  <a:gd name="T8" fmla="*/ 10 w 26"/>
                  <a:gd name="T9" fmla="*/ 63 h 68"/>
                  <a:gd name="T10" fmla="*/ 10 w 26"/>
                  <a:gd name="T11" fmla="*/ 11 h 68"/>
                  <a:gd name="T12" fmla="*/ 0 w 26"/>
                  <a:gd name="T13" fmla="*/ 4 h 68"/>
                  <a:gd name="T14" fmla="*/ 0 w 26"/>
                  <a:gd name="T15" fmla="*/ 2 h 68"/>
                  <a:gd name="T16" fmla="*/ 0 w 26"/>
                  <a:gd name="T17" fmla="*/ 0 h 68"/>
                  <a:gd name="T18" fmla="*/ 26 w 26"/>
                  <a:gd name="T19" fmla="*/ 1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68">
                    <a:moveTo>
                      <a:pt x="26" y="14"/>
                    </a:moveTo>
                    <a:lnTo>
                      <a:pt x="26" y="21"/>
                    </a:lnTo>
                    <a:lnTo>
                      <a:pt x="17" y="16"/>
                    </a:lnTo>
                    <a:lnTo>
                      <a:pt x="17" y="68"/>
                    </a:lnTo>
                    <a:lnTo>
                      <a:pt x="10" y="63"/>
                    </a:lnTo>
                    <a:lnTo>
                      <a:pt x="10" y="11"/>
                    </a:lnTo>
                    <a:lnTo>
                      <a:pt x="0" y="4"/>
                    </a:lnTo>
                    <a:lnTo>
                      <a:pt x="0" y="2"/>
                    </a:lnTo>
                    <a:lnTo>
                      <a:pt x="0" y="0"/>
                    </a:lnTo>
                    <a:lnTo>
                      <a:pt x="26" y="14"/>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4" name="Freeform 31"/>
              <p:cNvSpPr/>
              <p:nvPr/>
            </p:nvSpPr>
            <p:spPr bwMode="auto">
              <a:xfrm>
                <a:off x="6041155" y="2799451"/>
                <a:ext cx="45282" cy="150256"/>
              </a:xfrm>
              <a:custGeom>
                <a:avLst/>
                <a:gdLst>
                  <a:gd name="T0" fmla="*/ 0 w 22"/>
                  <a:gd name="T1" fmla="*/ 0 h 73"/>
                  <a:gd name="T2" fmla="*/ 22 w 22"/>
                  <a:gd name="T3" fmla="*/ 11 h 73"/>
                  <a:gd name="T4" fmla="*/ 22 w 22"/>
                  <a:gd name="T5" fmla="*/ 19 h 73"/>
                  <a:gd name="T6" fmla="*/ 10 w 22"/>
                  <a:gd name="T7" fmla="*/ 11 h 73"/>
                  <a:gd name="T8" fmla="*/ 10 w 22"/>
                  <a:gd name="T9" fmla="*/ 30 h 73"/>
                  <a:gd name="T10" fmla="*/ 22 w 22"/>
                  <a:gd name="T11" fmla="*/ 35 h 73"/>
                  <a:gd name="T12" fmla="*/ 22 w 22"/>
                  <a:gd name="T13" fmla="*/ 42 h 73"/>
                  <a:gd name="T14" fmla="*/ 10 w 22"/>
                  <a:gd name="T15" fmla="*/ 37 h 73"/>
                  <a:gd name="T16" fmla="*/ 10 w 22"/>
                  <a:gd name="T17" fmla="*/ 56 h 73"/>
                  <a:gd name="T18" fmla="*/ 22 w 22"/>
                  <a:gd name="T19" fmla="*/ 64 h 73"/>
                  <a:gd name="T20" fmla="*/ 22 w 22"/>
                  <a:gd name="T21" fmla="*/ 73 h 73"/>
                  <a:gd name="T22" fmla="*/ 0 w 22"/>
                  <a:gd name="T23" fmla="*/ 61 h 73"/>
                  <a:gd name="T24" fmla="*/ 0 w 22"/>
                  <a:gd name="T25"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73">
                    <a:moveTo>
                      <a:pt x="0" y="0"/>
                    </a:moveTo>
                    <a:lnTo>
                      <a:pt x="22" y="11"/>
                    </a:lnTo>
                    <a:lnTo>
                      <a:pt x="22" y="19"/>
                    </a:lnTo>
                    <a:lnTo>
                      <a:pt x="10" y="11"/>
                    </a:lnTo>
                    <a:lnTo>
                      <a:pt x="10" y="30"/>
                    </a:lnTo>
                    <a:lnTo>
                      <a:pt x="22" y="35"/>
                    </a:lnTo>
                    <a:lnTo>
                      <a:pt x="22" y="42"/>
                    </a:lnTo>
                    <a:lnTo>
                      <a:pt x="10" y="37"/>
                    </a:lnTo>
                    <a:lnTo>
                      <a:pt x="10" y="56"/>
                    </a:lnTo>
                    <a:lnTo>
                      <a:pt x="22" y="64"/>
                    </a:lnTo>
                    <a:lnTo>
                      <a:pt x="22" y="73"/>
                    </a:lnTo>
                    <a:lnTo>
                      <a:pt x="0" y="61"/>
                    </a:lnTo>
                    <a:lnTo>
                      <a:pt x="0" y="0"/>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5" name="Freeform 32"/>
              <p:cNvSpPr>
                <a:spLocks noEditPoints="1"/>
              </p:cNvSpPr>
              <p:nvPr/>
            </p:nvSpPr>
            <p:spPr bwMode="auto">
              <a:xfrm>
                <a:off x="6129661" y="2846791"/>
                <a:ext cx="49399" cy="131731"/>
              </a:xfrm>
              <a:custGeom>
                <a:avLst/>
                <a:gdLst>
                  <a:gd name="T0" fmla="*/ 0 w 10"/>
                  <a:gd name="T1" fmla="*/ 0 h 27"/>
                  <a:gd name="T2" fmla="*/ 7 w 10"/>
                  <a:gd name="T3" fmla="*/ 4 h 27"/>
                  <a:gd name="T4" fmla="*/ 10 w 10"/>
                  <a:gd name="T5" fmla="*/ 9 h 27"/>
                  <a:gd name="T6" fmla="*/ 10 w 10"/>
                  <a:gd name="T7" fmla="*/ 17 h 27"/>
                  <a:gd name="T8" fmla="*/ 8 w 10"/>
                  <a:gd name="T9" fmla="*/ 18 h 27"/>
                  <a:gd name="T10" fmla="*/ 4 w 10"/>
                  <a:gd name="T11" fmla="*/ 16 h 27"/>
                  <a:gd name="T12" fmla="*/ 3 w 10"/>
                  <a:gd name="T13" fmla="*/ 16 h 27"/>
                  <a:gd name="T14" fmla="*/ 3 w 10"/>
                  <a:gd name="T15" fmla="*/ 27 h 27"/>
                  <a:gd name="T16" fmla="*/ 0 w 10"/>
                  <a:gd name="T17" fmla="*/ 25 h 27"/>
                  <a:gd name="T18" fmla="*/ 0 w 10"/>
                  <a:gd name="T19" fmla="*/ 0 h 27"/>
                  <a:gd name="T20" fmla="*/ 6 w 10"/>
                  <a:gd name="T21" fmla="*/ 14 h 27"/>
                  <a:gd name="T22" fmla="*/ 7 w 10"/>
                  <a:gd name="T23" fmla="*/ 14 h 27"/>
                  <a:gd name="T24" fmla="*/ 7 w 10"/>
                  <a:gd name="T25" fmla="*/ 14 h 27"/>
                  <a:gd name="T26" fmla="*/ 7 w 10"/>
                  <a:gd name="T27" fmla="*/ 8 h 27"/>
                  <a:gd name="T28" fmla="*/ 5 w 10"/>
                  <a:gd name="T29" fmla="*/ 6 h 27"/>
                  <a:gd name="T30" fmla="*/ 3 w 10"/>
                  <a:gd name="T31" fmla="*/ 5 h 27"/>
                  <a:gd name="T32" fmla="*/ 3 w 10"/>
                  <a:gd name="T33" fmla="*/ 13 h 27"/>
                  <a:gd name="T34" fmla="*/ 6 w 10"/>
                  <a:gd name="T35" fmla="*/ 1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27">
                    <a:moveTo>
                      <a:pt x="0" y="0"/>
                    </a:moveTo>
                    <a:cubicBezTo>
                      <a:pt x="7" y="4"/>
                      <a:pt x="7" y="4"/>
                      <a:pt x="7" y="4"/>
                    </a:cubicBezTo>
                    <a:cubicBezTo>
                      <a:pt x="9" y="5"/>
                      <a:pt x="10" y="7"/>
                      <a:pt x="10" y="9"/>
                    </a:cubicBezTo>
                    <a:cubicBezTo>
                      <a:pt x="10" y="17"/>
                      <a:pt x="10" y="17"/>
                      <a:pt x="10" y="17"/>
                    </a:cubicBezTo>
                    <a:cubicBezTo>
                      <a:pt x="10" y="18"/>
                      <a:pt x="10" y="19"/>
                      <a:pt x="8" y="18"/>
                    </a:cubicBezTo>
                    <a:cubicBezTo>
                      <a:pt x="7" y="18"/>
                      <a:pt x="6" y="17"/>
                      <a:pt x="4" y="16"/>
                    </a:cubicBezTo>
                    <a:cubicBezTo>
                      <a:pt x="3" y="16"/>
                      <a:pt x="3" y="16"/>
                      <a:pt x="3" y="16"/>
                    </a:cubicBezTo>
                    <a:cubicBezTo>
                      <a:pt x="3" y="27"/>
                      <a:pt x="3" y="27"/>
                      <a:pt x="3" y="27"/>
                    </a:cubicBezTo>
                    <a:cubicBezTo>
                      <a:pt x="0" y="25"/>
                      <a:pt x="0" y="25"/>
                      <a:pt x="0" y="25"/>
                    </a:cubicBezTo>
                    <a:lnTo>
                      <a:pt x="0" y="0"/>
                    </a:lnTo>
                    <a:close/>
                    <a:moveTo>
                      <a:pt x="6" y="14"/>
                    </a:moveTo>
                    <a:cubicBezTo>
                      <a:pt x="6" y="14"/>
                      <a:pt x="6" y="14"/>
                      <a:pt x="7" y="14"/>
                    </a:cubicBezTo>
                    <a:cubicBezTo>
                      <a:pt x="7" y="14"/>
                      <a:pt x="7" y="14"/>
                      <a:pt x="7" y="14"/>
                    </a:cubicBezTo>
                    <a:cubicBezTo>
                      <a:pt x="7" y="8"/>
                      <a:pt x="7" y="8"/>
                      <a:pt x="7" y="8"/>
                    </a:cubicBezTo>
                    <a:cubicBezTo>
                      <a:pt x="7" y="7"/>
                      <a:pt x="6" y="6"/>
                      <a:pt x="5" y="6"/>
                    </a:cubicBezTo>
                    <a:cubicBezTo>
                      <a:pt x="3" y="5"/>
                      <a:pt x="3" y="5"/>
                      <a:pt x="3" y="5"/>
                    </a:cubicBezTo>
                    <a:cubicBezTo>
                      <a:pt x="3" y="13"/>
                      <a:pt x="3" y="13"/>
                      <a:pt x="3" y="13"/>
                    </a:cubicBezTo>
                    <a:lnTo>
                      <a:pt x="6" y="14"/>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grpSp>
        <p:grpSp>
          <p:nvGrpSpPr>
            <p:cNvPr id="55" name="组合 154"/>
            <p:cNvGrpSpPr/>
            <p:nvPr/>
          </p:nvGrpSpPr>
          <p:grpSpPr>
            <a:xfrm>
              <a:off x="7866225" y="3512668"/>
              <a:ext cx="224026" cy="495498"/>
              <a:chOff x="6669441" y="4079707"/>
              <a:chExt cx="332935" cy="747160"/>
            </a:xfrm>
          </p:grpSpPr>
          <p:sp>
            <p:nvSpPr>
              <p:cNvPr id="56" name="Freeform 34"/>
              <p:cNvSpPr/>
              <p:nvPr/>
            </p:nvSpPr>
            <p:spPr bwMode="auto">
              <a:xfrm>
                <a:off x="6669441" y="4363751"/>
                <a:ext cx="253169" cy="463116"/>
              </a:xfrm>
              <a:custGeom>
                <a:avLst/>
                <a:gdLst>
                  <a:gd name="T0" fmla="*/ 7 w 52"/>
                  <a:gd name="T1" fmla="*/ 60 h 95"/>
                  <a:gd name="T2" fmla="*/ 31 w 52"/>
                  <a:gd name="T3" fmla="*/ 73 h 95"/>
                  <a:gd name="T4" fmla="*/ 38 w 52"/>
                  <a:gd name="T5" fmla="*/ 70 h 95"/>
                  <a:gd name="T6" fmla="*/ 38 w 52"/>
                  <a:gd name="T7" fmla="*/ 59 h 95"/>
                  <a:gd name="T8" fmla="*/ 17 w 52"/>
                  <a:gd name="T9" fmla="*/ 48 h 95"/>
                  <a:gd name="T10" fmla="*/ 10 w 52"/>
                  <a:gd name="T11" fmla="*/ 37 h 95"/>
                  <a:gd name="T12" fmla="*/ 17 w 52"/>
                  <a:gd name="T13" fmla="*/ 34 h 95"/>
                  <a:gd name="T14" fmla="*/ 38 w 52"/>
                  <a:gd name="T15" fmla="*/ 46 h 95"/>
                  <a:gd name="T16" fmla="*/ 38 w 52"/>
                  <a:gd name="T17" fmla="*/ 33 h 95"/>
                  <a:gd name="T18" fmla="*/ 7 w 52"/>
                  <a:gd name="T19" fmla="*/ 16 h 95"/>
                  <a:gd name="T20" fmla="*/ 0 w 52"/>
                  <a:gd name="T21" fmla="*/ 5 h 95"/>
                  <a:gd name="T22" fmla="*/ 8 w 52"/>
                  <a:gd name="T23" fmla="*/ 3 h 95"/>
                  <a:gd name="T24" fmla="*/ 45 w 52"/>
                  <a:gd name="T25" fmla="*/ 23 h 95"/>
                  <a:gd name="T26" fmla="*/ 52 w 52"/>
                  <a:gd name="T27" fmla="*/ 34 h 95"/>
                  <a:gd name="T28" fmla="*/ 52 w 52"/>
                  <a:gd name="T29" fmla="*/ 54 h 95"/>
                  <a:gd name="T30" fmla="*/ 45 w 52"/>
                  <a:gd name="T31" fmla="*/ 56 h 95"/>
                  <a:gd name="T32" fmla="*/ 52 w 52"/>
                  <a:gd name="T33" fmla="*/ 67 h 95"/>
                  <a:gd name="T34" fmla="*/ 52 w 52"/>
                  <a:gd name="T35" fmla="*/ 78 h 95"/>
                  <a:gd name="T36" fmla="*/ 31 w 52"/>
                  <a:gd name="T37" fmla="*/ 87 h 95"/>
                  <a:gd name="T38" fmla="*/ 7 w 52"/>
                  <a:gd name="T39" fmla="*/ 74 h 95"/>
                  <a:gd name="T40" fmla="*/ 0 w 52"/>
                  <a:gd name="T41" fmla="*/ 63 h 95"/>
                  <a:gd name="T42" fmla="*/ 7 w 52"/>
                  <a:gd name="T43" fmla="*/ 6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95">
                    <a:moveTo>
                      <a:pt x="7" y="60"/>
                    </a:moveTo>
                    <a:cubicBezTo>
                      <a:pt x="31" y="73"/>
                      <a:pt x="31" y="73"/>
                      <a:pt x="31" y="73"/>
                    </a:cubicBezTo>
                    <a:cubicBezTo>
                      <a:pt x="35" y="76"/>
                      <a:pt x="38" y="75"/>
                      <a:pt x="38" y="70"/>
                    </a:cubicBezTo>
                    <a:cubicBezTo>
                      <a:pt x="38" y="59"/>
                      <a:pt x="38" y="59"/>
                      <a:pt x="38" y="59"/>
                    </a:cubicBezTo>
                    <a:cubicBezTo>
                      <a:pt x="17" y="48"/>
                      <a:pt x="17" y="48"/>
                      <a:pt x="17" y="48"/>
                    </a:cubicBezTo>
                    <a:cubicBezTo>
                      <a:pt x="12" y="45"/>
                      <a:pt x="10" y="41"/>
                      <a:pt x="10" y="37"/>
                    </a:cubicBezTo>
                    <a:cubicBezTo>
                      <a:pt x="10" y="33"/>
                      <a:pt x="12" y="32"/>
                      <a:pt x="17" y="34"/>
                    </a:cubicBezTo>
                    <a:cubicBezTo>
                      <a:pt x="38" y="46"/>
                      <a:pt x="38" y="46"/>
                      <a:pt x="38" y="46"/>
                    </a:cubicBezTo>
                    <a:cubicBezTo>
                      <a:pt x="38" y="33"/>
                      <a:pt x="38" y="33"/>
                      <a:pt x="38" y="33"/>
                    </a:cubicBezTo>
                    <a:cubicBezTo>
                      <a:pt x="7" y="16"/>
                      <a:pt x="7" y="16"/>
                      <a:pt x="7" y="16"/>
                    </a:cubicBezTo>
                    <a:cubicBezTo>
                      <a:pt x="3" y="13"/>
                      <a:pt x="0" y="9"/>
                      <a:pt x="0" y="5"/>
                    </a:cubicBezTo>
                    <a:cubicBezTo>
                      <a:pt x="0" y="1"/>
                      <a:pt x="3" y="0"/>
                      <a:pt x="8" y="3"/>
                    </a:cubicBezTo>
                    <a:cubicBezTo>
                      <a:pt x="45" y="23"/>
                      <a:pt x="45" y="23"/>
                      <a:pt x="45" y="23"/>
                    </a:cubicBezTo>
                    <a:cubicBezTo>
                      <a:pt x="50" y="26"/>
                      <a:pt x="52" y="29"/>
                      <a:pt x="52" y="34"/>
                    </a:cubicBezTo>
                    <a:cubicBezTo>
                      <a:pt x="52" y="54"/>
                      <a:pt x="52" y="54"/>
                      <a:pt x="52" y="54"/>
                    </a:cubicBezTo>
                    <a:cubicBezTo>
                      <a:pt x="52" y="58"/>
                      <a:pt x="49" y="59"/>
                      <a:pt x="45" y="56"/>
                    </a:cubicBezTo>
                    <a:cubicBezTo>
                      <a:pt x="50" y="59"/>
                      <a:pt x="52" y="63"/>
                      <a:pt x="52" y="67"/>
                    </a:cubicBezTo>
                    <a:cubicBezTo>
                      <a:pt x="52" y="78"/>
                      <a:pt x="52" y="78"/>
                      <a:pt x="52" y="78"/>
                    </a:cubicBezTo>
                    <a:cubicBezTo>
                      <a:pt x="52" y="92"/>
                      <a:pt x="45" y="95"/>
                      <a:pt x="31" y="87"/>
                    </a:cubicBezTo>
                    <a:cubicBezTo>
                      <a:pt x="7" y="74"/>
                      <a:pt x="7" y="74"/>
                      <a:pt x="7" y="74"/>
                    </a:cubicBezTo>
                    <a:cubicBezTo>
                      <a:pt x="3" y="71"/>
                      <a:pt x="0" y="68"/>
                      <a:pt x="0" y="63"/>
                    </a:cubicBezTo>
                    <a:cubicBezTo>
                      <a:pt x="0" y="59"/>
                      <a:pt x="2" y="58"/>
                      <a:pt x="7" y="60"/>
                    </a:cubicBez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57" name="Freeform 35"/>
              <p:cNvSpPr/>
              <p:nvPr/>
            </p:nvSpPr>
            <p:spPr bwMode="auto">
              <a:xfrm>
                <a:off x="6675109" y="4079707"/>
                <a:ext cx="49399" cy="142023"/>
              </a:xfrm>
              <a:custGeom>
                <a:avLst/>
                <a:gdLst>
                  <a:gd name="T0" fmla="*/ 0 w 10"/>
                  <a:gd name="T1" fmla="*/ 15 h 29"/>
                  <a:gd name="T2" fmla="*/ 4 w 10"/>
                  <a:gd name="T3" fmla="*/ 17 h 29"/>
                  <a:gd name="T4" fmla="*/ 4 w 10"/>
                  <a:gd name="T5" fmla="*/ 21 h 29"/>
                  <a:gd name="T6" fmla="*/ 5 w 10"/>
                  <a:gd name="T7" fmla="*/ 25 h 29"/>
                  <a:gd name="T8" fmla="*/ 7 w 10"/>
                  <a:gd name="T9" fmla="*/ 23 h 29"/>
                  <a:gd name="T10" fmla="*/ 5 w 10"/>
                  <a:gd name="T11" fmla="*/ 17 h 29"/>
                  <a:gd name="T12" fmla="*/ 2 w 10"/>
                  <a:gd name="T13" fmla="*/ 11 h 29"/>
                  <a:gd name="T14" fmla="*/ 1 w 10"/>
                  <a:gd name="T15" fmla="*/ 4 h 29"/>
                  <a:gd name="T16" fmla="*/ 2 w 10"/>
                  <a:gd name="T17" fmla="*/ 1 h 29"/>
                  <a:gd name="T18" fmla="*/ 6 w 10"/>
                  <a:gd name="T19" fmla="*/ 1 h 29"/>
                  <a:gd name="T20" fmla="*/ 9 w 10"/>
                  <a:gd name="T21" fmla="*/ 4 h 29"/>
                  <a:gd name="T22" fmla="*/ 10 w 10"/>
                  <a:gd name="T23" fmla="*/ 9 h 29"/>
                  <a:gd name="T24" fmla="*/ 10 w 10"/>
                  <a:gd name="T25" fmla="*/ 13 h 29"/>
                  <a:gd name="T26" fmla="*/ 7 w 10"/>
                  <a:gd name="T27" fmla="*/ 11 h 29"/>
                  <a:gd name="T28" fmla="*/ 7 w 10"/>
                  <a:gd name="T29" fmla="*/ 7 h 29"/>
                  <a:gd name="T30" fmla="*/ 6 w 10"/>
                  <a:gd name="T31" fmla="*/ 4 h 29"/>
                  <a:gd name="T32" fmla="*/ 4 w 10"/>
                  <a:gd name="T33" fmla="*/ 4 h 29"/>
                  <a:gd name="T34" fmla="*/ 4 w 10"/>
                  <a:gd name="T35" fmla="*/ 6 h 29"/>
                  <a:gd name="T36" fmla="*/ 6 w 10"/>
                  <a:gd name="T37" fmla="*/ 12 h 29"/>
                  <a:gd name="T38" fmla="*/ 9 w 10"/>
                  <a:gd name="T39" fmla="*/ 18 h 29"/>
                  <a:gd name="T40" fmla="*/ 10 w 10"/>
                  <a:gd name="T41" fmla="*/ 25 h 29"/>
                  <a:gd name="T42" fmla="*/ 9 w 10"/>
                  <a:gd name="T43" fmla="*/ 29 h 29"/>
                  <a:gd name="T44" fmla="*/ 6 w 10"/>
                  <a:gd name="T45" fmla="*/ 28 h 29"/>
                  <a:gd name="T46" fmla="*/ 0 w 10"/>
                  <a:gd name="T47" fmla="*/ 20 h 29"/>
                  <a:gd name="T48" fmla="*/ 0 w 10"/>
                  <a:gd name="T4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29">
                    <a:moveTo>
                      <a:pt x="0" y="15"/>
                    </a:moveTo>
                    <a:cubicBezTo>
                      <a:pt x="4" y="17"/>
                      <a:pt x="4" y="17"/>
                      <a:pt x="4" y="17"/>
                    </a:cubicBezTo>
                    <a:cubicBezTo>
                      <a:pt x="4" y="21"/>
                      <a:pt x="4" y="21"/>
                      <a:pt x="4" y="21"/>
                    </a:cubicBezTo>
                    <a:cubicBezTo>
                      <a:pt x="4" y="23"/>
                      <a:pt x="4" y="25"/>
                      <a:pt x="5" y="25"/>
                    </a:cubicBezTo>
                    <a:cubicBezTo>
                      <a:pt x="6" y="26"/>
                      <a:pt x="7" y="25"/>
                      <a:pt x="7" y="23"/>
                    </a:cubicBezTo>
                    <a:cubicBezTo>
                      <a:pt x="7" y="22"/>
                      <a:pt x="6" y="20"/>
                      <a:pt x="5" y="17"/>
                    </a:cubicBezTo>
                    <a:cubicBezTo>
                      <a:pt x="2" y="11"/>
                      <a:pt x="2" y="11"/>
                      <a:pt x="2" y="11"/>
                    </a:cubicBezTo>
                    <a:cubicBezTo>
                      <a:pt x="1" y="8"/>
                      <a:pt x="1" y="6"/>
                      <a:pt x="1" y="4"/>
                    </a:cubicBezTo>
                    <a:cubicBezTo>
                      <a:pt x="1" y="3"/>
                      <a:pt x="1" y="2"/>
                      <a:pt x="2" y="1"/>
                    </a:cubicBezTo>
                    <a:cubicBezTo>
                      <a:pt x="3" y="0"/>
                      <a:pt x="4" y="0"/>
                      <a:pt x="6" y="1"/>
                    </a:cubicBezTo>
                    <a:cubicBezTo>
                      <a:pt x="7" y="2"/>
                      <a:pt x="9" y="3"/>
                      <a:pt x="9" y="4"/>
                    </a:cubicBezTo>
                    <a:cubicBezTo>
                      <a:pt x="10" y="6"/>
                      <a:pt x="10" y="7"/>
                      <a:pt x="10" y="9"/>
                    </a:cubicBezTo>
                    <a:cubicBezTo>
                      <a:pt x="10" y="13"/>
                      <a:pt x="10" y="13"/>
                      <a:pt x="10" y="13"/>
                    </a:cubicBezTo>
                    <a:cubicBezTo>
                      <a:pt x="7" y="11"/>
                      <a:pt x="7" y="11"/>
                      <a:pt x="7" y="11"/>
                    </a:cubicBezTo>
                    <a:cubicBezTo>
                      <a:pt x="7" y="7"/>
                      <a:pt x="7" y="7"/>
                      <a:pt x="7" y="7"/>
                    </a:cubicBezTo>
                    <a:cubicBezTo>
                      <a:pt x="7" y="6"/>
                      <a:pt x="7" y="5"/>
                      <a:pt x="6" y="4"/>
                    </a:cubicBezTo>
                    <a:cubicBezTo>
                      <a:pt x="5" y="4"/>
                      <a:pt x="5" y="4"/>
                      <a:pt x="4" y="4"/>
                    </a:cubicBezTo>
                    <a:cubicBezTo>
                      <a:pt x="4" y="4"/>
                      <a:pt x="4" y="5"/>
                      <a:pt x="4" y="6"/>
                    </a:cubicBezTo>
                    <a:cubicBezTo>
                      <a:pt x="4" y="7"/>
                      <a:pt x="5" y="9"/>
                      <a:pt x="6" y="12"/>
                    </a:cubicBezTo>
                    <a:cubicBezTo>
                      <a:pt x="9" y="18"/>
                      <a:pt x="9" y="18"/>
                      <a:pt x="9" y="18"/>
                    </a:cubicBezTo>
                    <a:cubicBezTo>
                      <a:pt x="10" y="21"/>
                      <a:pt x="10" y="23"/>
                      <a:pt x="10" y="25"/>
                    </a:cubicBezTo>
                    <a:cubicBezTo>
                      <a:pt x="10" y="27"/>
                      <a:pt x="10" y="28"/>
                      <a:pt x="9" y="29"/>
                    </a:cubicBezTo>
                    <a:cubicBezTo>
                      <a:pt x="8" y="29"/>
                      <a:pt x="7" y="29"/>
                      <a:pt x="6" y="28"/>
                    </a:cubicBezTo>
                    <a:cubicBezTo>
                      <a:pt x="2" y="26"/>
                      <a:pt x="0" y="24"/>
                      <a:pt x="0" y="20"/>
                    </a:cubicBezTo>
                    <a:lnTo>
                      <a:pt x="0" y="15"/>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58" name="Freeform 36"/>
              <p:cNvSpPr/>
              <p:nvPr/>
            </p:nvSpPr>
            <p:spPr bwMode="auto">
              <a:xfrm>
                <a:off x="6767731" y="4124990"/>
                <a:ext cx="53516" cy="146139"/>
              </a:xfrm>
              <a:custGeom>
                <a:avLst/>
                <a:gdLst>
                  <a:gd name="T0" fmla="*/ 26 w 26"/>
                  <a:gd name="T1" fmla="*/ 16 h 71"/>
                  <a:gd name="T2" fmla="*/ 26 w 26"/>
                  <a:gd name="T3" fmla="*/ 23 h 71"/>
                  <a:gd name="T4" fmla="*/ 17 w 26"/>
                  <a:gd name="T5" fmla="*/ 16 h 71"/>
                  <a:gd name="T6" fmla="*/ 17 w 26"/>
                  <a:gd name="T7" fmla="*/ 71 h 71"/>
                  <a:gd name="T8" fmla="*/ 10 w 26"/>
                  <a:gd name="T9" fmla="*/ 66 h 71"/>
                  <a:gd name="T10" fmla="*/ 10 w 26"/>
                  <a:gd name="T11" fmla="*/ 11 h 71"/>
                  <a:gd name="T12" fmla="*/ 0 w 26"/>
                  <a:gd name="T13" fmla="*/ 7 h 71"/>
                  <a:gd name="T14" fmla="*/ 0 w 26"/>
                  <a:gd name="T15" fmla="*/ 2 h 71"/>
                  <a:gd name="T16" fmla="*/ 0 w 26"/>
                  <a:gd name="T17" fmla="*/ 0 h 71"/>
                  <a:gd name="T18" fmla="*/ 26 w 26"/>
                  <a:gd name="T19" fmla="*/ 1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71">
                    <a:moveTo>
                      <a:pt x="26" y="16"/>
                    </a:moveTo>
                    <a:lnTo>
                      <a:pt x="26" y="23"/>
                    </a:lnTo>
                    <a:lnTo>
                      <a:pt x="17" y="16"/>
                    </a:lnTo>
                    <a:lnTo>
                      <a:pt x="17" y="71"/>
                    </a:lnTo>
                    <a:lnTo>
                      <a:pt x="10" y="66"/>
                    </a:lnTo>
                    <a:lnTo>
                      <a:pt x="10" y="11"/>
                    </a:lnTo>
                    <a:lnTo>
                      <a:pt x="0" y="7"/>
                    </a:lnTo>
                    <a:lnTo>
                      <a:pt x="0" y="2"/>
                    </a:lnTo>
                    <a:lnTo>
                      <a:pt x="0" y="0"/>
                    </a:lnTo>
                    <a:lnTo>
                      <a:pt x="26" y="16"/>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59" name="Freeform 37"/>
              <p:cNvSpPr/>
              <p:nvPr/>
            </p:nvSpPr>
            <p:spPr bwMode="auto">
              <a:xfrm>
                <a:off x="6864471" y="4182622"/>
                <a:ext cx="45282" cy="146139"/>
              </a:xfrm>
              <a:custGeom>
                <a:avLst/>
                <a:gdLst>
                  <a:gd name="T0" fmla="*/ 0 w 22"/>
                  <a:gd name="T1" fmla="*/ 0 h 71"/>
                  <a:gd name="T2" fmla="*/ 22 w 22"/>
                  <a:gd name="T3" fmla="*/ 10 h 71"/>
                  <a:gd name="T4" fmla="*/ 22 w 22"/>
                  <a:gd name="T5" fmla="*/ 19 h 71"/>
                  <a:gd name="T6" fmla="*/ 10 w 22"/>
                  <a:gd name="T7" fmla="*/ 12 h 71"/>
                  <a:gd name="T8" fmla="*/ 10 w 22"/>
                  <a:gd name="T9" fmla="*/ 28 h 71"/>
                  <a:gd name="T10" fmla="*/ 19 w 22"/>
                  <a:gd name="T11" fmla="*/ 36 h 71"/>
                  <a:gd name="T12" fmla="*/ 19 w 22"/>
                  <a:gd name="T13" fmla="*/ 43 h 71"/>
                  <a:gd name="T14" fmla="*/ 10 w 22"/>
                  <a:gd name="T15" fmla="*/ 38 h 71"/>
                  <a:gd name="T16" fmla="*/ 10 w 22"/>
                  <a:gd name="T17" fmla="*/ 57 h 71"/>
                  <a:gd name="T18" fmla="*/ 22 w 22"/>
                  <a:gd name="T19" fmla="*/ 64 h 71"/>
                  <a:gd name="T20" fmla="*/ 22 w 22"/>
                  <a:gd name="T21" fmla="*/ 71 h 71"/>
                  <a:gd name="T22" fmla="*/ 0 w 22"/>
                  <a:gd name="T23" fmla="*/ 59 h 71"/>
                  <a:gd name="T24" fmla="*/ 0 w 22"/>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71">
                    <a:moveTo>
                      <a:pt x="0" y="0"/>
                    </a:moveTo>
                    <a:lnTo>
                      <a:pt x="22" y="10"/>
                    </a:lnTo>
                    <a:lnTo>
                      <a:pt x="22" y="19"/>
                    </a:lnTo>
                    <a:lnTo>
                      <a:pt x="10" y="12"/>
                    </a:lnTo>
                    <a:lnTo>
                      <a:pt x="10" y="28"/>
                    </a:lnTo>
                    <a:lnTo>
                      <a:pt x="19" y="36"/>
                    </a:lnTo>
                    <a:lnTo>
                      <a:pt x="19" y="43"/>
                    </a:lnTo>
                    <a:lnTo>
                      <a:pt x="10" y="38"/>
                    </a:lnTo>
                    <a:lnTo>
                      <a:pt x="10" y="57"/>
                    </a:lnTo>
                    <a:lnTo>
                      <a:pt x="22" y="64"/>
                    </a:lnTo>
                    <a:lnTo>
                      <a:pt x="22" y="71"/>
                    </a:lnTo>
                    <a:lnTo>
                      <a:pt x="0" y="59"/>
                    </a:lnTo>
                    <a:lnTo>
                      <a:pt x="0" y="0"/>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sp>
            <p:nvSpPr>
              <p:cNvPr id="60" name="Freeform 38"/>
              <p:cNvSpPr>
                <a:spLocks noEditPoints="1"/>
              </p:cNvSpPr>
              <p:nvPr/>
            </p:nvSpPr>
            <p:spPr bwMode="auto">
              <a:xfrm>
                <a:off x="6952977" y="4225845"/>
                <a:ext cx="49399" cy="137906"/>
              </a:xfrm>
              <a:custGeom>
                <a:avLst/>
                <a:gdLst>
                  <a:gd name="T0" fmla="*/ 0 w 10"/>
                  <a:gd name="T1" fmla="*/ 0 h 28"/>
                  <a:gd name="T2" fmla="*/ 7 w 10"/>
                  <a:gd name="T3" fmla="*/ 4 h 28"/>
                  <a:gd name="T4" fmla="*/ 10 w 10"/>
                  <a:gd name="T5" fmla="*/ 10 h 28"/>
                  <a:gd name="T6" fmla="*/ 10 w 10"/>
                  <a:gd name="T7" fmla="*/ 18 h 28"/>
                  <a:gd name="T8" fmla="*/ 8 w 10"/>
                  <a:gd name="T9" fmla="*/ 19 h 28"/>
                  <a:gd name="T10" fmla="*/ 4 w 10"/>
                  <a:gd name="T11" fmla="*/ 17 h 28"/>
                  <a:gd name="T12" fmla="*/ 3 w 10"/>
                  <a:gd name="T13" fmla="*/ 16 h 28"/>
                  <a:gd name="T14" fmla="*/ 3 w 10"/>
                  <a:gd name="T15" fmla="*/ 28 h 28"/>
                  <a:gd name="T16" fmla="*/ 0 w 10"/>
                  <a:gd name="T17" fmla="*/ 26 h 28"/>
                  <a:gd name="T18" fmla="*/ 0 w 10"/>
                  <a:gd name="T19" fmla="*/ 0 h 28"/>
                  <a:gd name="T20" fmla="*/ 6 w 10"/>
                  <a:gd name="T21" fmla="*/ 15 h 28"/>
                  <a:gd name="T22" fmla="*/ 6 w 10"/>
                  <a:gd name="T23" fmla="*/ 15 h 28"/>
                  <a:gd name="T24" fmla="*/ 7 w 10"/>
                  <a:gd name="T25" fmla="*/ 14 h 28"/>
                  <a:gd name="T26" fmla="*/ 7 w 10"/>
                  <a:gd name="T27" fmla="*/ 9 h 28"/>
                  <a:gd name="T28" fmla="*/ 5 w 10"/>
                  <a:gd name="T29" fmla="*/ 6 h 28"/>
                  <a:gd name="T30" fmla="*/ 3 w 10"/>
                  <a:gd name="T31" fmla="*/ 5 h 28"/>
                  <a:gd name="T32" fmla="*/ 3 w 10"/>
                  <a:gd name="T33" fmla="*/ 13 h 28"/>
                  <a:gd name="T34" fmla="*/ 6 w 10"/>
                  <a:gd name="T35" fmla="*/ 1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28">
                    <a:moveTo>
                      <a:pt x="0" y="0"/>
                    </a:moveTo>
                    <a:cubicBezTo>
                      <a:pt x="7" y="4"/>
                      <a:pt x="7" y="4"/>
                      <a:pt x="7" y="4"/>
                    </a:cubicBezTo>
                    <a:cubicBezTo>
                      <a:pt x="9" y="5"/>
                      <a:pt x="10" y="7"/>
                      <a:pt x="10" y="10"/>
                    </a:cubicBezTo>
                    <a:cubicBezTo>
                      <a:pt x="10" y="18"/>
                      <a:pt x="10" y="18"/>
                      <a:pt x="10" y="18"/>
                    </a:cubicBezTo>
                    <a:cubicBezTo>
                      <a:pt x="10" y="19"/>
                      <a:pt x="9" y="19"/>
                      <a:pt x="8" y="19"/>
                    </a:cubicBezTo>
                    <a:cubicBezTo>
                      <a:pt x="7" y="19"/>
                      <a:pt x="6" y="18"/>
                      <a:pt x="4" y="17"/>
                    </a:cubicBezTo>
                    <a:cubicBezTo>
                      <a:pt x="3" y="16"/>
                      <a:pt x="3" y="16"/>
                      <a:pt x="3" y="16"/>
                    </a:cubicBezTo>
                    <a:cubicBezTo>
                      <a:pt x="3" y="28"/>
                      <a:pt x="3" y="28"/>
                      <a:pt x="3" y="28"/>
                    </a:cubicBezTo>
                    <a:cubicBezTo>
                      <a:pt x="0" y="26"/>
                      <a:pt x="0" y="26"/>
                      <a:pt x="0" y="26"/>
                    </a:cubicBezTo>
                    <a:lnTo>
                      <a:pt x="0" y="0"/>
                    </a:lnTo>
                    <a:close/>
                    <a:moveTo>
                      <a:pt x="6" y="15"/>
                    </a:moveTo>
                    <a:cubicBezTo>
                      <a:pt x="6" y="15"/>
                      <a:pt x="6" y="15"/>
                      <a:pt x="6" y="15"/>
                    </a:cubicBezTo>
                    <a:cubicBezTo>
                      <a:pt x="7" y="15"/>
                      <a:pt x="7" y="15"/>
                      <a:pt x="7" y="14"/>
                    </a:cubicBezTo>
                    <a:cubicBezTo>
                      <a:pt x="7" y="9"/>
                      <a:pt x="7" y="9"/>
                      <a:pt x="7" y="9"/>
                    </a:cubicBezTo>
                    <a:cubicBezTo>
                      <a:pt x="7" y="8"/>
                      <a:pt x="6" y="7"/>
                      <a:pt x="5" y="6"/>
                    </a:cubicBezTo>
                    <a:cubicBezTo>
                      <a:pt x="3" y="5"/>
                      <a:pt x="3" y="5"/>
                      <a:pt x="3" y="5"/>
                    </a:cubicBezTo>
                    <a:cubicBezTo>
                      <a:pt x="3" y="13"/>
                      <a:pt x="3" y="13"/>
                      <a:pt x="3" y="13"/>
                    </a:cubicBezTo>
                    <a:lnTo>
                      <a:pt x="6" y="15"/>
                    </a:lnTo>
                    <a:close/>
                  </a:path>
                </a:pathLst>
              </a:custGeom>
              <a:solidFill>
                <a:srgbClr val="FFFFFF"/>
              </a:solidFill>
              <a:ln w="14288" cap="flat">
                <a:noFill/>
                <a:prstDash val="solid"/>
                <a:miter lim="800000"/>
              </a:ln>
            </p:spPr>
            <p:txBody>
              <a:bodyPr vert="horz" wrap="square" lIns="121888" tIns="60944" rIns="121888" bIns="60944" numCol="1" anchor="t" anchorCtr="0" compatLnSpc="1"/>
              <a:lstStyle/>
              <a:p>
                <a:endParaRPr lang="zh-CN" altLang="en-US" sz="2400"/>
              </a:p>
            </p:txBody>
          </p:sp>
        </p:grpSp>
      </p:grpSp>
      <p:grpSp>
        <p:nvGrpSpPr>
          <p:cNvPr id="73" name="Group 87"/>
          <p:cNvGrpSpPr/>
          <p:nvPr/>
        </p:nvGrpSpPr>
        <p:grpSpPr>
          <a:xfrm>
            <a:off x="704401" y="1046037"/>
            <a:ext cx="3363756" cy="882180"/>
            <a:chOff x="138498" y="3002145"/>
            <a:chExt cx="3418039" cy="900474"/>
          </a:xfrm>
        </p:grpSpPr>
        <p:sp>
          <p:nvSpPr>
            <p:cNvPr id="74" name="椭圆 10"/>
            <p:cNvSpPr/>
            <p:nvPr/>
          </p:nvSpPr>
          <p:spPr>
            <a:xfrm>
              <a:off x="138498" y="324858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lumMod val="85000"/>
                    </a:schemeClr>
                  </a:solidFill>
                  <a:latin typeface="微软雅黑" panose="020B0503020204020204" pitchFamily="34" charset="-122"/>
                  <a:ea typeface="微软雅黑" panose="020B0503020204020204" pitchFamily="34" charset="-122"/>
                </a:rPr>
                <a:t>1</a:t>
              </a:r>
              <a:endParaRPr lang="zh-CN" altLang="en-US" sz="1600" b="1"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75" name="文本框 11"/>
            <p:cNvSpPr txBox="1"/>
            <p:nvPr/>
          </p:nvSpPr>
          <p:spPr>
            <a:xfrm>
              <a:off x="477437" y="3002145"/>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76" name="矩形 9"/>
            <p:cNvSpPr/>
            <p:nvPr/>
          </p:nvSpPr>
          <p:spPr>
            <a:xfrm>
              <a:off x="484797" y="3271159"/>
              <a:ext cx="3071740"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77" name="Group 91"/>
          <p:cNvGrpSpPr/>
          <p:nvPr/>
        </p:nvGrpSpPr>
        <p:grpSpPr>
          <a:xfrm>
            <a:off x="713774" y="2201953"/>
            <a:ext cx="3354381" cy="882180"/>
            <a:chOff x="138498" y="3002145"/>
            <a:chExt cx="3408513" cy="900474"/>
          </a:xfrm>
        </p:grpSpPr>
        <p:sp>
          <p:nvSpPr>
            <p:cNvPr id="78" name="椭圆 10"/>
            <p:cNvSpPr/>
            <p:nvPr/>
          </p:nvSpPr>
          <p:spPr>
            <a:xfrm>
              <a:off x="138498" y="3267632"/>
              <a:ext cx="349697" cy="349697"/>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lumMod val="85000"/>
                    </a:schemeClr>
                  </a:solidFill>
                  <a:latin typeface="微软雅黑" panose="020B0503020204020204" pitchFamily="34" charset="-122"/>
                  <a:ea typeface="微软雅黑" panose="020B0503020204020204" pitchFamily="34" charset="-122"/>
                </a:rPr>
                <a:t>2</a:t>
              </a:r>
              <a:endParaRPr lang="zh-CN" altLang="en-US" sz="1600" b="1"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79" name="文本框 11"/>
            <p:cNvSpPr txBox="1"/>
            <p:nvPr/>
          </p:nvSpPr>
          <p:spPr>
            <a:xfrm>
              <a:off x="477437" y="3002145"/>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80" name="矩形 9"/>
            <p:cNvSpPr/>
            <p:nvPr/>
          </p:nvSpPr>
          <p:spPr>
            <a:xfrm>
              <a:off x="484796" y="3271159"/>
              <a:ext cx="3062215"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81" name="Group 95"/>
          <p:cNvGrpSpPr/>
          <p:nvPr/>
        </p:nvGrpSpPr>
        <p:grpSpPr>
          <a:xfrm>
            <a:off x="723148" y="3379671"/>
            <a:ext cx="3345006" cy="882180"/>
            <a:chOff x="138498" y="3002145"/>
            <a:chExt cx="3398987" cy="900474"/>
          </a:xfrm>
        </p:grpSpPr>
        <p:sp>
          <p:nvSpPr>
            <p:cNvPr id="82" name="椭圆 10"/>
            <p:cNvSpPr/>
            <p:nvPr/>
          </p:nvSpPr>
          <p:spPr>
            <a:xfrm>
              <a:off x="138498" y="326763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lumMod val="85000"/>
                    </a:schemeClr>
                  </a:solidFill>
                  <a:latin typeface="微软雅黑" panose="020B0503020204020204" pitchFamily="34" charset="-122"/>
                  <a:ea typeface="微软雅黑" panose="020B0503020204020204" pitchFamily="34" charset="-122"/>
                </a:rPr>
                <a:t>3</a:t>
              </a:r>
              <a:endParaRPr lang="zh-CN" altLang="en-US" sz="1600" b="1"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83" name="文本框 11"/>
            <p:cNvSpPr txBox="1"/>
            <p:nvPr/>
          </p:nvSpPr>
          <p:spPr>
            <a:xfrm>
              <a:off x="477437" y="3002145"/>
              <a:ext cx="1282248" cy="314160"/>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84" name="矩形 9"/>
            <p:cNvSpPr/>
            <p:nvPr/>
          </p:nvSpPr>
          <p:spPr>
            <a:xfrm>
              <a:off x="484796" y="3271159"/>
              <a:ext cx="3052689"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sp>
        <p:nvSpPr>
          <p:cNvPr id="85" name="平行四边形 84"/>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6" name="平行四边形 85"/>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7" name="平行四边形 86"/>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8" name="平行四边形 87"/>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89" name="直接连接符 88"/>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0"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91" name="Group 7"/>
          <p:cNvGrpSpPr/>
          <p:nvPr/>
        </p:nvGrpSpPr>
        <p:grpSpPr bwMode="auto">
          <a:xfrm>
            <a:off x="180202" y="181952"/>
            <a:ext cx="216018" cy="113981"/>
            <a:chOff x="0" y="0"/>
            <a:chExt cx="1041399" cy="549275"/>
          </a:xfrm>
          <a:solidFill>
            <a:srgbClr val="133E73"/>
          </a:solidFill>
        </p:grpSpPr>
        <p:sp>
          <p:nvSpPr>
            <p:cNvPr id="92"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3"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94"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95" name="6112">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10"/>
          <a:stretch>
            <a:fillRect/>
          </a:stretch>
        </p:blipFill>
        <p:spPr>
          <a:xfrm>
            <a:off x="2268377" y="-1568065"/>
            <a:ext cx="1008084" cy="1008084"/>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91"/>
                                        </p:tgtEl>
                                        <p:attrNameLst>
                                          <p:attrName>style.visibility</p:attrName>
                                        </p:attrNameLst>
                                      </p:cBhvr>
                                      <p:to>
                                        <p:strVal val="visible"/>
                                      </p:to>
                                    </p:set>
                                    <p:anim calcmode="lin" valueType="num">
                                      <p:cBhvr additive="base">
                                        <p:cTn id="7" dur="500" fill="hold"/>
                                        <p:tgtEl>
                                          <p:spTgt spid="91"/>
                                        </p:tgtEl>
                                        <p:attrNameLst>
                                          <p:attrName>ppt_x</p:attrName>
                                        </p:attrNameLst>
                                      </p:cBhvr>
                                      <p:tavLst>
                                        <p:tav tm="0">
                                          <p:val>
                                            <p:strVal val="0-#ppt_w/2"/>
                                          </p:val>
                                        </p:tav>
                                        <p:tav tm="100000">
                                          <p:val>
                                            <p:strVal val="#ppt_x"/>
                                          </p:val>
                                        </p:tav>
                                      </p:tavLst>
                                    </p:anim>
                                    <p:anim calcmode="lin" valueType="num">
                                      <p:cBhvr additive="base">
                                        <p:cTn id="8" dur="500" fill="hold"/>
                                        <p:tgtEl>
                                          <p:spTgt spid="91"/>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90"/>
                                        </p:tgtEl>
                                        <p:attrNameLst>
                                          <p:attrName>style.visibility</p:attrName>
                                        </p:attrNameLst>
                                      </p:cBhvr>
                                      <p:to>
                                        <p:strVal val="visible"/>
                                      </p:to>
                                    </p:set>
                                    <p:anim calcmode="lin" valueType="num">
                                      <p:cBhvr>
                                        <p:cTn id="12" dur="500" fill="hold"/>
                                        <p:tgtEl>
                                          <p:spTgt spid="90"/>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90"/>
                                        </p:tgtEl>
                                        <p:attrNameLst>
                                          <p:attrName>ppt_y</p:attrName>
                                        </p:attrNameLst>
                                      </p:cBhvr>
                                      <p:tavLst>
                                        <p:tav tm="0">
                                          <p:val>
                                            <p:strVal val="#ppt_y"/>
                                          </p:val>
                                        </p:tav>
                                        <p:tav tm="100000">
                                          <p:val>
                                            <p:strVal val="#ppt_y"/>
                                          </p:val>
                                        </p:tav>
                                      </p:tavLst>
                                    </p:anim>
                                    <p:anim calcmode="lin" valueType="num">
                                      <p:cBhvr>
                                        <p:cTn id="14" dur="500" fill="hold"/>
                                        <p:tgtEl>
                                          <p:spTgt spid="90"/>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90"/>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90"/>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87"/>
                                        </p:tgtEl>
                                        <p:attrNameLst>
                                          <p:attrName>fillcolor</p:attrName>
                                        </p:attrNameLst>
                                      </p:cBhvr>
                                      <p:to>
                                        <a:srgbClr val="00AEEF"/>
                                      </p:to>
                                    </p:animClr>
                                    <p:set>
                                      <p:cBhvr>
                                        <p:cTn id="20" dur="300" fill="hold"/>
                                        <p:tgtEl>
                                          <p:spTgt spid="87"/>
                                        </p:tgtEl>
                                        <p:attrNameLst>
                                          <p:attrName>fill.type</p:attrName>
                                        </p:attrNameLst>
                                      </p:cBhvr>
                                      <p:to>
                                        <p:strVal val="solid"/>
                                      </p:to>
                                    </p:set>
                                    <p:set>
                                      <p:cBhvr>
                                        <p:cTn id="21" dur="300" fill="hold"/>
                                        <p:tgtEl>
                                          <p:spTgt spid="87"/>
                                        </p:tgtEl>
                                        <p:attrNameLst>
                                          <p:attrName>fill.on</p:attrName>
                                        </p:attrNameLst>
                                      </p:cBhvr>
                                      <p:to>
                                        <p:strVal val="true"/>
                                      </p:to>
                                    </p:set>
                                  </p:childTnLst>
                                </p:cTn>
                              </p:par>
                            </p:childTnLst>
                          </p:cTn>
                        </p:par>
                        <p:par>
                          <p:cTn id="22" fill="hold">
                            <p:stCondLst>
                              <p:cond delay="1799"/>
                            </p:stCondLst>
                            <p:childTnLst>
                              <p:par>
                                <p:cTn id="23" presetID="12" presetClass="entr" presetSubtype="1" fill="hold" nodeType="afterEffect">
                                  <p:stCondLst>
                                    <p:cond delay="0"/>
                                  </p:stCondLst>
                                  <p:childTnLst>
                                    <p:set>
                                      <p:cBhvr>
                                        <p:cTn id="24" dur="1" fill="hold">
                                          <p:stCondLst>
                                            <p:cond delay="0"/>
                                          </p:stCondLst>
                                        </p:cTn>
                                        <p:tgtEl>
                                          <p:spTgt spid="73"/>
                                        </p:tgtEl>
                                        <p:attrNameLst>
                                          <p:attrName>style.visibility</p:attrName>
                                        </p:attrNameLst>
                                      </p:cBhvr>
                                      <p:to>
                                        <p:strVal val="visible"/>
                                      </p:to>
                                    </p:set>
                                    <p:animEffect transition="in" filter="slide(fromTop)">
                                      <p:cBhvr>
                                        <p:cTn id="25" dur="500"/>
                                        <p:tgtEl>
                                          <p:spTgt spid="73"/>
                                        </p:tgtEl>
                                      </p:cBhvr>
                                    </p:animEffect>
                                  </p:childTnLst>
                                </p:cTn>
                              </p:par>
                            </p:childTnLst>
                          </p:cTn>
                        </p:par>
                        <p:par>
                          <p:cTn id="26" fill="hold">
                            <p:stCondLst>
                              <p:cond delay="2299"/>
                            </p:stCondLst>
                            <p:childTnLst>
                              <p:par>
                                <p:cTn id="27" presetID="12" presetClass="entr" presetSubtype="1" fill="hold" nodeType="afterEffect">
                                  <p:stCondLst>
                                    <p:cond delay="0"/>
                                  </p:stCondLst>
                                  <p:childTnLst>
                                    <p:set>
                                      <p:cBhvr>
                                        <p:cTn id="28" dur="1" fill="hold">
                                          <p:stCondLst>
                                            <p:cond delay="0"/>
                                          </p:stCondLst>
                                        </p:cTn>
                                        <p:tgtEl>
                                          <p:spTgt spid="77"/>
                                        </p:tgtEl>
                                        <p:attrNameLst>
                                          <p:attrName>style.visibility</p:attrName>
                                        </p:attrNameLst>
                                      </p:cBhvr>
                                      <p:to>
                                        <p:strVal val="visible"/>
                                      </p:to>
                                    </p:set>
                                    <p:animEffect transition="in" filter="slide(fromTop)">
                                      <p:cBhvr>
                                        <p:cTn id="29" dur="500"/>
                                        <p:tgtEl>
                                          <p:spTgt spid="77"/>
                                        </p:tgtEl>
                                      </p:cBhvr>
                                    </p:animEffect>
                                  </p:childTnLst>
                                </p:cTn>
                              </p:par>
                            </p:childTnLst>
                          </p:cTn>
                        </p:par>
                        <p:par>
                          <p:cTn id="30" fill="hold">
                            <p:stCondLst>
                              <p:cond delay="2799"/>
                            </p:stCondLst>
                            <p:childTnLst>
                              <p:par>
                                <p:cTn id="31" presetID="12" presetClass="entr" presetSubtype="1" fill="hold" nodeType="afterEffect">
                                  <p:stCondLst>
                                    <p:cond delay="0"/>
                                  </p:stCondLst>
                                  <p:childTnLst>
                                    <p:set>
                                      <p:cBhvr>
                                        <p:cTn id="32" dur="1" fill="hold">
                                          <p:stCondLst>
                                            <p:cond delay="0"/>
                                          </p:stCondLst>
                                        </p:cTn>
                                        <p:tgtEl>
                                          <p:spTgt spid="81"/>
                                        </p:tgtEl>
                                        <p:attrNameLst>
                                          <p:attrName>style.visibility</p:attrName>
                                        </p:attrNameLst>
                                      </p:cBhvr>
                                      <p:to>
                                        <p:strVal val="visible"/>
                                      </p:to>
                                    </p:set>
                                    <p:animEffect transition="in" filter="slide(fromTop)">
                                      <p:cBhvr>
                                        <p:cTn id="33" dur="500"/>
                                        <p:tgtEl>
                                          <p:spTgt spid="81"/>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22"/>
                                        </p:tgtEl>
                                        <p:attrNameLst>
                                          <p:attrName>style.visibility</p:attrName>
                                        </p:attrNameLst>
                                      </p:cBhvr>
                                      <p:to>
                                        <p:strVal val="visible"/>
                                      </p:to>
                                    </p:set>
                                    <p:animEffect transition="in" filter="fade">
                                      <p:cBhvr>
                                        <p:cTn id="38" dur="500"/>
                                        <p:tgtEl>
                                          <p:spTgt spid="22"/>
                                        </p:tgtEl>
                                      </p:cBhvr>
                                    </p:animEffect>
                                  </p:childTnLst>
                                </p:cTn>
                              </p:par>
                            </p:childTnLst>
                          </p:cTn>
                        </p:par>
                        <p:par>
                          <p:cTn id="39" fill="hold">
                            <p:stCondLst>
                              <p:cond delay="500"/>
                            </p:stCondLst>
                            <p:childTnLst>
                              <p:par>
                                <p:cTn id="40" presetID="1" presetClass="mediacall" presetSubtype="0" fill="hold" nodeType="afterEffect">
                                  <p:stCondLst>
                                    <p:cond delay="0"/>
                                  </p:stCondLst>
                                  <p:childTnLst>
                                    <p:cmd type="call" cmd="playFrom(0.0)">
                                      <p:cBhvr>
                                        <p:cTn id="41" dur="1" fill="hold"/>
                                        <p:tgtEl>
                                          <p:spTgt spid="9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42" fill="hold" display="0">
                  <p:stCondLst>
                    <p:cond delay="indefinite"/>
                  </p:stCondLst>
                  <p:endCondLst>
                    <p:cond evt="onStopAudio" delay="0">
                      <p:tgtEl>
                        <p:sldTgt/>
                      </p:tgtEl>
                    </p:cond>
                  </p:endCondLst>
                </p:cTn>
                <p:tgtEl>
                  <p:spTgt spid="95"/>
                </p:tgtEl>
              </p:cMediaNode>
            </p:audio>
          </p:childTnLst>
        </p:cTn>
      </p:par>
    </p:tnLst>
    <p:bldLst>
      <p:bldP spid="87" grpId="0" animBg="1"/>
      <p:bldP spid="90"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图表 9"/>
          <p:cNvGraphicFramePr/>
          <p:nvPr/>
        </p:nvGraphicFramePr>
        <p:xfrm>
          <a:off x="3579325" y="1924741"/>
          <a:ext cx="4606187" cy="3064492"/>
        </p:xfrm>
        <a:graphic>
          <a:graphicData uri="http://schemas.openxmlformats.org/drawingml/2006/chart">
            <c:chart xmlns:c="http://schemas.openxmlformats.org/drawingml/2006/chart" xmlns:r="http://schemas.openxmlformats.org/officeDocument/2006/relationships" r:id="rId5"/>
          </a:graphicData>
        </a:graphic>
      </p:graphicFrame>
      <p:sp>
        <p:nvSpPr>
          <p:cNvPr id="11" name="文本框 7"/>
          <p:cNvSpPr txBox="1">
            <a:spLocks noChangeArrowheads="1"/>
          </p:cNvSpPr>
          <p:nvPr/>
        </p:nvSpPr>
        <p:spPr bwMode="auto">
          <a:xfrm>
            <a:off x="3650192" y="1114285"/>
            <a:ext cx="1417287" cy="793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algn="ctr" eaLnBrk="1" hangingPunct="1"/>
            <a:r>
              <a:rPr lang="zh-CN" altLang="en-US" sz="1600" dirty="0">
                <a:solidFill>
                  <a:srgbClr val="00A4E3"/>
                </a:solidFill>
                <a:latin typeface="微软雅黑" panose="020B0503020204020204" pitchFamily="34" charset="-122"/>
              </a:rPr>
              <a:t>系列一</a:t>
            </a:r>
            <a:endParaRPr lang="en-US" altLang="zh-CN" sz="1600" dirty="0">
              <a:solidFill>
                <a:srgbClr val="00A4E3"/>
              </a:solidFill>
              <a:latin typeface="微软雅黑" panose="020B0503020204020204" pitchFamily="34" charset="-122"/>
            </a:endParaRPr>
          </a:p>
          <a:p>
            <a:pPr algn="ctr">
              <a:lnSpc>
                <a:spcPct val="120000"/>
              </a:lnSpc>
              <a:spcBef>
                <a:spcPts val="295"/>
              </a:spcBef>
            </a:pPr>
            <a:r>
              <a:rPr lang="zh-CN" altLang="en-US" sz="1200" dirty="0">
                <a:solidFill>
                  <a:schemeClr val="bg1">
                    <a:lumMod val="85000"/>
                  </a:schemeClr>
                </a:solidFill>
                <a:latin typeface="微软雅黑" panose="020B0503020204020204" pitchFamily="34" charset="-122"/>
              </a:rPr>
              <a:t>单击添加说明文字单击添加说明文字</a:t>
            </a:r>
          </a:p>
        </p:txBody>
      </p:sp>
      <p:sp>
        <p:nvSpPr>
          <p:cNvPr id="12" name="文本框 7"/>
          <p:cNvSpPr txBox="1">
            <a:spLocks noChangeArrowheads="1"/>
          </p:cNvSpPr>
          <p:nvPr/>
        </p:nvSpPr>
        <p:spPr bwMode="auto">
          <a:xfrm>
            <a:off x="5280073" y="1114285"/>
            <a:ext cx="1417287" cy="793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algn="ctr"/>
            <a:r>
              <a:rPr lang="zh-CN" altLang="en-US" sz="1600" dirty="0">
                <a:solidFill>
                  <a:srgbClr val="00A4E3"/>
                </a:solidFill>
                <a:latin typeface="微软雅黑" panose="020B0503020204020204" pitchFamily="34" charset="-122"/>
              </a:rPr>
              <a:t>系列二</a:t>
            </a:r>
            <a:endParaRPr lang="en-US" altLang="zh-CN" sz="1600" dirty="0">
              <a:solidFill>
                <a:srgbClr val="00A4E3"/>
              </a:solidFill>
              <a:latin typeface="微软雅黑" panose="020B0503020204020204" pitchFamily="34" charset="-122"/>
            </a:endParaRPr>
          </a:p>
          <a:p>
            <a:pPr algn="ctr">
              <a:lnSpc>
                <a:spcPct val="120000"/>
              </a:lnSpc>
              <a:spcBef>
                <a:spcPts val="295"/>
              </a:spcBef>
            </a:pPr>
            <a:r>
              <a:rPr lang="zh-CN" altLang="en-US" sz="1200" dirty="0">
                <a:solidFill>
                  <a:schemeClr val="bg1">
                    <a:lumMod val="85000"/>
                  </a:schemeClr>
                </a:solidFill>
                <a:latin typeface="微软雅黑" panose="020B0503020204020204" pitchFamily="34" charset="-122"/>
              </a:rPr>
              <a:t>单击添加说明文字单击添加说明文字</a:t>
            </a:r>
          </a:p>
        </p:txBody>
      </p:sp>
      <p:sp>
        <p:nvSpPr>
          <p:cNvPr id="13" name="文本框 7"/>
          <p:cNvSpPr txBox="1">
            <a:spLocks noChangeArrowheads="1"/>
          </p:cNvSpPr>
          <p:nvPr/>
        </p:nvSpPr>
        <p:spPr bwMode="auto">
          <a:xfrm>
            <a:off x="6909955" y="1114285"/>
            <a:ext cx="1417287" cy="793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algn="ctr"/>
            <a:r>
              <a:rPr lang="zh-CN" altLang="en-US" sz="1600" dirty="0">
                <a:solidFill>
                  <a:srgbClr val="00A4E3"/>
                </a:solidFill>
                <a:latin typeface="微软雅黑" panose="020B0503020204020204" pitchFamily="34" charset="-122"/>
              </a:rPr>
              <a:t>系列三</a:t>
            </a:r>
            <a:endParaRPr lang="en-US" altLang="zh-CN" sz="1600" dirty="0">
              <a:solidFill>
                <a:srgbClr val="00A4E3"/>
              </a:solidFill>
              <a:latin typeface="微软雅黑" panose="020B0503020204020204" pitchFamily="34" charset="-122"/>
            </a:endParaRPr>
          </a:p>
          <a:p>
            <a:pPr algn="ctr">
              <a:lnSpc>
                <a:spcPct val="120000"/>
              </a:lnSpc>
              <a:spcBef>
                <a:spcPts val="295"/>
              </a:spcBef>
            </a:pPr>
            <a:r>
              <a:rPr lang="zh-CN" altLang="en-US" sz="1200" dirty="0">
                <a:solidFill>
                  <a:schemeClr val="bg1">
                    <a:lumMod val="85000"/>
                  </a:schemeClr>
                </a:solidFill>
                <a:latin typeface="微软雅黑" panose="020B0503020204020204" pitchFamily="34" charset="-122"/>
              </a:rPr>
              <a:t>单击添加说明文字单击添加说明文字</a:t>
            </a:r>
          </a:p>
        </p:txBody>
      </p:sp>
      <p:sp>
        <p:nvSpPr>
          <p:cNvPr id="14" name="文本框 7"/>
          <p:cNvSpPr txBox="1">
            <a:spLocks noChangeArrowheads="1"/>
          </p:cNvSpPr>
          <p:nvPr/>
        </p:nvSpPr>
        <p:spPr bwMode="auto">
          <a:xfrm>
            <a:off x="540855" y="1461982"/>
            <a:ext cx="1342074" cy="370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eaLnBrk="1" hangingPunct="1"/>
            <a:r>
              <a:rPr lang="zh-CN" altLang="en-US" sz="1400" b="1" dirty="0">
                <a:solidFill>
                  <a:srgbClr val="00A4E3"/>
                </a:solidFill>
                <a:latin typeface="微软雅黑" panose="020B0503020204020204" pitchFamily="34" charset="-122"/>
              </a:rPr>
              <a:t>添加文本信息</a:t>
            </a:r>
            <a:endParaRPr lang="en-US" altLang="zh-CN" sz="1400" b="1" dirty="0">
              <a:solidFill>
                <a:srgbClr val="00A4E3"/>
              </a:solidFill>
              <a:latin typeface="微软雅黑" panose="020B0503020204020204" pitchFamily="34" charset="-122"/>
            </a:endParaRPr>
          </a:p>
        </p:txBody>
      </p:sp>
      <p:cxnSp>
        <p:nvCxnSpPr>
          <p:cNvPr id="15" name="直接连接符 14"/>
          <p:cNvCxnSpPr/>
          <p:nvPr/>
        </p:nvCxnSpPr>
        <p:spPr>
          <a:xfrm>
            <a:off x="603020" y="1803094"/>
            <a:ext cx="2480254" cy="0"/>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6" name="文本框 7"/>
          <p:cNvSpPr txBox="1">
            <a:spLocks noChangeArrowheads="1"/>
          </p:cNvSpPr>
          <p:nvPr/>
        </p:nvSpPr>
        <p:spPr bwMode="auto">
          <a:xfrm>
            <a:off x="540855" y="1863326"/>
            <a:ext cx="2684148" cy="2620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391" tIns="33696" rIns="67391" bIns="33696"/>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a:lnSpc>
                <a:spcPct val="150000"/>
              </a:lnSpc>
              <a:spcBef>
                <a:spcPts val="295"/>
              </a:spcBef>
            </a:pPr>
            <a:r>
              <a:rPr lang="zh-CN" altLang="en-US" sz="1100" dirty="0">
                <a:solidFill>
                  <a:schemeClr val="bg1">
                    <a:lumMod val="85000"/>
                  </a:schemeClr>
                </a:solidFill>
                <a:latin typeface="微软雅黑" panose="020B0503020204020204" pitchFamily="34" charset="-122"/>
              </a:rPr>
              <a:t>此处添加说明文字添加说明文字添加说明文字此处添加说明文字此处添加说明文字此处添加说明文字此处添加说明文字此处添加说明文字添加说明文字添加说明文字此处添加说明文字此处添加说明文字此处添加说明文字此处添加说明文字此处添加说明文字添加说明文字添加说明文字此处添加说明文字此处添加说明文字此处添加说明文字此处添加说明文字</a:t>
            </a:r>
          </a:p>
          <a:p>
            <a:pPr>
              <a:lnSpc>
                <a:spcPct val="150000"/>
              </a:lnSpc>
              <a:spcBef>
                <a:spcPts val="295"/>
              </a:spcBef>
            </a:pPr>
            <a:endParaRPr lang="zh-CN" altLang="en-US" sz="1100" dirty="0">
              <a:solidFill>
                <a:schemeClr val="bg1">
                  <a:lumMod val="85000"/>
                </a:schemeClr>
              </a:solidFill>
              <a:latin typeface="微软雅黑" panose="020B0503020204020204" pitchFamily="34" charset="-122"/>
            </a:endParaRPr>
          </a:p>
          <a:p>
            <a:pPr>
              <a:lnSpc>
                <a:spcPct val="150000"/>
              </a:lnSpc>
              <a:spcBef>
                <a:spcPts val="295"/>
              </a:spcBef>
            </a:pPr>
            <a:endParaRPr lang="en-US" altLang="zh-CN" sz="1100" dirty="0">
              <a:solidFill>
                <a:schemeClr val="bg1">
                  <a:lumMod val="85000"/>
                </a:schemeClr>
              </a:solidFill>
              <a:latin typeface="微软雅黑" panose="020B0503020204020204" pitchFamily="34" charset="-122"/>
            </a:endParaRPr>
          </a:p>
          <a:p>
            <a:pPr>
              <a:lnSpc>
                <a:spcPct val="150000"/>
              </a:lnSpc>
              <a:spcBef>
                <a:spcPts val="295"/>
              </a:spcBef>
            </a:pPr>
            <a:endParaRPr lang="zh-CN" altLang="en-US" sz="1100" dirty="0">
              <a:solidFill>
                <a:schemeClr val="bg1">
                  <a:lumMod val="85000"/>
                </a:schemeClr>
              </a:solidFill>
              <a:latin typeface="微软雅黑" panose="020B0503020204020204" pitchFamily="34" charset="-122"/>
            </a:endParaRPr>
          </a:p>
        </p:txBody>
      </p:sp>
      <p:sp>
        <p:nvSpPr>
          <p:cNvPr id="9" name="平行四边形 8"/>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平行四边形 16"/>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平行四边形 17"/>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平行四边形 18"/>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0" name="直接连接符 19"/>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1"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22" name="Group 7"/>
          <p:cNvGrpSpPr/>
          <p:nvPr/>
        </p:nvGrpSpPr>
        <p:grpSpPr bwMode="auto">
          <a:xfrm>
            <a:off x="180202" y="181952"/>
            <a:ext cx="216018" cy="113981"/>
            <a:chOff x="0" y="0"/>
            <a:chExt cx="1041399" cy="549275"/>
          </a:xfrm>
          <a:solidFill>
            <a:srgbClr val="133E73"/>
          </a:solidFill>
        </p:grpSpPr>
        <p:sp>
          <p:nvSpPr>
            <p:cNvPr id="23"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4"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5"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26"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2268377" y="-1568065"/>
            <a:ext cx="1008084" cy="1008084"/>
          </a:xfrm>
          <a:prstGeom prst="rect">
            <a:avLst/>
          </a:prstGeom>
        </p:spPr>
      </p:pic>
    </p:spTree>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500" fill="hold"/>
                                        <p:tgtEl>
                                          <p:spTgt spid="22"/>
                                        </p:tgtEl>
                                        <p:attrNameLst>
                                          <p:attrName>ppt_x</p:attrName>
                                        </p:attrNameLst>
                                      </p:cBhvr>
                                      <p:tavLst>
                                        <p:tav tm="0">
                                          <p:val>
                                            <p:strVal val="0-#ppt_w/2"/>
                                          </p:val>
                                        </p:tav>
                                        <p:tav tm="100000">
                                          <p:val>
                                            <p:strVal val="#ppt_x"/>
                                          </p:val>
                                        </p:tav>
                                      </p:tavLst>
                                    </p:anim>
                                    <p:anim calcmode="lin" valueType="num">
                                      <p:cBhvr additive="base">
                                        <p:cTn id="8" dur="500" fill="hold"/>
                                        <p:tgtEl>
                                          <p:spTgt spid="2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21"/>
                                        </p:tgtEl>
                                        <p:attrNameLst>
                                          <p:attrName>style.visibility</p:attrName>
                                        </p:attrNameLst>
                                      </p:cBhvr>
                                      <p:to>
                                        <p:strVal val="visible"/>
                                      </p:to>
                                    </p:set>
                                    <p:anim calcmode="lin" valueType="num">
                                      <p:cBhvr>
                                        <p:cTn id="12" dur="500" fill="hold"/>
                                        <p:tgtEl>
                                          <p:spTgt spid="21"/>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21"/>
                                        </p:tgtEl>
                                        <p:attrNameLst>
                                          <p:attrName>ppt_y</p:attrName>
                                        </p:attrNameLst>
                                      </p:cBhvr>
                                      <p:tavLst>
                                        <p:tav tm="0">
                                          <p:val>
                                            <p:strVal val="#ppt_y"/>
                                          </p:val>
                                        </p:tav>
                                        <p:tav tm="100000">
                                          <p:val>
                                            <p:strVal val="#ppt_y"/>
                                          </p:val>
                                        </p:tav>
                                      </p:tavLst>
                                    </p:anim>
                                    <p:anim calcmode="lin" valueType="num">
                                      <p:cBhvr>
                                        <p:cTn id="14" dur="500" fill="hold"/>
                                        <p:tgtEl>
                                          <p:spTgt spid="21"/>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21"/>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21"/>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18"/>
                                        </p:tgtEl>
                                        <p:attrNameLst>
                                          <p:attrName>fillcolor</p:attrName>
                                        </p:attrNameLst>
                                      </p:cBhvr>
                                      <p:to>
                                        <a:srgbClr val="00AEEF"/>
                                      </p:to>
                                    </p:animClr>
                                    <p:set>
                                      <p:cBhvr>
                                        <p:cTn id="20" dur="300" fill="hold"/>
                                        <p:tgtEl>
                                          <p:spTgt spid="18"/>
                                        </p:tgtEl>
                                        <p:attrNameLst>
                                          <p:attrName>fill.type</p:attrName>
                                        </p:attrNameLst>
                                      </p:cBhvr>
                                      <p:to>
                                        <p:strVal val="solid"/>
                                      </p:to>
                                    </p:set>
                                    <p:set>
                                      <p:cBhvr>
                                        <p:cTn id="21" dur="300" fill="hold"/>
                                        <p:tgtEl>
                                          <p:spTgt spid="18"/>
                                        </p:tgtEl>
                                        <p:attrNameLst>
                                          <p:attrName>fill.on</p:attrName>
                                        </p:attrNameLst>
                                      </p:cBhvr>
                                      <p:to>
                                        <p:strVal val="true"/>
                                      </p:to>
                                    </p:set>
                                  </p:childTnLst>
                                </p:cTn>
                              </p:par>
                            </p:childTnLst>
                          </p:cTn>
                        </p:par>
                        <p:par>
                          <p:cTn id="22" fill="hold">
                            <p:stCondLst>
                              <p:cond delay="1799"/>
                            </p:stCondLst>
                            <p:childTnLst>
                              <p:par>
                                <p:cTn id="23" presetID="22" presetClass="entr" presetSubtype="8" fill="hold" grpId="0" nodeType="after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wipe(left)">
                                      <p:cBhvr>
                                        <p:cTn id="25" dur="500"/>
                                        <p:tgtEl>
                                          <p:spTgt spid="14"/>
                                        </p:tgtEl>
                                      </p:cBhvr>
                                    </p:animEffect>
                                  </p:childTnLst>
                                </p:cTn>
                              </p:par>
                              <p:par>
                                <p:cTn id="26" presetID="22" presetClass="entr" presetSubtype="8" fill="hold" nodeType="with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wipe(left)">
                                      <p:cBhvr>
                                        <p:cTn id="28" dur="500"/>
                                        <p:tgtEl>
                                          <p:spTgt spid="15"/>
                                        </p:tgtEl>
                                      </p:cBhvr>
                                    </p:animEffect>
                                  </p:childTnLst>
                                </p:cTn>
                              </p:par>
                            </p:childTnLst>
                          </p:cTn>
                        </p:par>
                        <p:par>
                          <p:cTn id="29" fill="hold">
                            <p:stCondLst>
                              <p:cond delay="2299"/>
                            </p:stCondLst>
                            <p:childTnLst>
                              <p:par>
                                <p:cTn id="30" presetID="22" presetClass="entr" presetSubtype="1" fill="hold" grpId="0" nodeType="after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wipe(up)">
                                      <p:cBhvr>
                                        <p:cTn id="32" dur="500"/>
                                        <p:tgtEl>
                                          <p:spTgt spid="16"/>
                                        </p:tgtEl>
                                      </p:cBhvr>
                                    </p:animEffect>
                                  </p:childTnLst>
                                </p:cTn>
                              </p:par>
                            </p:childTnLst>
                          </p:cTn>
                        </p:par>
                        <p:par>
                          <p:cTn id="33" fill="hold">
                            <p:stCondLst>
                              <p:cond delay="2799"/>
                            </p:stCondLst>
                            <p:childTnLst>
                              <p:par>
                                <p:cTn id="34" presetID="2" presetClass="entr" presetSubtype="4" fill="hold" grpId="0" nodeType="afterEffect">
                                  <p:stCondLst>
                                    <p:cond delay="0"/>
                                  </p:stCondLst>
                                  <p:childTnLst>
                                    <p:set>
                                      <p:cBhvr>
                                        <p:cTn id="35" dur="1" fill="hold">
                                          <p:stCondLst>
                                            <p:cond delay="0"/>
                                          </p:stCondLst>
                                        </p:cTn>
                                        <p:tgtEl>
                                          <p:spTgt spid="10"/>
                                        </p:tgtEl>
                                        <p:attrNameLst>
                                          <p:attrName>style.visibility</p:attrName>
                                        </p:attrNameLst>
                                      </p:cBhvr>
                                      <p:to>
                                        <p:strVal val="visible"/>
                                      </p:to>
                                    </p:set>
                                    <p:anim calcmode="lin" valueType="num">
                                      <p:cBhvr additive="base">
                                        <p:cTn id="36" dur="500" fill="hold"/>
                                        <p:tgtEl>
                                          <p:spTgt spid="10"/>
                                        </p:tgtEl>
                                        <p:attrNameLst>
                                          <p:attrName>ppt_x</p:attrName>
                                        </p:attrNameLst>
                                      </p:cBhvr>
                                      <p:tavLst>
                                        <p:tav tm="0">
                                          <p:val>
                                            <p:strVal val="#ppt_x"/>
                                          </p:val>
                                        </p:tav>
                                        <p:tav tm="100000">
                                          <p:val>
                                            <p:strVal val="#ppt_x"/>
                                          </p:val>
                                        </p:tav>
                                      </p:tavLst>
                                    </p:anim>
                                    <p:anim calcmode="lin" valueType="num">
                                      <p:cBhvr additive="base">
                                        <p:cTn id="37" dur="500" fill="hold"/>
                                        <p:tgtEl>
                                          <p:spTgt spid="10"/>
                                        </p:tgtEl>
                                        <p:attrNameLst>
                                          <p:attrName>ppt_y</p:attrName>
                                        </p:attrNameLst>
                                      </p:cBhvr>
                                      <p:tavLst>
                                        <p:tav tm="0">
                                          <p:val>
                                            <p:strVal val="1+#ppt_h/2"/>
                                          </p:val>
                                        </p:tav>
                                        <p:tav tm="100000">
                                          <p:val>
                                            <p:strVal val="#ppt_y"/>
                                          </p:val>
                                        </p:tav>
                                      </p:tavLst>
                                    </p:anim>
                                  </p:childTnLst>
                                </p:cTn>
                              </p:par>
                            </p:childTnLst>
                          </p:cTn>
                        </p:par>
                        <p:par>
                          <p:cTn id="38" fill="hold">
                            <p:stCondLst>
                              <p:cond delay="3299"/>
                            </p:stCondLst>
                            <p:childTnLst>
                              <p:par>
                                <p:cTn id="39" presetID="22" presetClass="entr" presetSubtype="4" fill="hold" grpId="0" nodeType="after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wipe(down)">
                                      <p:cBhvr>
                                        <p:cTn id="41" dur="500"/>
                                        <p:tgtEl>
                                          <p:spTgt spid="11"/>
                                        </p:tgtEl>
                                      </p:cBhvr>
                                    </p:animEffect>
                                  </p:childTnLst>
                                </p:cTn>
                              </p:par>
                            </p:childTnLst>
                          </p:cTn>
                        </p:par>
                        <p:par>
                          <p:cTn id="42" fill="hold">
                            <p:stCondLst>
                              <p:cond delay="3799"/>
                            </p:stCondLst>
                            <p:childTnLst>
                              <p:par>
                                <p:cTn id="43" presetID="22" presetClass="entr" presetSubtype="4" fill="hold" grpId="0" nodeType="afterEffect">
                                  <p:stCondLst>
                                    <p:cond delay="0"/>
                                  </p:stCondLst>
                                  <p:childTnLst>
                                    <p:set>
                                      <p:cBhvr>
                                        <p:cTn id="44" dur="1" fill="hold">
                                          <p:stCondLst>
                                            <p:cond delay="0"/>
                                          </p:stCondLst>
                                        </p:cTn>
                                        <p:tgtEl>
                                          <p:spTgt spid="12"/>
                                        </p:tgtEl>
                                        <p:attrNameLst>
                                          <p:attrName>style.visibility</p:attrName>
                                        </p:attrNameLst>
                                      </p:cBhvr>
                                      <p:to>
                                        <p:strVal val="visible"/>
                                      </p:to>
                                    </p:set>
                                    <p:animEffect transition="in" filter="wipe(down)">
                                      <p:cBhvr>
                                        <p:cTn id="45" dur="500"/>
                                        <p:tgtEl>
                                          <p:spTgt spid="12"/>
                                        </p:tgtEl>
                                      </p:cBhvr>
                                    </p:animEffect>
                                  </p:childTnLst>
                                </p:cTn>
                              </p:par>
                            </p:childTnLst>
                          </p:cTn>
                        </p:par>
                        <p:par>
                          <p:cTn id="46" fill="hold">
                            <p:stCondLst>
                              <p:cond delay="4299"/>
                            </p:stCondLst>
                            <p:childTnLst>
                              <p:par>
                                <p:cTn id="47" presetID="1" presetClass="mediacall" presetSubtype="0" fill="hold" nodeType="afterEffect">
                                  <p:stCondLst>
                                    <p:cond delay="0"/>
                                  </p:stCondLst>
                                  <p:childTnLst>
                                    <p:cmd type="call" cmd="playFrom(0.0)">
                                      <p:cBhvr>
                                        <p:cTn id="48" dur="1" fill="hold"/>
                                        <p:tgtEl>
                                          <p:spTgt spid="26"/>
                                        </p:tgtEl>
                                      </p:cBhvr>
                                    </p:cmd>
                                  </p:childTnLst>
                                </p:cTn>
                              </p:par>
                            </p:childTnLst>
                          </p:cTn>
                        </p:par>
                        <p:par>
                          <p:cTn id="49" fill="hold">
                            <p:stCondLst>
                              <p:cond delay="4299"/>
                            </p:stCondLst>
                            <p:childTnLst>
                              <p:par>
                                <p:cTn id="50" presetID="22" presetClass="entr" presetSubtype="4" fill="hold" grpId="0" nodeType="afterEffect">
                                  <p:stCondLst>
                                    <p:cond delay="0"/>
                                  </p:stCondLst>
                                  <p:childTnLst>
                                    <p:set>
                                      <p:cBhvr>
                                        <p:cTn id="51" dur="1" fill="hold">
                                          <p:stCondLst>
                                            <p:cond delay="0"/>
                                          </p:stCondLst>
                                        </p:cTn>
                                        <p:tgtEl>
                                          <p:spTgt spid="13"/>
                                        </p:tgtEl>
                                        <p:attrNameLst>
                                          <p:attrName>style.visibility</p:attrName>
                                        </p:attrNameLst>
                                      </p:cBhvr>
                                      <p:to>
                                        <p:strVal val="visible"/>
                                      </p:to>
                                    </p:set>
                                    <p:animEffect transition="in" filter="wipe(down)">
                                      <p:cBhvr>
                                        <p:cTn id="5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53" fill="hold" display="0">
                  <p:stCondLst>
                    <p:cond delay="indefinite"/>
                  </p:stCondLst>
                  <p:endCondLst>
                    <p:cond evt="onStopAudio" delay="0">
                      <p:tgtEl>
                        <p:sldTgt/>
                      </p:tgtEl>
                    </p:cond>
                  </p:endCondLst>
                </p:cTn>
                <p:tgtEl>
                  <p:spTgt spid="26"/>
                </p:tgtEl>
              </p:cMediaNode>
            </p:audio>
          </p:childTnLst>
        </p:cTn>
      </p:par>
    </p:tnLst>
    <p:bldLst>
      <p:bldGraphic spid="10" grpId="0">
        <p:bldAsOne/>
      </p:bldGraphic>
      <p:bldP spid="11" grpId="0"/>
      <p:bldP spid="12" grpId="0"/>
      <p:bldP spid="13" grpId="0"/>
      <p:bldP spid="14" grpId="0"/>
      <p:bldP spid="16" grpId="0"/>
      <p:bldP spid="18" grpId="0" animBg="1"/>
      <p:bldP spid="21"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6" name="TextBox 10"/>
          <p:cNvSpPr txBox="1"/>
          <p:nvPr/>
        </p:nvSpPr>
        <p:spPr>
          <a:xfrm>
            <a:off x="1188194" y="3005020"/>
            <a:ext cx="2569934" cy="523220"/>
          </a:xfrm>
          <a:prstGeom prst="rect">
            <a:avLst/>
          </a:prstGeom>
          <a:noFill/>
        </p:spPr>
        <p:txBody>
          <a:bodyPr wrap="none" rtlCol="0">
            <a:spAutoFit/>
          </a:bodyPr>
          <a:lstStyle/>
          <a:p>
            <a:r>
              <a:rPr lang="zh-CN" altLang="en-US" sz="2800" spc="300" dirty="0">
                <a:solidFill>
                  <a:srgbClr val="0070C0"/>
                </a:solidFill>
                <a:latin typeface="黑体" panose="02010609060101010101" pitchFamily="2" charset="-122"/>
                <a:ea typeface="黑体" panose="02010609060101010101" pitchFamily="2" charset="-122"/>
              </a:rPr>
              <a:t>单击添加标题</a:t>
            </a:r>
          </a:p>
        </p:txBody>
      </p:sp>
      <p:sp>
        <p:nvSpPr>
          <p:cNvPr id="7" name="TextBox 11"/>
          <p:cNvSpPr txBox="1"/>
          <p:nvPr/>
        </p:nvSpPr>
        <p:spPr>
          <a:xfrm>
            <a:off x="1260292" y="3564725"/>
            <a:ext cx="3025187" cy="430887"/>
          </a:xfrm>
          <a:prstGeom prst="rect">
            <a:avLst/>
          </a:prstGeom>
          <a:noFill/>
        </p:spPr>
        <p:txBody>
          <a:bodyPr wrap="none" rtlCol="0">
            <a:spAutoFit/>
          </a:bodyPr>
          <a:lstStyle/>
          <a:p>
            <a:r>
              <a:rPr lang="en-US" altLang="zh-CN" sz="1100" dirty="0">
                <a:solidFill>
                  <a:schemeClr val="bg1"/>
                </a:solidFill>
                <a:latin typeface="汉仪细等线" panose="01010104010101010101" pitchFamily="2" charset="-122"/>
                <a:ea typeface="汉仪细等线" panose="01010104010101010101" pitchFamily="2" charset="-122"/>
              </a:rPr>
              <a:t>Please click enter to Please click enter add</a:t>
            </a:r>
          </a:p>
          <a:p>
            <a:r>
              <a:rPr lang="en-US" altLang="zh-CN" sz="1100" dirty="0">
                <a:solidFill>
                  <a:schemeClr val="bg1"/>
                </a:solidFill>
                <a:latin typeface="汉仪细等线" panose="01010104010101010101" pitchFamily="2" charset="-122"/>
                <a:ea typeface="汉仪细等线" panose="01010104010101010101" pitchFamily="2" charset="-122"/>
              </a:rPr>
              <a:t>text content Please click enter </a:t>
            </a:r>
            <a:endParaRPr lang="zh-CN" altLang="en-US" sz="1100" dirty="0">
              <a:solidFill>
                <a:schemeClr val="bg1"/>
              </a:solidFill>
              <a:latin typeface="汉仪细等线" panose="01010104010101010101" pitchFamily="2" charset="-122"/>
              <a:ea typeface="汉仪细等线" panose="01010104010101010101" pitchFamily="2" charset="-122"/>
            </a:endParaRPr>
          </a:p>
        </p:txBody>
      </p:sp>
      <p:sp>
        <p:nvSpPr>
          <p:cNvPr id="8"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9060101010101" pitchFamily="2" charset="-122"/>
                <a:ea typeface="黑体" panose="02010609060101010101" pitchFamily="2" charset="-122"/>
              </a:rPr>
              <a:t>03.</a:t>
            </a:r>
            <a:endParaRPr lang="zh-CN" altLang="en-US" sz="11500" spc="300" dirty="0">
              <a:solidFill>
                <a:srgbClr val="0070C0"/>
              </a:solidFill>
              <a:latin typeface="黑体" panose="02010609060101010101" pitchFamily="2" charset="-122"/>
              <a:ea typeface="黑体" panose="02010609060101010101" pitchFamily="2" charset="-122"/>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6"/>
                                        </p:tgtEl>
                                      </p:cBhvr>
                                    </p:animEffect>
                                    <p:animScale>
                                      <p:cBhvr>
                                        <p:cTn id="21" dur="250" autoRev="1" fill="hold"/>
                                        <p:tgtEl>
                                          <p:spTgt spid="6"/>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7"/>
                                        </p:tgtEl>
                                        <p:attrNameLst>
                                          <p:attrName>style.visibility</p:attrName>
                                        </p:attrNameLst>
                                      </p:cBhvr>
                                      <p:to>
                                        <p:strVal val="visible"/>
                                      </p:to>
                                    </p:set>
                                    <p:anim calcmode="lin" valueType="num">
                                      <p:cBhvr>
                                        <p:cTn id="25" dur="2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7"/>
                                        </p:tgtEl>
                                        <p:attrNameLst>
                                          <p:attrName>ppt_y</p:attrName>
                                        </p:attrNameLst>
                                      </p:cBhvr>
                                      <p:tavLst>
                                        <p:tav tm="0">
                                          <p:val>
                                            <p:strVal val="#ppt_y"/>
                                          </p:val>
                                        </p:tav>
                                        <p:tav tm="100000">
                                          <p:val>
                                            <p:strVal val="#ppt_y"/>
                                          </p:val>
                                        </p:tav>
                                      </p:tavLst>
                                    </p:anim>
                                    <p:anim calcmode="lin" valueType="num">
                                      <p:cBhvr>
                                        <p:cTn id="27" dur="2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8" grpId="0"/>
      <p:bldP spid="8" grpId="1"/>
      <p:bldP spid="8" grpId="2"/>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0c517274-8d2a-4522-b419-8750610867a7"/>
          <p:cNvGrpSpPr>
            <a:grpSpLocks noChangeAspect="1"/>
          </p:cNvGrpSpPr>
          <p:nvPr/>
        </p:nvGrpSpPr>
        <p:grpSpPr>
          <a:xfrm>
            <a:off x="805793" y="1123946"/>
            <a:ext cx="7406739" cy="3169117"/>
            <a:chOff x="1091444" y="1529274"/>
            <a:chExt cx="10032408" cy="4311995"/>
          </a:xfrm>
        </p:grpSpPr>
        <p:sp>
          <p:nvSpPr>
            <p:cNvPr id="17" name="Freeform: Shape 36"/>
            <p:cNvSpPr/>
            <p:nvPr/>
          </p:nvSpPr>
          <p:spPr>
            <a:xfrm>
              <a:off x="1295466" y="2960948"/>
              <a:ext cx="1920214" cy="2880321"/>
            </a:xfrm>
            <a:custGeom>
              <a:avLst/>
              <a:gdLst>
                <a:gd name="connsiteX0" fmla="*/ 528059 w 1920214"/>
                <a:gd name="connsiteY0" fmla="*/ 0 h 2880321"/>
                <a:gd name="connsiteX1" fmla="*/ 672075 w 1920214"/>
                <a:gd name="connsiteY1" fmla="*/ 0 h 2880321"/>
                <a:gd name="connsiteX2" fmla="*/ 1248139 w 1920214"/>
                <a:gd name="connsiteY2" fmla="*/ 0 h 2880321"/>
                <a:gd name="connsiteX3" fmla="*/ 1392154 w 1920214"/>
                <a:gd name="connsiteY3" fmla="*/ 0 h 2880321"/>
                <a:gd name="connsiteX4" fmla="*/ 1440160 w 1920214"/>
                <a:gd name="connsiteY4" fmla="*/ 48006 h 2880321"/>
                <a:gd name="connsiteX5" fmla="*/ 1440160 w 1920214"/>
                <a:gd name="connsiteY5" fmla="*/ 240026 h 2880321"/>
                <a:gd name="connsiteX6" fmla="*/ 1392154 w 1920214"/>
                <a:gd name="connsiteY6" fmla="*/ 288032 h 2880321"/>
                <a:gd name="connsiteX7" fmla="*/ 1248139 w 1920214"/>
                <a:gd name="connsiteY7" fmla="*/ 288032 h 2880321"/>
                <a:gd name="connsiteX8" fmla="*/ 1248139 w 1920214"/>
                <a:gd name="connsiteY8" fmla="*/ 1102527 h 2880321"/>
                <a:gd name="connsiteX9" fmla="*/ 1333824 w 1920214"/>
                <a:gd name="connsiteY9" fmla="*/ 1127795 h 2880321"/>
                <a:gd name="connsiteX10" fmla="*/ 1920214 w 1920214"/>
                <a:gd name="connsiteY10" fmla="*/ 1968219 h 2880321"/>
                <a:gd name="connsiteX11" fmla="*/ 960107 w 1920214"/>
                <a:gd name="connsiteY11" fmla="*/ 2880321 h 2880321"/>
                <a:gd name="connsiteX12" fmla="*/ 0 w 1920214"/>
                <a:gd name="connsiteY12" fmla="*/ 1968219 h 2880321"/>
                <a:gd name="connsiteX13" fmla="*/ 586390 w 1920214"/>
                <a:gd name="connsiteY13" fmla="*/ 1127795 h 2880321"/>
                <a:gd name="connsiteX14" fmla="*/ 672075 w 1920214"/>
                <a:gd name="connsiteY14" fmla="*/ 1102527 h 2880321"/>
                <a:gd name="connsiteX15" fmla="*/ 672075 w 1920214"/>
                <a:gd name="connsiteY15" fmla="*/ 288032 h 2880321"/>
                <a:gd name="connsiteX16" fmla="*/ 528059 w 1920214"/>
                <a:gd name="connsiteY16" fmla="*/ 288032 h 2880321"/>
                <a:gd name="connsiteX17" fmla="*/ 480053 w 1920214"/>
                <a:gd name="connsiteY17" fmla="*/ 240026 h 2880321"/>
                <a:gd name="connsiteX18" fmla="*/ 480053 w 1920214"/>
                <a:gd name="connsiteY18" fmla="*/ 48006 h 2880321"/>
                <a:gd name="connsiteX19" fmla="*/ 528059 w 1920214"/>
                <a:gd name="connsiteY19" fmla="*/ 0 h 2880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20214" h="2880321">
                  <a:moveTo>
                    <a:pt x="528059" y="0"/>
                  </a:moveTo>
                  <a:lnTo>
                    <a:pt x="672075" y="0"/>
                  </a:lnTo>
                  <a:lnTo>
                    <a:pt x="1248139" y="0"/>
                  </a:lnTo>
                  <a:lnTo>
                    <a:pt x="1392154" y="0"/>
                  </a:lnTo>
                  <a:cubicBezTo>
                    <a:pt x="1418667" y="0"/>
                    <a:pt x="1440160" y="21493"/>
                    <a:pt x="1440160" y="48006"/>
                  </a:cubicBezTo>
                  <a:lnTo>
                    <a:pt x="1440160" y="240026"/>
                  </a:lnTo>
                  <a:cubicBezTo>
                    <a:pt x="1440160" y="266539"/>
                    <a:pt x="1418667" y="288032"/>
                    <a:pt x="1392154" y="288032"/>
                  </a:cubicBezTo>
                  <a:lnTo>
                    <a:pt x="1248139" y="288032"/>
                  </a:lnTo>
                  <a:lnTo>
                    <a:pt x="1248139" y="1102527"/>
                  </a:lnTo>
                  <a:lnTo>
                    <a:pt x="1333824" y="1127795"/>
                  </a:lnTo>
                  <a:cubicBezTo>
                    <a:pt x="1678421" y="1266259"/>
                    <a:pt x="1920214" y="1590414"/>
                    <a:pt x="1920214" y="1968219"/>
                  </a:cubicBezTo>
                  <a:cubicBezTo>
                    <a:pt x="1920214" y="2471959"/>
                    <a:pt x="1490359" y="2880321"/>
                    <a:pt x="960107" y="2880321"/>
                  </a:cubicBezTo>
                  <a:cubicBezTo>
                    <a:pt x="429855" y="2880321"/>
                    <a:pt x="0" y="2471959"/>
                    <a:pt x="0" y="1968219"/>
                  </a:cubicBezTo>
                  <a:cubicBezTo>
                    <a:pt x="0" y="1590414"/>
                    <a:pt x="241793" y="1266259"/>
                    <a:pt x="586390" y="1127795"/>
                  </a:cubicBezTo>
                  <a:lnTo>
                    <a:pt x="672075" y="1102527"/>
                  </a:lnTo>
                  <a:lnTo>
                    <a:pt x="672075" y="288032"/>
                  </a:lnTo>
                  <a:lnTo>
                    <a:pt x="528059" y="288032"/>
                  </a:lnTo>
                  <a:cubicBezTo>
                    <a:pt x="501546" y="288032"/>
                    <a:pt x="480053" y="266539"/>
                    <a:pt x="480053" y="240026"/>
                  </a:cubicBezTo>
                  <a:lnTo>
                    <a:pt x="480053" y="48006"/>
                  </a:lnTo>
                  <a:cubicBezTo>
                    <a:pt x="480053" y="21493"/>
                    <a:pt x="501546" y="0"/>
                    <a:pt x="528059" y="0"/>
                  </a:cubicBez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18" name="Freeform: Shape 34"/>
            <p:cNvSpPr/>
            <p:nvPr/>
          </p:nvSpPr>
          <p:spPr>
            <a:xfrm>
              <a:off x="8976319" y="2960948"/>
              <a:ext cx="1920214" cy="2880321"/>
            </a:xfrm>
            <a:custGeom>
              <a:avLst/>
              <a:gdLst>
                <a:gd name="connsiteX0" fmla="*/ 528059 w 1920214"/>
                <a:gd name="connsiteY0" fmla="*/ 0 h 2880321"/>
                <a:gd name="connsiteX1" fmla="*/ 672075 w 1920214"/>
                <a:gd name="connsiteY1" fmla="*/ 0 h 2880321"/>
                <a:gd name="connsiteX2" fmla="*/ 1248139 w 1920214"/>
                <a:gd name="connsiteY2" fmla="*/ 0 h 2880321"/>
                <a:gd name="connsiteX3" fmla="*/ 1392154 w 1920214"/>
                <a:gd name="connsiteY3" fmla="*/ 0 h 2880321"/>
                <a:gd name="connsiteX4" fmla="*/ 1440160 w 1920214"/>
                <a:gd name="connsiteY4" fmla="*/ 48006 h 2880321"/>
                <a:gd name="connsiteX5" fmla="*/ 1440160 w 1920214"/>
                <a:gd name="connsiteY5" fmla="*/ 240026 h 2880321"/>
                <a:gd name="connsiteX6" fmla="*/ 1392154 w 1920214"/>
                <a:gd name="connsiteY6" fmla="*/ 288032 h 2880321"/>
                <a:gd name="connsiteX7" fmla="*/ 1248139 w 1920214"/>
                <a:gd name="connsiteY7" fmla="*/ 288032 h 2880321"/>
                <a:gd name="connsiteX8" fmla="*/ 1248139 w 1920214"/>
                <a:gd name="connsiteY8" fmla="*/ 1102527 h 2880321"/>
                <a:gd name="connsiteX9" fmla="*/ 1333824 w 1920214"/>
                <a:gd name="connsiteY9" fmla="*/ 1127795 h 2880321"/>
                <a:gd name="connsiteX10" fmla="*/ 1920214 w 1920214"/>
                <a:gd name="connsiteY10" fmla="*/ 1968219 h 2880321"/>
                <a:gd name="connsiteX11" fmla="*/ 960107 w 1920214"/>
                <a:gd name="connsiteY11" fmla="*/ 2880321 h 2880321"/>
                <a:gd name="connsiteX12" fmla="*/ 0 w 1920214"/>
                <a:gd name="connsiteY12" fmla="*/ 1968219 h 2880321"/>
                <a:gd name="connsiteX13" fmla="*/ 586390 w 1920214"/>
                <a:gd name="connsiteY13" fmla="*/ 1127795 h 2880321"/>
                <a:gd name="connsiteX14" fmla="*/ 672075 w 1920214"/>
                <a:gd name="connsiteY14" fmla="*/ 1102527 h 2880321"/>
                <a:gd name="connsiteX15" fmla="*/ 672075 w 1920214"/>
                <a:gd name="connsiteY15" fmla="*/ 288032 h 2880321"/>
                <a:gd name="connsiteX16" fmla="*/ 528059 w 1920214"/>
                <a:gd name="connsiteY16" fmla="*/ 288032 h 2880321"/>
                <a:gd name="connsiteX17" fmla="*/ 480053 w 1920214"/>
                <a:gd name="connsiteY17" fmla="*/ 240026 h 2880321"/>
                <a:gd name="connsiteX18" fmla="*/ 480053 w 1920214"/>
                <a:gd name="connsiteY18" fmla="*/ 48006 h 2880321"/>
                <a:gd name="connsiteX19" fmla="*/ 528059 w 1920214"/>
                <a:gd name="connsiteY19" fmla="*/ 0 h 2880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20214" h="2880321">
                  <a:moveTo>
                    <a:pt x="528059" y="0"/>
                  </a:moveTo>
                  <a:lnTo>
                    <a:pt x="672075" y="0"/>
                  </a:lnTo>
                  <a:lnTo>
                    <a:pt x="1248139" y="0"/>
                  </a:lnTo>
                  <a:lnTo>
                    <a:pt x="1392154" y="0"/>
                  </a:lnTo>
                  <a:cubicBezTo>
                    <a:pt x="1418667" y="0"/>
                    <a:pt x="1440160" y="21493"/>
                    <a:pt x="1440160" y="48006"/>
                  </a:cubicBezTo>
                  <a:lnTo>
                    <a:pt x="1440160" y="240026"/>
                  </a:lnTo>
                  <a:cubicBezTo>
                    <a:pt x="1440160" y="266539"/>
                    <a:pt x="1418667" y="288032"/>
                    <a:pt x="1392154" y="288032"/>
                  </a:cubicBezTo>
                  <a:lnTo>
                    <a:pt x="1248139" y="288032"/>
                  </a:lnTo>
                  <a:lnTo>
                    <a:pt x="1248139" y="1102527"/>
                  </a:lnTo>
                  <a:lnTo>
                    <a:pt x="1333824" y="1127795"/>
                  </a:lnTo>
                  <a:cubicBezTo>
                    <a:pt x="1678421" y="1266259"/>
                    <a:pt x="1920214" y="1590414"/>
                    <a:pt x="1920214" y="1968219"/>
                  </a:cubicBezTo>
                  <a:cubicBezTo>
                    <a:pt x="1920214" y="2471959"/>
                    <a:pt x="1490359" y="2880321"/>
                    <a:pt x="960107" y="2880321"/>
                  </a:cubicBezTo>
                  <a:cubicBezTo>
                    <a:pt x="429855" y="2880321"/>
                    <a:pt x="0" y="2471959"/>
                    <a:pt x="0" y="1968219"/>
                  </a:cubicBezTo>
                  <a:cubicBezTo>
                    <a:pt x="0" y="1590414"/>
                    <a:pt x="241793" y="1266259"/>
                    <a:pt x="586390" y="1127795"/>
                  </a:cubicBezTo>
                  <a:lnTo>
                    <a:pt x="672075" y="1102527"/>
                  </a:lnTo>
                  <a:lnTo>
                    <a:pt x="672075" y="288032"/>
                  </a:lnTo>
                  <a:lnTo>
                    <a:pt x="528059" y="288032"/>
                  </a:lnTo>
                  <a:cubicBezTo>
                    <a:pt x="501546" y="288032"/>
                    <a:pt x="480053" y="266539"/>
                    <a:pt x="480053" y="240026"/>
                  </a:cubicBezTo>
                  <a:lnTo>
                    <a:pt x="480053" y="48006"/>
                  </a:lnTo>
                  <a:cubicBezTo>
                    <a:pt x="480053" y="21493"/>
                    <a:pt x="501546" y="0"/>
                    <a:pt x="528059" y="0"/>
                  </a:cubicBez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19" name="Freeform: Shape 35"/>
            <p:cNvSpPr/>
            <p:nvPr/>
          </p:nvSpPr>
          <p:spPr>
            <a:xfrm>
              <a:off x="5135894" y="2960948"/>
              <a:ext cx="1920214" cy="2880321"/>
            </a:xfrm>
            <a:custGeom>
              <a:avLst/>
              <a:gdLst>
                <a:gd name="connsiteX0" fmla="*/ 528059 w 1920214"/>
                <a:gd name="connsiteY0" fmla="*/ 0 h 2880321"/>
                <a:gd name="connsiteX1" fmla="*/ 672075 w 1920214"/>
                <a:gd name="connsiteY1" fmla="*/ 0 h 2880321"/>
                <a:gd name="connsiteX2" fmla="*/ 1248139 w 1920214"/>
                <a:gd name="connsiteY2" fmla="*/ 0 h 2880321"/>
                <a:gd name="connsiteX3" fmla="*/ 1392154 w 1920214"/>
                <a:gd name="connsiteY3" fmla="*/ 0 h 2880321"/>
                <a:gd name="connsiteX4" fmla="*/ 1440160 w 1920214"/>
                <a:gd name="connsiteY4" fmla="*/ 48006 h 2880321"/>
                <a:gd name="connsiteX5" fmla="*/ 1440160 w 1920214"/>
                <a:gd name="connsiteY5" fmla="*/ 240026 h 2880321"/>
                <a:gd name="connsiteX6" fmla="*/ 1392154 w 1920214"/>
                <a:gd name="connsiteY6" fmla="*/ 288032 h 2880321"/>
                <a:gd name="connsiteX7" fmla="*/ 1248139 w 1920214"/>
                <a:gd name="connsiteY7" fmla="*/ 288032 h 2880321"/>
                <a:gd name="connsiteX8" fmla="*/ 1248139 w 1920214"/>
                <a:gd name="connsiteY8" fmla="*/ 1102527 h 2880321"/>
                <a:gd name="connsiteX9" fmla="*/ 1333824 w 1920214"/>
                <a:gd name="connsiteY9" fmla="*/ 1127795 h 2880321"/>
                <a:gd name="connsiteX10" fmla="*/ 1920214 w 1920214"/>
                <a:gd name="connsiteY10" fmla="*/ 1968219 h 2880321"/>
                <a:gd name="connsiteX11" fmla="*/ 960107 w 1920214"/>
                <a:gd name="connsiteY11" fmla="*/ 2880321 h 2880321"/>
                <a:gd name="connsiteX12" fmla="*/ 0 w 1920214"/>
                <a:gd name="connsiteY12" fmla="*/ 1968219 h 2880321"/>
                <a:gd name="connsiteX13" fmla="*/ 586390 w 1920214"/>
                <a:gd name="connsiteY13" fmla="*/ 1127795 h 2880321"/>
                <a:gd name="connsiteX14" fmla="*/ 672075 w 1920214"/>
                <a:gd name="connsiteY14" fmla="*/ 1102527 h 2880321"/>
                <a:gd name="connsiteX15" fmla="*/ 672075 w 1920214"/>
                <a:gd name="connsiteY15" fmla="*/ 288032 h 2880321"/>
                <a:gd name="connsiteX16" fmla="*/ 528059 w 1920214"/>
                <a:gd name="connsiteY16" fmla="*/ 288032 h 2880321"/>
                <a:gd name="connsiteX17" fmla="*/ 480053 w 1920214"/>
                <a:gd name="connsiteY17" fmla="*/ 240026 h 2880321"/>
                <a:gd name="connsiteX18" fmla="*/ 480053 w 1920214"/>
                <a:gd name="connsiteY18" fmla="*/ 48006 h 2880321"/>
                <a:gd name="connsiteX19" fmla="*/ 528059 w 1920214"/>
                <a:gd name="connsiteY19" fmla="*/ 0 h 2880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20214" h="2880321">
                  <a:moveTo>
                    <a:pt x="528059" y="0"/>
                  </a:moveTo>
                  <a:lnTo>
                    <a:pt x="672075" y="0"/>
                  </a:lnTo>
                  <a:lnTo>
                    <a:pt x="1248139" y="0"/>
                  </a:lnTo>
                  <a:lnTo>
                    <a:pt x="1392154" y="0"/>
                  </a:lnTo>
                  <a:cubicBezTo>
                    <a:pt x="1418667" y="0"/>
                    <a:pt x="1440160" y="21493"/>
                    <a:pt x="1440160" y="48006"/>
                  </a:cubicBezTo>
                  <a:lnTo>
                    <a:pt x="1440160" y="240026"/>
                  </a:lnTo>
                  <a:cubicBezTo>
                    <a:pt x="1440160" y="266539"/>
                    <a:pt x="1418667" y="288032"/>
                    <a:pt x="1392154" y="288032"/>
                  </a:cubicBezTo>
                  <a:lnTo>
                    <a:pt x="1248139" y="288032"/>
                  </a:lnTo>
                  <a:lnTo>
                    <a:pt x="1248139" y="1102527"/>
                  </a:lnTo>
                  <a:lnTo>
                    <a:pt x="1333824" y="1127795"/>
                  </a:lnTo>
                  <a:cubicBezTo>
                    <a:pt x="1678421" y="1266259"/>
                    <a:pt x="1920214" y="1590414"/>
                    <a:pt x="1920214" y="1968219"/>
                  </a:cubicBezTo>
                  <a:cubicBezTo>
                    <a:pt x="1920214" y="2471959"/>
                    <a:pt x="1490359" y="2880321"/>
                    <a:pt x="960107" y="2880321"/>
                  </a:cubicBezTo>
                  <a:cubicBezTo>
                    <a:pt x="429855" y="2880321"/>
                    <a:pt x="0" y="2471959"/>
                    <a:pt x="0" y="1968219"/>
                  </a:cubicBezTo>
                  <a:cubicBezTo>
                    <a:pt x="0" y="1590414"/>
                    <a:pt x="241793" y="1266259"/>
                    <a:pt x="586390" y="1127795"/>
                  </a:cubicBezTo>
                  <a:lnTo>
                    <a:pt x="672075" y="1102527"/>
                  </a:lnTo>
                  <a:lnTo>
                    <a:pt x="672075" y="288032"/>
                  </a:lnTo>
                  <a:lnTo>
                    <a:pt x="528059" y="288032"/>
                  </a:lnTo>
                  <a:cubicBezTo>
                    <a:pt x="501546" y="288032"/>
                    <a:pt x="480053" y="266539"/>
                    <a:pt x="480053" y="240026"/>
                  </a:cubicBezTo>
                  <a:lnTo>
                    <a:pt x="480053" y="48006"/>
                  </a:lnTo>
                  <a:cubicBezTo>
                    <a:pt x="480053" y="21493"/>
                    <a:pt x="501546" y="0"/>
                    <a:pt x="528059" y="0"/>
                  </a:cubicBez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0" name="Freeform: Shape 14"/>
            <p:cNvSpPr/>
            <p:nvPr/>
          </p:nvSpPr>
          <p:spPr>
            <a:xfrm rot="17384753">
              <a:off x="1506505" y="4196110"/>
              <a:ext cx="1429440" cy="1717508"/>
            </a:xfrm>
            <a:custGeom>
              <a:avLst/>
              <a:gdLst>
                <a:gd name="connsiteX0" fmla="*/ 1072041 w 1230349"/>
                <a:gd name="connsiteY0" fmla="*/ 1139095 h 1364458"/>
                <a:gd name="connsiteX1" fmla="*/ 283459 w 1230349"/>
                <a:gd name="connsiteY1" fmla="*/ 1256777 h 1364458"/>
                <a:gd name="connsiteX2" fmla="*/ 17206 w 1230349"/>
                <a:gd name="connsiteY2" fmla="*/ 522003 h 1364458"/>
                <a:gd name="connsiteX3" fmla="*/ 615175 w 1230349"/>
                <a:gd name="connsiteY3" fmla="*/ -1 h 1364458"/>
                <a:gd name="connsiteX4" fmla="*/ 1072041 w 1230349"/>
                <a:gd name="connsiteY4" fmla="*/ 1139095 h 1364458"/>
                <a:gd name="connsiteX0-1" fmla="*/ 1072080 w 1072080"/>
                <a:gd name="connsiteY0-2" fmla="*/ 1139096 h 1364480"/>
                <a:gd name="connsiteX1-3" fmla="*/ 283498 w 1072080"/>
                <a:gd name="connsiteY1-4" fmla="*/ 1256778 h 1364480"/>
                <a:gd name="connsiteX2-5" fmla="*/ 17245 w 1072080"/>
                <a:gd name="connsiteY2-6" fmla="*/ 522004 h 1364480"/>
                <a:gd name="connsiteX3-7" fmla="*/ 615214 w 1072080"/>
                <a:gd name="connsiteY3-8" fmla="*/ 0 h 1364480"/>
                <a:gd name="connsiteX4-9" fmla="*/ 1072080 w 1072080"/>
                <a:gd name="connsiteY4-10" fmla="*/ 1139096 h 1364480"/>
                <a:gd name="connsiteX0-11" fmla="*/ 1072080 w 1072080"/>
                <a:gd name="connsiteY0-12" fmla="*/ 1139096 h 1364480"/>
                <a:gd name="connsiteX1-13" fmla="*/ 283498 w 1072080"/>
                <a:gd name="connsiteY1-14" fmla="*/ 1256778 h 1364480"/>
                <a:gd name="connsiteX2-15" fmla="*/ 17245 w 1072080"/>
                <a:gd name="connsiteY2-16" fmla="*/ 522004 h 1364480"/>
                <a:gd name="connsiteX3-17" fmla="*/ 615214 w 1072080"/>
                <a:gd name="connsiteY3-18" fmla="*/ 0 h 1364480"/>
                <a:gd name="connsiteX4-19" fmla="*/ 1072080 w 1072080"/>
                <a:gd name="connsiteY4-20" fmla="*/ 1139096 h 1364480"/>
                <a:gd name="connsiteX0-21" fmla="*/ 1072080 w 1072080"/>
                <a:gd name="connsiteY0-22" fmla="*/ 1139096 h 1364480"/>
                <a:gd name="connsiteX1-23" fmla="*/ 283498 w 1072080"/>
                <a:gd name="connsiteY1-24" fmla="*/ 1256778 h 1364480"/>
                <a:gd name="connsiteX2-25" fmla="*/ 17245 w 1072080"/>
                <a:gd name="connsiteY2-26" fmla="*/ 522004 h 1364480"/>
                <a:gd name="connsiteX3-27" fmla="*/ 615214 w 1072080"/>
                <a:gd name="connsiteY3-28" fmla="*/ 0 h 1364480"/>
                <a:gd name="connsiteX4-29" fmla="*/ 1072080 w 1072080"/>
                <a:gd name="connsiteY4-30" fmla="*/ 1139096 h 1364480"/>
                <a:gd name="connsiteX0-31" fmla="*/ 1072080 w 1072080"/>
                <a:gd name="connsiteY0-32" fmla="*/ 1139096 h 1364480"/>
                <a:gd name="connsiteX1-33" fmla="*/ 283498 w 1072080"/>
                <a:gd name="connsiteY1-34" fmla="*/ 1256778 h 1364480"/>
                <a:gd name="connsiteX2-35" fmla="*/ 17245 w 1072080"/>
                <a:gd name="connsiteY2-36" fmla="*/ 522004 h 1364480"/>
                <a:gd name="connsiteX3-37" fmla="*/ 615214 w 1072080"/>
                <a:gd name="connsiteY3-38" fmla="*/ 0 h 1364480"/>
                <a:gd name="connsiteX4-39" fmla="*/ 1072080 w 1072080"/>
                <a:gd name="connsiteY4-40" fmla="*/ 1139096 h 1364480"/>
                <a:gd name="connsiteX0-41" fmla="*/ 1072080 w 1072080"/>
                <a:gd name="connsiteY0-42" fmla="*/ 1097514 h 1322898"/>
                <a:gd name="connsiteX1-43" fmla="*/ 283498 w 1072080"/>
                <a:gd name="connsiteY1-44" fmla="*/ 1215196 h 1322898"/>
                <a:gd name="connsiteX2-45" fmla="*/ 17245 w 1072080"/>
                <a:gd name="connsiteY2-46" fmla="*/ 480422 h 1322898"/>
                <a:gd name="connsiteX3-47" fmla="*/ 512972 w 1072080"/>
                <a:gd name="connsiteY3-48" fmla="*/ 0 h 1322898"/>
                <a:gd name="connsiteX4-49" fmla="*/ 1072080 w 1072080"/>
                <a:gd name="connsiteY4-50" fmla="*/ 1097514 h 1322898"/>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072080" h="1322898">
                  <a:moveTo>
                    <a:pt x="1072080" y="1097514"/>
                  </a:moveTo>
                  <a:cubicBezTo>
                    <a:pt x="870556" y="1345364"/>
                    <a:pt x="536931" y="1395152"/>
                    <a:pt x="283498" y="1215196"/>
                  </a:cubicBezTo>
                  <a:cubicBezTo>
                    <a:pt x="62539" y="1058299"/>
                    <a:pt x="-44374" y="763253"/>
                    <a:pt x="17245" y="480422"/>
                  </a:cubicBezTo>
                  <a:cubicBezTo>
                    <a:pt x="83967" y="174169"/>
                    <a:pt x="228873" y="0"/>
                    <a:pt x="512972" y="0"/>
                  </a:cubicBezTo>
                  <a:cubicBezTo>
                    <a:pt x="666152" y="164569"/>
                    <a:pt x="708983" y="905772"/>
                    <a:pt x="1072080" y="1097514"/>
                  </a:cubicBezTo>
                  <a:close/>
                </a:path>
              </a:pathLst>
            </a:custGeom>
            <a:solidFill>
              <a:srgbClr val="01507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1" name="Freeform: Shape 15"/>
            <p:cNvSpPr/>
            <p:nvPr/>
          </p:nvSpPr>
          <p:spPr>
            <a:xfrm rot="17481949">
              <a:off x="9444284" y="4632014"/>
              <a:ext cx="900901" cy="1439273"/>
            </a:xfrm>
            <a:custGeom>
              <a:avLst/>
              <a:gdLst>
                <a:gd name="connsiteX0" fmla="*/ 675667 w 1191804"/>
                <a:gd name="connsiteY0" fmla="*/ 1295968 h 1301826"/>
                <a:gd name="connsiteX1" fmla="*/ 54536 w 1191804"/>
                <a:gd name="connsiteY1" fmla="*/ 922944 h 1301826"/>
                <a:gd name="connsiteX2" fmla="*/ 147348 w 1191804"/>
                <a:gd name="connsiteY2" fmla="*/ 222399 h 1301826"/>
                <a:gd name="connsiteX3" fmla="*/ 675667 w 1191804"/>
                <a:gd name="connsiteY3" fmla="*/ 1295968 h 1301826"/>
                <a:gd name="connsiteX0-1" fmla="*/ 675676 w 675676"/>
                <a:gd name="connsiteY0-2" fmla="*/ 1073569 h 1079455"/>
                <a:gd name="connsiteX1-3" fmla="*/ 54545 w 675676"/>
                <a:gd name="connsiteY1-4" fmla="*/ 700545 h 1079455"/>
                <a:gd name="connsiteX2-5" fmla="*/ 147357 w 675676"/>
                <a:gd name="connsiteY2-6" fmla="*/ 0 h 1079455"/>
                <a:gd name="connsiteX3-7" fmla="*/ 675676 w 675676"/>
                <a:gd name="connsiteY3-8" fmla="*/ 1073569 h 1079455"/>
                <a:gd name="connsiteX0-9" fmla="*/ 675676 w 675676"/>
                <a:gd name="connsiteY0-10" fmla="*/ 1073569 h 1079455"/>
                <a:gd name="connsiteX1-11" fmla="*/ 54545 w 675676"/>
                <a:gd name="connsiteY1-12" fmla="*/ 700545 h 1079455"/>
                <a:gd name="connsiteX2-13" fmla="*/ 147357 w 675676"/>
                <a:gd name="connsiteY2-14" fmla="*/ 0 h 1079455"/>
                <a:gd name="connsiteX3-15" fmla="*/ 675676 w 675676"/>
                <a:gd name="connsiteY3-16" fmla="*/ 1073569 h 1079455"/>
              </a:gdLst>
              <a:ahLst/>
              <a:cxnLst>
                <a:cxn ang="0">
                  <a:pos x="connsiteX0-1" y="connsiteY0-2"/>
                </a:cxn>
                <a:cxn ang="0">
                  <a:pos x="connsiteX1-3" y="connsiteY1-4"/>
                </a:cxn>
                <a:cxn ang="0">
                  <a:pos x="connsiteX2-5" y="connsiteY2-6"/>
                </a:cxn>
                <a:cxn ang="0">
                  <a:pos x="connsiteX3-7" y="connsiteY3-8"/>
                </a:cxn>
              </a:cxnLst>
              <a:rect l="l" t="t" r="r" b="b"/>
              <a:pathLst>
                <a:path w="675676" h="1079455">
                  <a:moveTo>
                    <a:pt x="675676" y="1073569"/>
                  </a:moveTo>
                  <a:cubicBezTo>
                    <a:pt x="416077" y="1111870"/>
                    <a:pt x="164022" y="960497"/>
                    <a:pt x="54545" y="700545"/>
                  </a:cubicBezTo>
                  <a:cubicBezTo>
                    <a:pt x="-43619" y="467458"/>
                    <a:pt x="-7274" y="193127"/>
                    <a:pt x="147357" y="0"/>
                  </a:cubicBezTo>
                  <a:cubicBezTo>
                    <a:pt x="296367" y="435512"/>
                    <a:pt x="505724" y="560036"/>
                    <a:pt x="675676" y="1073569"/>
                  </a:cubicBezTo>
                  <a:close/>
                </a:path>
              </a:pathLst>
            </a:cu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2" name="Freeform: Shape 16"/>
            <p:cNvSpPr/>
            <p:nvPr/>
          </p:nvSpPr>
          <p:spPr>
            <a:xfrm rot="17360487">
              <a:off x="5494826" y="4399634"/>
              <a:ext cx="1049705" cy="1725607"/>
            </a:xfrm>
            <a:custGeom>
              <a:avLst/>
              <a:gdLst>
                <a:gd name="connsiteX0" fmla="*/ 784880 w 1308604"/>
                <a:gd name="connsiteY0" fmla="*/ 1275518 h 1288478"/>
                <a:gd name="connsiteX1" fmla="*/ 27967 w 1308604"/>
                <a:gd name="connsiteY1" fmla="*/ 830578 h 1288478"/>
                <a:gd name="connsiteX2" fmla="*/ 418231 w 1308604"/>
                <a:gd name="connsiteY2" fmla="*/ 43393 h 1288478"/>
                <a:gd name="connsiteX3" fmla="*/ 784880 w 1308604"/>
                <a:gd name="connsiteY3" fmla="*/ 1275518 h 1288478"/>
                <a:gd name="connsiteX0-1" fmla="*/ 787279 w 787279"/>
                <a:gd name="connsiteY0-2" fmla="*/ 1281152 h 1294205"/>
                <a:gd name="connsiteX1-3" fmla="*/ 30366 w 787279"/>
                <a:gd name="connsiteY1-4" fmla="*/ 836212 h 1294205"/>
                <a:gd name="connsiteX2-5" fmla="*/ 398693 w 787279"/>
                <a:gd name="connsiteY2-6" fmla="*/ 0 h 1294205"/>
                <a:gd name="connsiteX3-7" fmla="*/ 787279 w 787279"/>
                <a:gd name="connsiteY3-8" fmla="*/ 1281152 h 1294205"/>
                <a:gd name="connsiteX0-9" fmla="*/ 787279 w 787279"/>
                <a:gd name="connsiteY0-10" fmla="*/ 1281152 h 1294205"/>
                <a:gd name="connsiteX1-11" fmla="*/ 30366 w 787279"/>
                <a:gd name="connsiteY1-12" fmla="*/ 836212 h 1294205"/>
                <a:gd name="connsiteX2-13" fmla="*/ 398693 w 787279"/>
                <a:gd name="connsiteY2-14" fmla="*/ 0 h 1294205"/>
                <a:gd name="connsiteX3-15" fmla="*/ 787279 w 787279"/>
                <a:gd name="connsiteY3-16" fmla="*/ 1281152 h 1294205"/>
                <a:gd name="connsiteX0-17" fmla="*/ 787279 w 787279"/>
                <a:gd name="connsiteY0-18" fmla="*/ 1281152 h 1294205"/>
                <a:gd name="connsiteX1-19" fmla="*/ 30366 w 787279"/>
                <a:gd name="connsiteY1-20" fmla="*/ 836212 h 1294205"/>
                <a:gd name="connsiteX2-21" fmla="*/ 398693 w 787279"/>
                <a:gd name="connsiteY2-22" fmla="*/ 0 h 1294205"/>
                <a:gd name="connsiteX3-23" fmla="*/ 787279 w 787279"/>
                <a:gd name="connsiteY3-24" fmla="*/ 1281152 h 1294205"/>
              </a:gdLst>
              <a:ahLst/>
              <a:cxnLst>
                <a:cxn ang="0">
                  <a:pos x="connsiteX0-1" y="connsiteY0-2"/>
                </a:cxn>
                <a:cxn ang="0">
                  <a:pos x="connsiteX1-3" y="connsiteY1-4"/>
                </a:cxn>
                <a:cxn ang="0">
                  <a:pos x="connsiteX2-5" y="connsiteY2-6"/>
                </a:cxn>
                <a:cxn ang="0">
                  <a:pos x="connsiteX3-7" y="connsiteY3-8"/>
                </a:cxn>
              </a:cxnLst>
              <a:rect l="l" t="t" r="r" b="b"/>
              <a:pathLst>
                <a:path w="787279" h="1294205">
                  <a:moveTo>
                    <a:pt x="787279" y="1281152"/>
                  </a:moveTo>
                  <a:cubicBezTo>
                    <a:pt x="456136" y="1347557"/>
                    <a:pt x="128113" y="1154734"/>
                    <a:pt x="30366" y="836212"/>
                  </a:cubicBezTo>
                  <a:cubicBezTo>
                    <a:pt x="-68603" y="513706"/>
                    <a:pt x="79571" y="121555"/>
                    <a:pt x="398693" y="0"/>
                  </a:cubicBezTo>
                  <a:cubicBezTo>
                    <a:pt x="590757" y="367281"/>
                    <a:pt x="584119" y="747583"/>
                    <a:pt x="787279" y="1281152"/>
                  </a:cubicBezTo>
                  <a:close/>
                </a:path>
              </a:pathLst>
            </a:cu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3" name="Teardrop 17"/>
            <p:cNvSpPr/>
            <p:nvPr/>
          </p:nvSpPr>
          <p:spPr>
            <a:xfrm rot="18900000">
              <a:off x="2123205" y="2636559"/>
              <a:ext cx="288032" cy="288032"/>
            </a:xfrm>
            <a:prstGeom prst="teardrop">
              <a:avLst/>
            </a:prstGeom>
            <a:solidFill>
              <a:srgbClr val="01507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4" name="Teardrop 18"/>
            <p:cNvSpPr/>
            <p:nvPr/>
          </p:nvSpPr>
          <p:spPr>
            <a:xfrm rot="18900000">
              <a:off x="5963632" y="2636559"/>
              <a:ext cx="288032" cy="288032"/>
            </a:xfrm>
            <a:prstGeom prst="teardrop">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sp>
          <p:nvSpPr>
            <p:cNvPr id="25" name="Teardrop 19"/>
            <p:cNvSpPr/>
            <p:nvPr/>
          </p:nvSpPr>
          <p:spPr>
            <a:xfrm rot="18900000">
              <a:off x="9804059" y="2636559"/>
              <a:ext cx="288032" cy="288032"/>
            </a:xfrm>
            <a:prstGeom prst="teardrop">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p>
          </p:txBody>
        </p:sp>
        <p:grpSp>
          <p:nvGrpSpPr>
            <p:cNvPr id="26" name="Group 25"/>
            <p:cNvGrpSpPr/>
            <p:nvPr/>
          </p:nvGrpSpPr>
          <p:grpSpPr>
            <a:xfrm>
              <a:off x="1091444" y="1529274"/>
              <a:ext cx="2347508" cy="1107285"/>
              <a:chOff x="5157230" y="1101621"/>
              <a:chExt cx="2699991" cy="1107285"/>
            </a:xfrm>
          </p:grpSpPr>
          <p:sp>
            <p:nvSpPr>
              <p:cNvPr id="33" name="TextBox 26"/>
              <p:cNvSpPr txBox="1"/>
              <p:nvPr/>
            </p:nvSpPr>
            <p:spPr>
              <a:xfrm>
                <a:off x="5157230" y="1101621"/>
                <a:ext cx="2699991" cy="398468"/>
              </a:xfrm>
              <a:prstGeom prst="rect">
                <a:avLst/>
              </a:prstGeom>
              <a:noFill/>
            </p:spPr>
            <p:txBody>
              <a:bodyPr wrap="none" lIns="216000" tIns="0" rIns="216000" bIns="0" anchor="ctr" anchorCtr="1">
                <a:normAutofit/>
              </a:bodyPr>
              <a:lstStyle/>
              <a:p>
                <a:pPr algn="ctr"/>
                <a:r>
                  <a:rPr lang="zh-CN" altLang="en-US" sz="1000" b="1" dirty="0">
                    <a:solidFill>
                      <a:srgbClr val="00A4E3"/>
                    </a:solidFill>
                  </a:rPr>
                  <a:t>标题文本预设</a:t>
                </a:r>
              </a:p>
            </p:txBody>
          </p:sp>
          <p:sp>
            <p:nvSpPr>
              <p:cNvPr id="34" name="TextBox 27"/>
              <p:cNvSpPr txBox="1"/>
              <p:nvPr/>
            </p:nvSpPr>
            <p:spPr>
              <a:xfrm>
                <a:off x="5157231" y="1500087"/>
                <a:ext cx="2699990" cy="708819"/>
              </a:xfrm>
              <a:prstGeom prst="rect">
                <a:avLst/>
              </a:prstGeom>
            </p:spPr>
            <p:txBody>
              <a:bodyPr vert="horz" wrap="square" lIns="216000" tIns="0" rIns="216000" bIns="0" anchor="t" anchorCtr="1">
                <a:normAutofit/>
              </a:bodyPr>
              <a:lstStyle/>
              <a:p>
                <a:pPr>
                  <a:lnSpc>
                    <a:spcPct val="120000"/>
                  </a:lnSpc>
                </a:pPr>
                <a:r>
                  <a:rPr lang="zh-CN" altLang="en-US" sz="700" dirty="0">
                    <a:solidFill>
                      <a:schemeClr val="bg1">
                        <a:lumMod val="85000"/>
                      </a:schemeClr>
                    </a:solidFill>
                  </a:rPr>
                  <a:t>此部分内容作为文字排版占位显示 </a:t>
                </a:r>
                <a:br>
                  <a:rPr lang="zh-CN" altLang="en-US" sz="700" dirty="0">
                    <a:solidFill>
                      <a:schemeClr val="bg1">
                        <a:lumMod val="85000"/>
                      </a:schemeClr>
                    </a:solidFill>
                  </a:rPr>
                </a:br>
                <a:r>
                  <a:rPr lang="zh-CN" altLang="en-US" sz="700" dirty="0">
                    <a:solidFill>
                      <a:schemeClr val="bg1">
                        <a:lumMod val="85000"/>
                      </a:schemeClr>
                    </a:solidFill>
                  </a:rPr>
                  <a:t>（建议使用主题字体）</a:t>
                </a:r>
              </a:p>
            </p:txBody>
          </p:sp>
        </p:grpSp>
        <p:grpSp>
          <p:nvGrpSpPr>
            <p:cNvPr id="27" name="Group 28"/>
            <p:cNvGrpSpPr/>
            <p:nvPr/>
          </p:nvGrpSpPr>
          <p:grpSpPr>
            <a:xfrm>
              <a:off x="4933894" y="1529274"/>
              <a:ext cx="2347508" cy="1107285"/>
              <a:chOff x="5157230" y="1101621"/>
              <a:chExt cx="2699991" cy="1107285"/>
            </a:xfrm>
          </p:grpSpPr>
          <p:sp>
            <p:nvSpPr>
              <p:cNvPr id="31" name="TextBox 29"/>
              <p:cNvSpPr txBox="1"/>
              <p:nvPr/>
            </p:nvSpPr>
            <p:spPr>
              <a:xfrm>
                <a:off x="5157230" y="1101621"/>
                <a:ext cx="2699991" cy="398468"/>
              </a:xfrm>
              <a:prstGeom prst="rect">
                <a:avLst/>
              </a:prstGeom>
              <a:noFill/>
            </p:spPr>
            <p:txBody>
              <a:bodyPr wrap="none" lIns="216000" tIns="0" rIns="216000" bIns="0" anchor="ctr" anchorCtr="1">
                <a:normAutofit/>
              </a:bodyPr>
              <a:lstStyle/>
              <a:p>
                <a:pPr algn="ctr"/>
                <a:r>
                  <a:rPr lang="zh-CN" altLang="en-US" sz="1000" b="1">
                    <a:solidFill>
                      <a:srgbClr val="00A4E3"/>
                    </a:solidFill>
                  </a:rPr>
                  <a:t>标题文本预设</a:t>
                </a:r>
              </a:p>
            </p:txBody>
          </p:sp>
          <p:sp>
            <p:nvSpPr>
              <p:cNvPr id="32" name="TextBox 30"/>
              <p:cNvSpPr txBox="1"/>
              <p:nvPr/>
            </p:nvSpPr>
            <p:spPr>
              <a:xfrm>
                <a:off x="5157231" y="1500087"/>
                <a:ext cx="2699990" cy="708819"/>
              </a:xfrm>
              <a:prstGeom prst="rect">
                <a:avLst/>
              </a:prstGeom>
            </p:spPr>
            <p:txBody>
              <a:bodyPr vert="horz" wrap="square" lIns="216000" tIns="0" rIns="216000" bIns="0" anchor="t" anchorCtr="1">
                <a:normAutofit/>
              </a:bodyPr>
              <a:lstStyle/>
              <a:p>
                <a:pPr>
                  <a:lnSpc>
                    <a:spcPct val="120000"/>
                  </a:lnSpc>
                </a:pPr>
                <a:r>
                  <a:rPr lang="zh-CN" altLang="en-US" sz="700">
                    <a:solidFill>
                      <a:schemeClr val="bg1">
                        <a:lumMod val="85000"/>
                      </a:schemeClr>
                    </a:solidFill>
                  </a:rPr>
                  <a:t>此部分内容作为文字排版占位显示 </a:t>
                </a:r>
                <a:br>
                  <a:rPr lang="zh-CN" altLang="en-US" sz="700">
                    <a:solidFill>
                      <a:schemeClr val="bg1">
                        <a:lumMod val="85000"/>
                      </a:schemeClr>
                    </a:solidFill>
                  </a:rPr>
                </a:br>
                <a:r>
                  <a:rPr lang="zh-CN" altLang="en-US" sz="700">
                    <a:solidFill>
                      <a:schemeClr val="bg1">
                        <a:lumMod val="85000"/>
                      </a:schemeClr>
                    </a:solidFill>
                  </a:rPr>
                  <a:t>（建议使用主题字体）</a:t>
                </a:r>
              </a:p>
            </p:txBody>
          </p:sp>
        </p:grpSp>
        <p:grpSp>
          <p:nvGrpSpPr>
            <p:cNvPr id="28" name="Group 31"/>
            <p:cNvGrpSpPr/>
            <p:nvPr/>
          </p:nvGrpSpPr>
          <p:grpSpPr>
            <a:xfrm>
              <a:off x="8776344" y="1529274"/>
              <a:ext cx="2347508" cy="1107285"/>
              <a:chOff x="5157230" y="1101621"/>
              <a:chExt cx="2699991" cy="1107285"/>
            </a:xfrm>
          </p:grpSpPr>
          <p:sp>
            <p:nvSpPr>
              <p:cNvPr id="29" name="TextBox 32"/>
              <p:cNvSpPr txBox="1"/>
              <p:nvPr/>
            </p:nvSpPr>
            <p:spPr>
              <a:xfrm>
                <a:off x="5157230" y="1101621"/>
                <a:ext cx="2699991" cy="398468"/>
              </a:xfrm>
              <a:prstGeom prst="rect">
                <a:avLst/>
              </a:prstGeom>
              <a:noFill/>
            </p:spPr>
            <p:txBody>
              <a:bodyPr wrap="none" lIns="216000" tIns="0" rIns="216000" bIns="0" anchor="ctr" anchorCtr="1">
                <a:normAutofit/>
              </a:bodyPr>
              <a:lstStyle/>
              <a:p>
                <a:pPr algn="ctr"/>
                <a:r>
                  <a:rPr lang="zh-CN" altLang="en-US" sz="1000" b="1">
                    <a:solidFill>
                      <a:srgbClr val="00A4E3"/>
                    </a:solidFill>
                  </a:rPr>
                  <a:t>标题文本预设</a:t>
                </a:r>
              </a:p>
            </p:txBody>
          </p:sp>
          <p:sp>
            <p:nvSpPr>
              <p:cNvPr id="30" name="TextBox 33"/>
              <p:cNvSpPr txBox="1"/>
              <p:nvPr/>
            </p:nvSpPr>
            <p:spPr>
              <a:xfrm>
                <a:off x="5157231" y="1500087"/>
                <a:ext cx="2699990" cy="708819"/>
              </a:xfrm>
              <a:prstGeom prst="rect">
                <a:avLst/>
              </a:prstGeom>
            </p:spPr>
            <p:txBody>
              <a:bodyPr vert="horz" wrap="square" lIns="216000" tIns="0" rIns="216000" bIns="0" anchor="t" anchorCtr="1">
                <a:normAutofit/>
              </a:bodyPr>
              <a:lstStyle/>
              <a:p>
                <a:pPr>
                  <a:lnSpc>
                    <a:spcPct val="120000"/>
                  </a:lnSpc>
                </a:pPr>
                <a:r>
                  <a:rPr lang="zh-CN" altLang="en-US" sz="700">
                    <a:solidFill>
                      <a:schemeClr val="bg1">
                        <a:lumMod val="85000"/>
                      </a:schemeClr>
                    </a:solidFill>
                  </a:rPr>
                  <a:t>此部分内容作为文字排版占位显示 </a:t>
                </a:r>
                <a:br>
                  <a:rPr lang="zh-CN" altLang="en-US" sz="700">
                    <a:solidFill>
                      <a:schemeClr val="bg1">
                        <a:lumMod val="85000"/>
                      </a:schemeClr>
                    </a:solidFill>
                  </a:rPr>
                </a:br>
                <a:r>
                  <a:rPr lang="zh-CN" altLang="en-US" sz="700">
                    <a:solidFill>
                      <a:schemeClr val="bg1">
                        <a:lumMod val="85000"/>
                      </a:schemeClr>
                    </a:solidFill>
                  </a:rPr>
                  <a:t>（建议使用主题字体）</a:t>
                </a:r>
              </a:p>
            </p:txBody>
          </p:sp>
        </p:grpSp>
      </p:grpSp>
      <p:sp>
        <p:nvSpPr>
          <p:cNvPr id="35" name="平行四边形 34"/>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平行四边形 35"/>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平行四边形 36"/>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平行四边形 37"/>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9" name="直接连接符 38"/>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0"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41" name="Group 7"/>
          <p:cNvGrpSpPr/>
          <p:nvPr/>
        </p:nvGrpSpPr>
        <p:grpSpPr bwMode="auto">
          <a:xfrm>
            <a:off x="180202" y="181952"/>
            <a:ext cx="216018" cy="113981"/>
            <a:chOff x="0" y="0"/>
            <a:chExt cx="1041399" cy="549275"/>
          </a:xfrm>
          <a:solidFill>
            <a:srgbClr val="133E73"/>
          </a:solidFill>
        </p:grpSpPr>
        <p:sp>
          <p:nvSpPr>
            <p:cNvPr id="42"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3"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4"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45"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1"/>
                                        </p:tgtEl>
                                        <p:attrNameLst>
                                          <p:attrName>style.visibility</p:attrName>
                                        </p:attrNameLst>
                                      </p:cBhvr>
                                      <p:to>
                                        <p:strVal val="visible"/>
                                      </p:to>
                                    </p:set>
                                    <p:anim calcmode="lin" valueType="num">
                                      <p:cBhvr additive="base">
                                        <p:cTn id="7" dur="500" fill="hold"/>
                                        <p:tgtEl>
                                          <p:spTgt spid="41"/>
                                        </p:tgtEl>
                                        <p:attrNameLst>
                                          <p:attrName>ppt_x</p:attrName>
                                        </p:attrNameLst>
                                      </p:cBhvr>
                                      <p:tavLst>
                                        <p:tav tm="0">
                                          <p:val>
                                            <p:strVal val="0-#ppt_w/2"/>
                                          </p:val>
                                        </p:tav>
                                        <p:tav tm="100000">
                                          <p:val>
                                            <p:strVal val="#ppt_x"/>
                                          </p:val>
                                        </p:tav>
                                      </p:tavLst>
                                    </p:anim>
                                    <p:anim calcmode="lin" valueType="num">
                                      <p:cBhvr additive="base">
                                        <p:cTn id="8" dur="500" fill="hold"/>
                                        <p:tgtEl>
                                          <p:spTgt spid="41"/>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40"/>
                                        </p:tgtEl>
                                        <p:attrNameLst>
                                          <p:attrName>style.visibility</p:attrName>
                                        </p:attrNameLst>
                                      </p:cBhvr>
                                      <p:to>
                                        <p:strVal val="visible"/>
                                      </p:to>
                                    </p:set>
                                    <p:anim calcmode="lin" valueType="num">
                                      <p:cBhvr>
                                        <p:cTn id="12" dur="500" fill="hold"/>
                                        <p:tgtEl>
                                          <p:spTgt spid="40"/>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40"/>
                                        </p:tgtEl>
                                        <p:attrNameLst>
                                          <p:attrName>ppt_y</p:attrName>
                                        </p:attrNameLst>
                                      </p:cBhvr>
                                      <p:tavLst>
                                        <p:tav tm="0">
                                          <p:val>
                                            <p:strVal val="#ppt_y"/>
                                          </p:val>
                                        </p:tav>
                                        <p:tav tm="100000">
                                          <p:val>
                                            <p:strVal val="#ppt_y"/>
                                          </p:val>
                                        </p:tav>
                                      </p:tavLst>
                                    </p:anim>
                                    <p:anim calcmode="lin" valueType="num">
                                      <p:cBhvr>
                                        <p:cTn id="14" dur="500" fill="hold"/>
                                        <p:tgtEl>
                                          <p:spTgt spid="40"/>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40"/>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40"/>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37"/>
                                        </p:tgtEl>
                                        <p:attrNameLst>
                                          <p:attrName>fillcolor</p:attrName>
                                        </p:attrNameLst>
                                      </p:cBhvr>
                                      <p:to>
                                        <a:srgbClr val="00AEEF"/>
                                      </p:to>
                                    </p:animClr>
                                    <p:set>
                                      <p:cBhvr>
                                        <p:cTn id="20" dur="300" fill="hold"/>
                                        <p:tgtEl>
                                          <p:spTgt spid="37"/>
                                        </p:tgtEl>
                                        <p:attrNameLst>
                                          <p:attrName>fill.type</p:attrName>
                                        </p:attrNameLst>
                                      </p:cBhvr>
                                      <p:to>
                                        <p:strVal val="solid"/>
                                      </p:to>
                                    </p:set>
                                    <p:set>
                                      <p:cBhvr>
                                        <p:cTn id="21" dur="300" fill="hold"/>
                                        <p:tgtEl>
                                          <p:spTgt spid="37"/>
                                        </p:tgtEl>
                                        <p:attrNameLst>
                                          <p:attrName>fill.on</p:attrName>
                                        </p:attrNameLst>
                                      </p:cBhvr>
                                      <p:to>
                                        <p:strVal val="true"/>
                                      </p:to>
                                    </p:set>
                                  </p:childTnLst>
                                </p:cTn>
                              </p:par>
                            </p:childTnLst>
                          </p:cTn>
                        </p:par>
                        <p:par>
                          <p:cTn id="22" fill="hold">
                            <p:stCondLst>
                              <p:cond delay="1799"/>
                            </p:stCondLst>
                            <p:childTnLst>
                              <p:par>
                                <p:cTn id="23" presetID="1" presetClass="mediacall" presetSubtype="0" fill="hold" nodeType="afterEffect">
                                  <p:stCondLst>
                                    <p:cond delay="0"/>
                                  </p:stCondLst>
                                  <p:childTnLst>
                                    <p:cmd type="call" cmd="playFrom(0.0)">
                                      <p:cBhvr>
                                        <p:cTn id="24" dur="1" fill="hold"/>
                                        <p:tgtEl>
                                          <p:spTgt spid="45"/>
                                        </p:tgtEl>
                                      </p:cBhvr>
                                    </p:cmd>
                                  </p:childTnLst>
                                </p:cTn>
                              </p:par>
                            </p:childTnLst>
                          </p:cTn>
                        </p:par>
                        <p:par>
                          <p:cTn id="25" fill="hold">
                            <p:stCondLst>
                              <p:cond delay="1799"/>
                            </p:stCondLst>
                            <p:childTnLst>
                              <p:par>
                                <p:cTn id="26" presetID="22" presetClass="entr" presetSubtype="4" fill="hold" nodeType="after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wipe(down)">
                                      <p:cBhvr>
                                        <p:cTn id="28"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29" fill="hold" display="0">
                  <p:stCondLst>
                    <p:cond delay="indefinite"/>
                  </p:stCondLst>
                  <p:endCondLst>
                    <p:cond evt="onStopAudio" delay="0">
                      <p:tgtEl>
                        <p:sldTgt/>
                      </p:tgtEl>
                    </p:cond>
                  </p:endCondLst>
                </p:cTn>
                <p:tgtEl>
                  <p:spTgt spid="45"/>
                </p:tgtEl>
              </p:cMediaNode>
            </p:audio>
          </p:childTnLst>
        </p:cTn>
      </p:par>
    </p:tnLst>
    <p:bldLst>
      <p:bldP spid="37" grpId="0" animBg="1"/>
      <p:bldP spid="40"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66"/>
          <p:cNvGrpSpPr/>
          <p:nvPr/>
        </p:nvGrpSpPr>
        <p:grpSpPr bwMode="auto">
          <a:xfrm>
            <a:off x="390532" y="933261"/>
            <a:ext cx="4382788" cy="3669605"/>
            <a:chOff x="720" y="839"/>
            <a:chExt cx="3740" cy="3146"/>
          </a:xfrm>
          <a:solidFill>
            <a:srgbClr val="E8E8E6"/>
          </a:solidFill>
        </p:grpSpPr>
        <p:sp>
          <p:nvSpPr>
            <p:cNvPr id="23" name="Freeform 67"/>
            <p:cNvSpPr/>
            <p:nvPr/>
          </p:nvSpPr>
          <p:spPr bwMode="gray">
            <a:xfrm>
              <a:off x="720" y="1296"/>
              <a:ext cx="1495" cy="1136"/>
            </a:xfrm>
            <a:custGeom>
              <a:avLst/>
              <a:gdLst>
                <a:gd name="T0" fmla="*/ 3 w 2990"/>
                <a:gd name="T1" fmla="*/ 357 h 2273"/>
                <a:gd name="T2" fmla="*/ 23 w 2990"/>
                <a:gd name="T3" fmla="*/ 365 h 2273"/>
                <a:gd name="T4" fmla="*/ 29 w 2990"/>
                <a:gd name="T5" fmla="*/ 390 h 2273"/>
                <a:gd name="T6" fmla="*/ 28 w 2990"/>
                <a:gd name="T7" fmla="*/ 419 h 2273"/>
                <a:gd name="T8" fmla="*/ 18 w 2990"/>
                <a:gd name="T9" fmla="*/ 419 h 2273"/>
                <a:gd name="T10" fmla="*/ 0 w 2990"/>
                <a:gd name="T11" fmla="*/ 429 h 2273"/>
                <a:gd name="T12" fmla="*/ 31 w 2990"/>
                <a:gd name="T13" fmla="*/ 438 h 2273"/>
                <a:gd name="T14" fmla="*/ 47 w 2990"/>
                <a:gd name="T15" fmla="*/ 456 h 2273"/>
                <a:gd name="T16" fmla="*/ 49 w 2990"/>
                <a:gd name="T17" fmla="*/ 490 h 2273"/>
                <a:gd name="T18" fmla="*/ 71 w 2990"/>
                <a:gd name="T19" fmla="*/ 507 h 2273"/>
                <a:gd name="T20" fmla="*/ 109 w 2990"/>
                <a:gd name="T21" fmla="*/ 521 h 2273"/>
                <a:gd name="T22" fmla="*/ 152 w 2990"/>
                <a:gd name="T23" fmla="*/ 516 h 2273"/>
                <a:gd name="T24" fmla="*/ 185 w 2990"/>
                <a:gd name="T25" fmla="*/ 542 h 2273"/>
                <a:gd name="T26" fmla="*/ 259 w 2990"/>
                <a:gd name="T27" fmla="*/ 549 h 2273"/>
                <a:gd name="T28" fmla="*/ 414 w 2990"/>
                <a:gd name="T29" fmla="*/ 546 h 2273"/>
                <a:gd name="T30" fmla="*/ 539 w 2990"/>
                <a:gd name="T31" fmla="*/ 549 h 2273"/>
                <a:gd name="T32" fmla="*/ 585 w 2990"/>
                <a:gd name="T33" fmla="*/ 458 h 2273"/>
                <a:gd name="T34" fmla="*/ 714 w 2990"/>
                <a:gd name="T35" fmla="*/ 339 h 2273"/>
                <a:gd name="T36" fmla="*/ 743 w 2990"/>
                <a:gd name="T37" fmla="*/ 295 h 2273"/>
                <a:gd name="T38" fmla="*/ 727 w 2990"/>
                <a:gd name="T39" fmla="*/ 263 h 2273"/>
                <a:gd name="T40" fmla="*/ 716 w 2990"/>
                <a:gd name="T41" fmla="*/ 233 h 2273"/>
                <a:gd name="T42" fmla="*/ 678 w 2990"/>
                <a:gd name="T43" fmla="*/ 213 h 2273"/>
                <a:gd name="T44" fmla="*/ 631 w 2990"/>
                <a:gd name="T45" fmla="*/ 198 h 2273"/>
                <a:gd name="T46" fmla="*/ 592 w 2990"/>
                <a:gd name="T47" fmla="*/ 185 h 2273"/>
                <a:gd name="T48" fmla="*/ 578 w 2990"/>
                <a:gd name="T49" fmla="*/ 170 h 2273"/>
                <a:gd name="T50" fmla="*/ 594 w 2990"/>
                <a:gd name="T51" fmla="*/ 148 h 2273"/>
                <a:gd name="T52" fmla="*/ 598 w 2990"/>
                <a:gd name="T53" fmla="*/ 114 h 2273"/>
                <a:gd name="T54" fmla="*/ 580 w 2990"/>
                <a:gd name="T55" fmla="*/ 75 h 2273"/>
                <a:gd name="T56" fmla="*/ 562 w 2990"/>
                <a:gd name="T57" fmla="*/ 63 h 2273"/>
                <a:gd name="T58" fmla="*/ 540 w 2990"/>
                <a:gd name="T59" fmla="*/ 55 h 2273"/>
                <a:gd name="T60" fmla="*/ 520 w 2990"/>
                <a:gd name="T61" fmla="*/ 29 h 2273"/>
                <a:gd name="T62" fmla="*/ 517 w 2990"/>
                <a:gd name="T63" fmla="*/ 8 h 2273"/>
                <a:gd name="T64" fmla="*/ 492 w 2990"/>
                <a:gd name="T65" fmla="*/ 0 h 2273"/>
                <a:gd name="T66" fmla="*/ 479 w 2990"/>
                <a:gd name="T67" fmla="*/ 21 h 2273"/>
                <a:gd name="T68" fmla="*/ 449 w 2990"/>
                <a:gd name="T69" fmla="*/ 35 h 2273"/>
                <a:gd name="T70" fmla="*/ 438 w 2990"/>
                <a:gd name="T71" fmla="*/ 79 h 2273"/>
                <a:gd name="T72" fmla="*/ 411 w 2990"/>
                <a:gd name="T73" fmla="*/ 85 h 2273"/>
                <a:gd name="T74" fmla="*/ 384 w 2990"/>
                <a:gd name="T75" fmla="*/ 75 h 2273"/>
                <a:gd name="T76" fmla="*/ 363 w 2990"/>
                <a:gd name="T77" fmla="*/ 71 h 2273"/>
                <a:gd name="T78" fmla="*/ 334 w 2990"/>
                <a:gd name="T79" fmla="*/ 122 h 2273"/>
                <a:gd name="T80" fmla="*/ 344 w 2990"/>
                <a:gd name="T81" fmla="*/ 140 h 2273"/>
                <a:gd name="T82" fmla="*/ 322 w 2990"/>
                <a:gd name="T83" fmla="*/ 144 h 2273"/>
                <a:gd name="T84" fmla="*/ 295 w 2990"/>
                <a:gd name="T85" fmla="*/ 136 h 2273"/>
                <a:gd name="T86" fmla="*/ 257 w 2990"/>
                <a:gd name="T87" fmla="*/ 138 h 2273"/>
                <a:gd name="T88" fmla="*/ 266 w 2990"/>
                <a:gd name="T89" fmla="*/ 148 h 2273"/>
                <a:gd name="T90" fmla="*/ 262 w 2990"/>
                <a:gd name="T91" fmla="*/ 173 h 2273"/>
                <a:gd name="T92" fmla="*/ 263 w 2990"/>
                <a:gd name="T93" fmla="*/ 220 h 2273"/>
                <a:gd name="T94" fmla="*/ 241 w 2990"/>
                <a:gd name="T95" fmla="*/ 242 h 2273"/>
                <a:gd name="T96" fmla="*/ 230 w 2990"/>
                <a:gd name="T97" fmla="*/ 267 h 2273"/>
                <a:gd name="T98" fmla="*/ 177 w 2990"/>
                <a:gd name="T99" fmla="*/ 281 h 2273"/>
                <a:gd name="T100" fmla="*/ 147 w 2990"/>
                <a:gd name="T101" fmla="*/ 286 h 2273"/>
                <a:gd name="T102" fmla="*/ 114 w 2990"/>
                <a:gd name="T103" fmla="*/ 294 h 2273"/>
                <a:gd name="T104" fmla="*/ 80 w 2990"/>
                <a:gd name="T105" fmla="*/ 302 h 2273"/>
                <a:gd name="T106" fmla="*/ 80 w 2990"/>
                <a:gd name="T107" fmla="*/ 289 h 2273"/>
                <a:gd name="T108" fmla="*/ 55 w 2990"/>
                <a:gd name="T109" fmla="*/ 291 h 2273"/>
                <a:gd name="T110" fmla="*/ 29 w 2990"/>
                <a:gd name="T111" fmla="*/ 297 h 2273"/>
                <a:gd name="T112" fmla="*/ 10 w 2990"/>
                <a:gd name="T113" fmla="*/ 318 h 22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90"/>
                <a:gd name="T172" fmla="*/ 0 h 2273"/>
                <a:gd name="T173" fmla="*/ 2990 w 2990"/>
                <a:gd name="T174" fmla="*/ 2273 h 227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90" h="2273">
                  <a:moveTo>
                    <a:pt x="29" y="1289"/>
                  </a:moveTo>
                  <a:lnTo>
                    <a:pt x="4" y="1329"/>
                  </a:lnTo>
                  <a:lnTo>
                    <a:pt x="12" y="1378"/>
                  </a:lnTo>
                  <a:lnTo>
                    <a:pt x="12" y="1382"/>
                  </a:lnTo>
                  <a:lnTo>
                    <a:pt x="10" y="1395"/>
                  </a:lnTo>
                  <a:lnTo>
                    <a:pt x="10" y="1411"/>
                  </a:lnTo>
                  <a:lnTo>
                    <a:pt x="10" y="1429"/>
                  </a:lnTo>
                  <a:lnTo>
                    <a:pt x="14" y="1443"/>
                  </a:lnTo>
                  <a:lnTo>
                    <a:pt x="20" y="1451"/>
                  </a:lnTo>
                  <a:lnTo>
                    <a:pt x="31" y="1453"/>
                  </a:lnTo>
                  <a:lnTo>
                    <a:pt x="43" y="1451"/>
                  </a:lnTo>
                  <a:lnTo>
                    <a:pt x="55" y="1449"/>
                  </a:lnTo>
                  <a:lnTo>
                    <a:pt x="73" y="1451"/>
                  </a:lnTo>
                  <a:lnTo>
                    <a:pt x="94" y="1462"/>
                  </a:lnTo>
                  <a:lnTo>
                    <a:pt x="116" y="1480"/>
                  </a:lnTo>
                  <a:lnTo>
                    <a:pt x="132" y="1502"/>
                  </a:lnTo>
                  <a:lnTo>
                    <a:pt x="136" y="1514"/>
                  </a:lnTo>
                  <a:lnTo>
                    <a:pt x="132" y="1525"/>
                  </a:lnTo>
                  <a:lnTo>
                    <a:pt x="126" y="1537"/>
                  </a:lnTo>
                  <a:lnTo>
                    <a:pt x="120" y="1549"/>
                  </a:lnTo>
                  <a:lnTo>
                    <a:pt x="116" y="1561"/>
                  </a:lnTo>
                  <a:lnTo>
                    <a:pt x="116" y="1577"/>
                  </a:lnTo>
                  <a:lnTo>
                    <a:pt x="114" y="1596"/>
                  </a:lnTo>
                  <a:lnTo>
                    <a:pt x="110" y="1618"/>
                  </a:lnTo>
                  <a:lnTo>
                    <a:pt x="108" y="1640"/>
                  </a:lnTo>
                  <a:lnTo>
                    <a:pt x="108" y="1657"/>
                  </a:lnTo>
                  <a:lnTo>
                    <a:pt x="112" y="1669"/>
                  </a:lnTo>
                  <a:lnTo>
                    <a:pt x="114" y="1679"/>
                  </a:lnTo>
                  <a:lnTo>
                    <a:pt x="114" y="1691"/>
                  </a:lnTo>
                  <a:lnTo>
                    <a:pt x="106" y="1699"/>
                  </a:lnTo>
                  <a:lnTo>
                    <a:pt x="96" y="1703"/>
                  </a:lnTo>
                  <a:lnTo>
                    <a:pt x="89" y="1701"/>
                  </a:lnTo>
                  <a:lnTo>
                    <a:pt x="83" y="1695"/>
                  </a:lnTo>
                  <a:lnTo>
                    <a:pt x="77" y="1687"/>
                  </a:lnTo>
                  <a:lnTo>
                    <a:pt x="69" y="1679"/>
                  </a:lnTo>
                  <a:lnTo>
                    <a:pt x="63" y="1673"/>
                  </a:lnTo>
                  <a:lnTo>
                    <a:pt x="53" y="1675"/>
                  </a:lnTo>
                  <a:lnTo>
                    <a:pt x="41" y="1685"/>
                  </a:lnTo>
                  <a:lnTo>
                    <a:pt x="26" y="1699"/>
                  </a:lnTo>
                  <a:lnTo>
                    <a:pt x="12" y="1708"/>
                  </a:lnTo>
                  <a:lnTo>
                    <a:pt x="4" y="1712"/>
                  </a:lnTo>
                  <a:lnTo>
                    <a:pt x="0" y="1716"/>
                  </a:lnTo>
                  <a:lnTo>
                    <a:pt x="6" y="1720"/>
                  </a:lnTo>
                  <a:lnTo>
                    <a:pt x="20" y="1724"/>
                  </a:lnTo>
                  <a:lnTo>
                    <a:pt x="41" y="1728"/>
                  </a:lnTo>
                  <a:lnTo>
                    <a:pt x="65" y="1734"/>
                  </a:lnTo>
                  <a:lnTo>
                    <a:pt x="89" y="1740"/>
                  </a:lnTo>
                  <a:lnTo>
                    <a:pt x="110" y="1746"/>
                  </a:lnTo>
                  <a:lnTo>
                    <a:pt x="126" y="1754"/>
                  </a:lnTo>
                  <a:lnTo>
                    <a:pt x="136" y="1764"/>
                  </a:lnTo>
                  <a:lnTo>
                    <a:pt x="140" y="1771"/>
                  </a:lnTo>
                  <a:lnTo>
                    <a:pt x="150" y="1779"/>
                  </a:lnTo>
                  <a:lnTo>
                    <a:pt x="159" y="1785"/>
                  </a:lnTo>
                  <a:lnTo>
                    <a:pt x="169" y="1795"/>
                  </a:lnTo>
                  <a:lnTo>
                    <a:pt x="177" y="1807"/>
                  </a:lnTo>
                  <a:lnTo>
                    <a:pt x="185" y="1825"/>
                  </a:lnTo>
                  <a:lnTo>
                    <a:pt x="187" y="1848"/>
                  </a:lnTo>
                  <a:lnTo>
                    <a:pt x="185" y="1870"/>
                  </a:lnTo>
                  <a:lnTo>
                    <a:pt x="179" y="1888"/>
                  </a:lnTo>
                  <a:lnTo>
                    <a:pt x="175" y="1905"/>
                  </a:lnTo>
                  <a:lnTo>
                    <a:pt x="177" y="1921"/>
                  </a:lnTo>
                  <a:lnTo>
                    <a:pt x="185" y="1941"/>
                  </a:lnTo>
                  <a:lnTo>
                    <a:pt x="195" y="1960"/>
                  </a:lnTo>
                  <a:lnTo>
                    <a:pt x="207" y="1978"/>
                  </a:lnTo>
                  <a:lnTo>
                    <a:pt x="218" y="1986"/>
                  </a:lnTo>
                  <a:lnTo>
                    <a:pt x="232" y="1990"/>
                  </a:lnTo>
                  <a:lnTo>
                    <a:pt x="246" y="1994"/>
                  </a:lnTo>
                  <a:lnTo>
                    <a:pt x="260" y="2002"/>
                  </a:lnTo>
                  <a:lnTo>
                    <a:pt x="270" y="2014"/>
                  </a:lnTo>
                  <a:lnTo>
                    <a:pt x="281" y="2029"/>
                  </a:lnTo>
                  <a:lnTo>
                    <a:pt x="299" y="2045"/>
                  </a:lnTo>
                  <a:lnTo>
                    <a:pt x="327" y="2057"/>
                  </a:lnTo>
                  <a:lnTo>
                    <a:pt x="352" y="2067"/>
                  </a:lnTo>
                  <a:lnTo>
                    <a:pt x="378" y="2076"/>
                  </a:lnTo>
                  <a:lnTo>
                    <a:pt x="402" y="2082"/>
                  </a:lnTo>
                  <a:lnTo>
                    <a:pt x="421" y="2086"/>
                  </a:lnTo>
                  <a:lnTo>
                    <a:pt x="435" y="2084"/>
                  </a:lnTo>
                  <a:lnTo>
                    <a:pt x="457" y="2078"/>
                  </a:lnTo>
                  <a:lnTo>
                    <a:pt x="484" y="2073"/>
                  </a:lnTo>
                  <a:lnTo>
                    <a:pt x="514" y="2065"/>
                  </a:lnTo>
                  <a:lnTo>
                    <a:pt x="543" y="2059"/>
                  </a:lnTo>
                  <a:lnTo>
                    <a:pt x="569" y="2057"/>
                  </a:lnTo>
                  <a:lnTo>
                    <a:pt x="589" y="2057"/>
                  </a:lnTo>
                  <a:lnTo>
                    <a:pt x="608" y="2065"/>
                  </a:lnTo>
                  <a:lnTo>
                    <a:pt x="626" y="2078"/>
                  </a:lnTo>
                  <a:lnTo>
                    <a:pt x="642" y="2096"/>
                  </a:lnTo>
                  <a:lnTo>
                    <a:pt x="661" y="2116"/>
                  </a:lnTo>
                  <a:lnTo>
                    <a:pt x="687" y="2134"/>
                  </a:lnTo>
                  <a:lnTo>
                    <a:pt x="711" y="2149"/>
                  </a:lnTo>
                  <a:lnTo>
                    <a:pt x="726" y="2161"/>
                  </a:lnTo>
                  <a:lnTo>
                    <a:pt x="738" y="2171"/>
                  </a:lnTo>
                  <a:lnTo>
                    <a:pt x="742" y="2177"/>
                  </a:lnTo>
                  <a:lnTo>
                    <a:pt x="744" y="2179"/>
                  </a:lnTo>
                  <a:lnTo>
                    <a:pt x="856" y="2218"/>
                  </a:lnTo>
                  <a:lnTo>
                    <a:pt x="892" y="2242"/>
                  </a:lnTo>
                  <a:lnTo>
                    <a:pt x="949" y="2236"/>
                  </a:lnTo>
                  <a:lnTo>
                    <a:pt x="986" y="2191"/>
                  </a:lnTo>
                  <a:lnTo>
                    <a:pt x="1035" y="2199"/>
                  </a:lnTo>
                  <a:lnTo>
                    <a:pt x="1152" y="2222"/>
                  </a:lnTo>
                  <a:lnTo>
                    <a:pt x="1201" y="2261"/>
                  </a:lnTo>
                  <a:lnTo>
                    <a:pt x="1256" y="2273"/>
                  </a:lnTo>
                  <a:lnTo>
                    <a:pt x="1392" y="2236"/>
                  </a:lnTo>
                  <a:lnTo>
                    <a:pt x="1431" y="2260"/>
                  </a:lnTo>
                  <a:lnTo>
                    <a:pt x="1539" y="2189"/>
                  </a:lnTo>
                  <a:lnTo>
                    <a:pt x="1657" y="2187"/>
                  </a:lnTo>
                  <a:lnTo>
                    <a:pt x="1726" y="2155"/>
                  </a:lnTo>
                  <a:lnTo>
                    <a:pt x="1821" y="2167"/>
                  </a:lnTo>
                  <a:lnTo>
                    <a:pt x="1935" y="2242"/>
                  </a:lnTo>
                  <a:lnTo>
                    <a:pt x="2026" y="2230"/>
                  </a:lnTo>
                  <a:lnTo>
                    <a:pt x="2088" y="2265"/>
                  </a:lnTo>
                  <a:lnTo>
                    <a:pt x="2193" y="2230"/>
                  </a:lnTo>
                  <a:lnTo>
                    <a:pt x="2155" y="2197"/>
                  </a:lnTo>
                  <a:lnTo>
                    <a:pt x="2161" y="2147"/>
                  </a:lnTo>
                  <a:lnTo>
                    <a:pt x="2214" y="2128"/>
                  </a:lnTo>
                  <a:lnTo>
                    <a:pt x="2242" y="2063"/>
                  </a:lnTo>
                  <a:lnTo>
                    <a:pt x="2124" y="1970"/>
                  </a:lnTo>
                  <a:lnTo>
                    <a:pt x="2128" y="1890"/>
                  </a:lnTo>
                  <a:lnTo>
                    <a:pt x="2199" y="1850"/>
                  </a:lnTo>
                  <a:lnTo>
                    <a:pt x="2337" y="1834"/>
                  </a:lnTo>
                  <a:lnTo>
                    <a:pt x="2484" y="1797"/>
                  </a:lnTo>
                  <a:lnTo>
                    <a:pt x="2545" y="1764"/>
                  </a:lnTo>
                  <a:lnTo>
                    <a:pt x="2624" y="1777"/>
                  </a:lnTo>
                  <a:lnTo>
                    <a:pt x="2592" y="1514"/>
                  </a:lnTo>
                  <a:lnTo>
                    <a:pt x="2673" y="1466"/>
                  </a:lnTo>
                  <a:lnTo>
                    <a:pt x="2752" y="1388"/>
                  </a:lnTo>
                  <a:lnTo>
                    <a:pt x="2856" y="1356"/>
                  </a:lnTo>
                  <a:lnTo>
                    <a:pt x="2939" y="1329"/>
                  </a:lnTo>
                  <a:lnTo>
                    <a:pt x="2966" y="1299"/>
                  </a:lnTo>
                  <a:lnTo>
                    <a:pt x="2957" y="1258"/>
                  </a:lnTo>
                  <a:lnTo>
                    <a:pt x="2990" y="1207"/>
                  </a:lnTo>
                  <a:lnTo>
                    <a:pt x="2988" y="1205"/>
                  </a:lnTo>
                  <a:lnTo>
                    <a:pt x="2982" y="1195"/>
                  </a:lnTo>
                  <a:lnTo>
                    <a:pt x="2972" y="1183"/>
                  </a:lnTo>
                  <a:lnTo>
                    <a:pt x="2961" y="1167"/>
                  </a:lnTo>
                  <a:lnTo>
                    <a:pt x="2949" y="1149"/>
                  </a:lnTo>
                  <a:lnTo>
                    <a:pt x="2937" y="1134"/>
                  </a:lnTo>
                  <a:lnTo>
                    <a:pt x="2929" y="1116"/>
                  </a:lnTo>
                  <a:lnTo>
                    <a:pt x="2923" y="1102"/>
                  </a:lnTo>
                  <a:lnTo>
                    <a:pt x="2915" y="1079"/>
                  </a:lnTo>
                  <a:lnTo>
                    <a:pt x="2905" y="1053"/>
                  </a:lnTo>
                  <a:lnTo>
                    <a:pt x="2898" y="1025"/>
                  </a:lnTo>
                  <a:lnTo>
                    <a:pt x="2888" y="1000"/>
                  </a:lnTo>
                  <a:lnTo>
                    <a:pt x="2880" y="982"/>
                  </a:lnTo>
                  <a:lnTo>
                    <a:pt x="2872" y="957"/>
                  </a:lnTo>
                  <a:lnTo>
                    <a:pt x="2870" y="941"/>
                  </a:lnTo>
                  <a:lnTo>
                    <a:pt x="2870" y="935"/>
                  </a:lnTo>
                  <a:lnTo>
                    <a:pt x="2864" y="933"/>
                  </a:lnTo>
                  <a:lnTo>
                    <a:pt x="2850" y="933"/>
                  </a:lnTo>
                  <a:lnTo>
                    <a:pt x="2829" y="929"/>
                  </a:lnTo>
                  <a:lnTo>
                    <a:pt x="2805" y="923"/>
                  </a:lnTo>
                  <a:lnTo>
                    <a:pt x="2781" y="913"/>
                  </a:lnTo>
                  <a:lnTo>
                    <a:pt x="2760" y="898"/>
                  </a:lnTo>
                  <a:lnTo>
                    <a:pt x="2734" y="874"/>
                  </a:lnTo>
                  <a:lnTo>
                    <a:pt x="2709" y="854"/>
                  </a:lnTo>
                  <a:lnTo>
                    <a:pt x="2687" y="837"/>
                  </a:lnTo>
                  <a:lnTo>
                    <a:pt x="2665" y="819"/>
                  </a:lnTo>
                  <a:lnTo>
                    <a:pt x="2648" y="809"/>
                  </a:lnTo>
                  <a:lnTo>
                    <a:pt x="2622" y="803"/>
                  </a:lnTo>
                  <a:lnTo>
                    <a:pt x="2590" y="801"/>
                  </a:lnTo>
                  <a:lnTo>
                    <a:pt x="2557" y="797"/>
                  </a:lnTo>
                  <a:lnTo>
                    <a:pt x="2524" y="795"/>
                  </a:lnTo>
                  <a:lnTo>
                    <a:pt x="2494" y="789"/>
                  </a:lnTo>
                  <a:lnTo>
                    <a:pt x="2468" y="781"/>
                  </a:lnTo>
                  <a:lnTo>
                    <a:pt x="2443" y="770"/>
                  </a:lnTo>
                  <a:lnTo>
                    <a:pt x="2417" y="760"/>
                  </a:lnTo>
                  <a:lnTo>
                    <a:pt x="2396" y="752"/>
                  </a:lnTo>
                  <a:lnTo>
                    <a:pt x="2378" y="746"/>
                  </a:lnTo>
                  <a:lnTo>
                    <a:pt x="2366" y="742"/>
                  </a:lnTo>
                  <a:lnTo>
                    <a:pt x="2360" y="740"/>
                  </a:lnTo>
                  <a:lnTo>
                    <a:pt x="2356" y="738"/>
                  </a:lnTo>
                  <a:lnTo>
                    <a:pt x="2348" y="730"/>
                  </a:lnTo>
                  <a:lnTo>
                    <a:pt x="2337" y="720"/>
                  </a:lnTo>
                  <a:lnTo>
                    <a:pt x="2325" y="709"/>
                  </a:lnTo>
                  <a:lnTo>
                    <a:pt x="2315" y="695"/>
                  </a:lnTo>
                  <a:lnTo>
                    <a:pt x="2309" y="683"/>
                  </a:lnTo>
                  <a:lnTo>
                    <a:pt x="2311" y="669"/>
                  </a:lnTo>
                  <a:lnTo>
                    <a:pt x="2321" y="655"/>
                  </a:lnTo>
                  <a:lnTo>
                    <a:pt x="2333" y="646"/>
                  </a:lnTo>
                  <a:lnTo>
                    <a:pt x="2348" y="634"/>
                  </a:lnTo>
                  <a:lnTo>
                    <a:pt x="2360" y="622"/>
                  </a:lnTo>
                  <a:lnTo>
                    <a:pt x="2372" y="610"/>
                  </a:lnTo>
                  <a:lnTo>
                    <a:pt x="2376" y="592"/>
                  </a:lnTo>
                  <a:lnTo>
                    <a:pt x="2378" y="569"/>
                  </a:lnTo>
                  <a:lnTo>
                    <a:pt x="2378" y="547"/>
                  </a:lnTo>
                  <a:lnTo>
                    <a:pt x="2380" y="528"/>
                  </a:lnTo>
                  <a:lnTo>
                    <a:pt x="2390" y="506"/>
                  </a:lnTo>
                  <a:lnTo>
                    <a:pt x="2396" y="490"/>
                  </a:lnTo>
                  <a:lnTo>
                    <a:pt x="2396" y="474"/>
                  </a:lnTo>
                  <a:lnTo>
                    <a:pt x="2390" y="459"/>
                  </a:lnTo>
                  <a:lnTo>
                    <a:pt x="2382" y="445"/>
                  </a:lnTo>
                  <a:lnTo>
                    <a:pt x="2374" y="433"/>
                  </a:lnTo>
                  <a:lnTo>
                    <a:pt x="2358" y="407"/>
                  </a:lnTo>
                  <a:lnTo>
                    <a:pt x="2342" y="378"/>
                  </a:lnTo>
                  <a:lnTo>
                    <a:pt x="2335" y="344"/>
                  </a:lnTo>
                  <a:lnTo>
                    <a:pt x="2329" y="321"/>
                  </a:lnTo>
                  <a:lnTo>
                    <a:pt x="2319" y="303"/>
                  </a:lnTo>
                  <a:lnTo>
                    <a:pt x="2307" y="287"/>
                  </a:lnTo>
                  <a:lnTo>
                    <a:pt x="2295" y="276"/>
                  </a:lnTo>
                  <a:lnTo>
                    <a:pt x="2285" y="270"/>
                  </a:lnTo>
                  <a:lnTo>
                    <a:pt x="2276" y="266"/>
                  </a:lnTo>
                  <a:lnTo>
                    <a:pt x="2264" y="266"/>
                  </a:lnTo>
                  <a:lnTo>
                    <a:pt x="2256" y="262"/>
                  </a:lnTo>
                  <a:lnTo>
                    <a:pt x="2248" y="254"/>
                  </a:lnTo>
                  <a:lnTo>
                    <a:pt x="2238" y="248"/>
                  </a:lnTo>
                  <a:lnTo>
                    <a:pt x="2224" y="246"/>
                  </a:lnTo>
                  <a:lnTo>
                    <a:pt x="2209" y="248"/>
                  </a:lnTo>
                  <a:lnTo>
                    <a:pt x="2191" y="248"/>
                  </a:lnTo>
                  <a:lnTo>
                    <a:pt x="2177" y="246"/>
                  </a:lnTo>
                  <a:lnTo>
                    <a:pt x="2169" y="238"/>
                  </a:lnTo>
                  <a:lnTo>
                    <a:pt x="2159" y="221"/>
                  </a:lnTo>
                  <a:lnTo>
                    <a:pt x="2150" y="197"/>
                  </a:lnTo>
                  <a:lnTo>
                    <a:pt x="2136" y="173"/>
                  </a:lnTo>
                  <a:lnTo>
                    <a:pt x="2120" y="156"/>
                  </a:lnTo>
                  <a:lnTo>
                    <a:pt x="2106" y="144"/>
                  </a:lnTo>
                  <a:lnTo>
                    <a:pt x="2092" y="136"/>
                  </a:lnTo>
                  <a:lnTo>
                    <a:pt x="2083" y="128"/>
                  </a:lnTo>
                  <a:lnTo>
                    <a:pt x="2077" y="118"/>
                  </a:lnTo>
                  <a:lnTo>
                    <a:pt x="2075" y="104"/>
                  </a:lnTo>
                  <a:lnTo>
                    <a:pt x="2071" y="87"/>
                  </a:lnTo>
                  <a:lnTo>
                    <a:pt x="2061" y="73"/>
                  </a:lnTo>
                  <a:lnTo>
                    <a:pt x="2053" y="63"/>
                  </a:lnTo>
                  <a:lnTo>
                    <a:pt x="2051" y="53"/>
                  </a:lnTo>
                  <a:lnTo>
                    <a:pt x="2057" y="41"/>
                  </a:lnTo>
                  <a:lnTo>
                    <a:pt x="2065" y="32"/>
                  </a:lnTo>
                  <a:lnTo>
                    <a:pt x="2071" y="20"/>
                  </a:lnTo>
                  <a:lnTo>
                    <a:pt x="2073" y="14"/>
                  </a:lnTo>
                  <a:lnTo>
                    <a:pt x="2063" y="8"/>
                  </a:lnTo>
                  <a:lnTo>
                    <a:pt x="2045" y="4"/>
                  </a:lnTo>
                  <a:lnTo>
                    <a:pt x="2020" y="2"/>
                  </a:lnTo>
                  <a:lnTo>
                    <a:pt x="1994" y="0"/>
                  </a:lnTo>
                  <a:lnTo>
                    <a:pt x="1970" y="0"/>
                  </a:lnTo>
                  <a:lnTo>
                    <a:pt x="1955" y="6"/>
                  </a:lnTo>
                  <a:lnTo>
                    <a:pt x="1945" y="14"/>
                  </a:lnTo>
                  <a:lnTo>
                    <a:pt x="1941" y="30"/>
                  </a:lnTo>
                  <a:lnTo>
                    <a:pt x="1937" y="45"/>
                  </a:lnTo>
                  <a:lnTo>
                    <a:pt x="1933" y="61"/>
                  </a:lnTo>
                  <a:lnTo>
                    <a:pt x="1927" y="75"/>
                  </a:lnTo>
                  <a:lnTo>
                    <a:pt x="1915" y="85"/>
                  </a:lnTo>
                  <a:lnTo>
                    <a:pt x="1898" y="87"/>
                  </a:lnTo>
                  <a:lnTo>
                    <a:pt x="1878" y="91"/>
                  </a:lnTo>
                  <a:lnTo>
                    <a:pt x="1858" y="93"/>
                  </a:lnTo>
                  <a:lnTo>
                    <a:pt x="1840" y="95"/>
                  </a:lnTo>
                  <a:lnTo>
                    <a:pt x="1823" y="102"/>
                  </a:lnTo>
                  <a:lnTo>
                    <a:pt x="1809" y="116"/>
                  </a:lnTo>
                  <a:lnTo>
                    <a:pt x="1797" y="140"/>
                  </a:lnTo>
                  <a:lnTo>
                    <a:pt x="1785" y="169"/>
                  </a:lnTo>
                  <a:lnTo>
                    <a:pt x="1777" y="203"/>
                  </a:lnTo>
                  <a:lnTo>
                    <a:pt x="1774" y="236"/>
                  </a:lnTo>
                  <a:lnTo>
                    <a:pt x="1770" y="262"/>
                  </a:lnTo>
                  <a:lnTo>
                    <a:pt x="1768" y="283"/>
                  </a:lnTo>
                  <a:lnTo>
                    <a:pt x="1762" y="303"/>
                  </a:lnTo>
                  <a:lnTo>
                    <a:pt x="1754" y="319"/>
                  </a:lnTo>
                  <a:lnTo>
                    <a:pt x="1740" y="329"/>
                  </a:lnTo>
                  <a:lnTo>
                    <a:pt x="1722" y="337"/>
                  </a:lnTo>
                  <a:lnTo>
                    <a:pt x="1703" y="341"/>
                  </a:lnTo>
                  <a:lnTo>
                    <a:pt x="1685" y="346"/>
                  </a:lnTo>
                  <a:lnTo>
                    <a:pt x="1669" y="350"/>
                  </a:lnTo>
                  <a:lnTo>
                    <a:pt x="1655" y="348"/>
                  </a:lnTo>
                  <a:lnTo>
                    <a:pt x="1644" y="341"/>
                  </a:lnTo>
                  <a:lnTo>
                    <a:pt x="1634" y="333"/>
                  </a:lnTo>
                  <a:lnTo>
                    <a:pt x="1618" y="331"/>
                  </a:lnTo>
                  <a:lnTo>
                    <a:pt x="1600" y="331"/>
                  </a:lnTo>
                  <a:lnTo>
                    <a:pt x="1581" y="329"/>
                  </a:lnTo>
                  <a:lnTo>
                    <a:pt x="1563" y="325"/>
                  </a:lnTo>
                  <a:lnTo>
                    <a:pt x="1549" y="315"/>
                  </a:lnTo>
                  <a:lnTo>
                    <a:pt x="1537" y="303"/>
                  </a:lnTo>
                  <a:lnTo>
                    <a:pt x="1524" y="289"/>
                  </a:lnTo>
                  <a:lnTo>
                    <a:pt x="1508" y="276"/>
                  </a:lnTo>
                  <a:lnTo>
                    <a:pt x="1494" y="266"/>
                  </a:lnTo>
                  <a:lnTo>
                    <a:pt x="1480" y="260"/>
                  </a:lnTo>
                  <a:lnTo>
                    <a:pt x="1468" y="260"/>
                  </a:lnTo>
                  <a:lnTo>
                    <a:pt x="1461" y="268"/>
                  </a:lnTo>
                  <a:lnTo>
                    <a:pt x="1449" y="287"/>
                  </a:lnTo>
                  <a:lnTo>
                    <a:pt x="1435" y="311"/>
                  </a:lnTo>
                  <a:lnTo>
                    <a:pt x="1417" y="341"/>
                  </a:lnTo>
                  <a:lnTo>
                    <a:pt x="1400" y="372"/>
                  </a:lnTo>
                  <a:lnTo>
                    <a:pt x="1382" y="407"/>
                  </a:lnTo>
                  <a:lnTo>
                    <a:pt x="1366" y="439"/>
                  </a:lnTo>
                  <a:lnTo>
                    <a:pt x="1348" y="467"/>
                  </a:lnTo>
                  <a:lnTo>
                    <a:pt x="1335" y="488"/>
                  </a:lnTo>
                  <a:lnTo>
                    <a:pt x="1327" y="506"/>
                  </a:lnTo>
                  <a:lnTo>
                    <a:pt x="1327" y="522"/>
                  </a:lnTo>
                  <a:lnTo>
                    <a:pt x="1335" y="533"/>
                  </a:lnTo>
                  <a:lnTo>
                    <a:pt x="1344" y="541"/>
                  </a:lnTo>
                  <a:lnTo>
                    <a:pt x="1358" y="549"/>
                  </a:lnTo>
                  <a:lnTo>
                    <a:pt x="1370" y="555"/>
                  </a:lnTo>
                  <a:lnTo>
                    <a:pt x="1376" y="563"/>
                  </a:lnTo>
                  <a:lnTo>
                    <a:pt x="1374" y="569"/>
                  </a:lnTo>
                  <a:lnTo>
                    <a:pt x="1362" y="575"/>
                  </a:lnTo>
                  <a:lnTo>
                    <a:pt x="1348" y="577"/>
                  </a:lnTo>
                  <a:lnTo>
                    <a:pt x="1331" y="577"/>
                  </a:lnTo>
                  <a:lnTo>
                    <a:pt x="1313" y="577"/>
                  </a:lnTo>
                  <a:lnTo>
                    <a:pt x="1297" y="577"/>
                  </a:lnTo>
                  <a:lnTo>
                    <a:pt x="1285" y="577"/>
                  </a:lnTo>
                  <a:lnTo>
                    <a:pt x="1274" y="571"/>
                  </a:lnTo>
                  <a:lnTo>
                    <a:pt x="1264" y="561"/>
                  </a:lnTo>
                  <a:lnTo>
                    <a:pt x="1252" y="551"/>
                  </a:lnTo>
                  <a:lnTo>
                    <a:pt x="1238" y="543"/>
                  </a:lnTo>
                  <a:lnTo>
                    <a:pt x="1222" y="541"/>
                  </a:lnTo>
                  <a:lnTo>
                    <a:pt x="1201" y="543"/>
                  </a:lnTo>
                  <a:lnTo>
                    <a:pt x="1177" y="547"/>
                  </a:lnTo>
                  <a:lnTo>
                    <a:pt x="1153" y="551"/>
                  </a:lnTo>
                  <a:lnTo>
                    <a:pt x="1126" y="553"/>
                  </a:lnTo>
                  <a:lnTo>
                    <a:pt x="1100" y="553"/>
                  </a:lnTo>
                  <a:lnTo>
                    <a:pt x="1079" y="551"/>
                  </a:lnTo>
                  <a:lnTo>
                    <a:pt x="1059" y="551"/>
                  </a:lnTo>
                  <a:lnTo>
                    <a:pt x="1039" y="553"/>
                  </a:lnTo>
                  <a:lnTo>
                    <a:pt x="1026" y="555"/>
                  </a:lnTo>
                  <a:lnTo>
                    <a:pt x="1014" y="561"/>
                  </a:lnTo>
                  <a:lnTo>
                    <a:pt x="1010" y="567"/>
                  </a:lnTo>
                  <a:lnTo>
                    <a:pt x="1014" y="577"/>
                  </a:lnTo>
                  <a:lnTo>
                    <a:pt x="1024" y="585"/>
                  </a:lnTo>
                  <a:lnTo>
                    <a:pt x="1035" y="589"/>
                  </a:lnTo>
                  <a:lnTo>
                    <a:pt x="1049" y="592"/>
                  </a:lnTo>
                  <a:lnTo>
                    <a:pt x="1061" y="594"/>
                  </a:lnTo>
                  <a:lnTo>
                    <a:pt x="1073" y="598"/>
                  </a:lnTo>
                  <a:lnTo>
                    <a:pt x="1081" y="604"/>
                  </a:lnTo>
                  <a:lnTo>
                    <a:pt x="1085" y="616"/>
                  </a:lnTo>
                  <a:lnTo>
                    <a:pt x="1081" y="632"/>
                  </a:lnTo>
                  <a:lnTo>
                    <a:pt x="1069" y="655"/>
                  </a:lnTo>
                  <a:lnTo>
                    <a:pt x="1057" y="677"/>
                  </a:lnTo>
                  <a:lnTo>
                    <a:pt x="1047" y="695"/>
                  </a:lnTo>
                  <a:lnTo>
                    <a:pt x="1041" y="715"/>
                  </a:lnTo>
                  <a:lnTo>
                    <a:pt x="1039" y="736"/>
                  </a:lnTo>
                  <a:lnTo>
                    <a:pt x="1045" y="762"/>
                  </a:lnTo>
                  <a:lnTo>
                    <a:pt x="1057" y="799"/>
                  </a:lnTo>
                  <a:lnTo>
                    <a:pt x="1061" y="833"/>
                  </a:lnTo>
                  <a:lnTo>
                    <a:pt x="1059" y="860"/>
                  </a:lnTo>
                  <a:lnTo>
                    <a:pt x="1051" y="882"/>
                  </a:lnTo>
                  <a:lnTo>
                    <a:pt x="1039" y="894"/>
                  </a:lnTo>
                  <a:lnTo>
                    <a:pt x="1024" y="905"/>
                  </a:lnTo>
                  <a:lnTo>
                    <a:pt x="1004" y="915"/>
                  </a:lnTo>
                  <a:lnTo>
                    <a:pt x="986" y="927"/>
                  </a:lnTo>
                  <a:lnTo>
                    <a:pt x="972" y="939"/>
                  </a:lnTo>
                  <a:lnTo>
                    <a:pt x="966" y="953"/>
                  </a:lnTo>
                  <a:lnTo>
                    <a:pt x="966" y="968"/>
                  </a:lnTo>
                  <a:lnTo>
                    <a:pt x="966" y="988"/>
                  </a:lnTo>
                  <a:lnTo>
                    <a:pt x="966" y="1010"/>
                  </a:lnTo>
                  <a:lnTo>
                    <a:pt x="965" y="1031"/>
                  </a:lnTo>
                  <a:lnTo>
                    <a:pt x="961" y="1049"/>
                  </a:lnTo>
                  <a:lnTo>
                    <a:pt x="953" y="1063"/>
                  </a:lnTo>
                  <a:lnTo>
                    <a:pt x="941" y="1069"/>
                  </a:lnTo>
                  <a:lnTo>
                    <a:pt x="921" y="1071"/>
                  </a:lnTo>
                  <a:lnTo>
                    <a:pt x="892" y="1075"/>
                  </a:lnTo>
                  <a:lnTo>
                    <a:pt x="858" y="1079"/>
                  </a:lnTo>
                  <a:lnTo>
                    <a:pt x="821" y="1085"/>
                  </a:lnTo>
                  <a:lnTo>
                    <a:pt x="783" y="1092"/>
                  </a:lnTo>
                  <a:lnTo>
                    <a:pt x="752" y="1100"/>
                  </a:lnTo>
                  <a:lnTo>
                    <a:pt x="728" y="1110"/>
                  </a:lnTo>
                  <a:lnTo>
                    <a:pt x="705" y="1124"/>
                  </a:lnTo>
                  <a:lnTo>
                    <a:pt x="685" y="1138"/>
                  </a:lnTo>
                  <a:lnTo>
                    <a:pt x="671" y="1151"/>
                  </a:lnTo>
                  <a:lnTo>
                    <a:pt x="655" y="1159"/>
                  </a:lnTo>
                  <a:lnTo>
                    <a:pt x="642" y="1163"/>
                  </a:lnTo>
                  <a:lnTo>
                    <a:pt x="628" y="1159"/>
                  </a:lnTo>
                  <a:lnTo>
                    <a:pt x="606" y="1153"/>
                  </a:lnTo>
                  <a:lnTo>
                    <a:pt x="585" y="1146"/>
                  </a:lnTo>
                  <a:lnTo>
                    <a:pt x="559" y="1138"/>
                  </a:lnTo>
                  <a:lnTo>
                    <a:pt x="535" y="1132"/>
                  </a:lnTo>
                  <a:lnTo>
                    <a:pt x="516" y="1130"/>
                  </a:lnTo>
                  <a:lnTo>
                    <a:pt x="500" y="1132"/>
                  </a:lnTo>
                  <a:lnTo>
                    <a:pt x="486" y="1142"/>
                  </a:lnTo>
                  <a:lnTo>
                    <a:pt x="470" y="1157"/>
                  </a:lnTo>
                  <a:lnTo>
                    <a:pt x="457" y="1177"/>
                  </a:lnTo>
                  <a:lnTo>
                    <a:pt x="443" y="1197"/>
                  </a:lnTo>
                  <a:lnTo>
                    <a:pt x="427" y="1212"/>
                  </a:lnTo>
                  <a:lnTo>
                    <a:pt x="413" y="1220"/>
                  </a:lnTo>
                  <a:lnTo>
                    <a:pt x="390" y="1220"/>
                  </a:lnTo>
                  <a:lnTo>
                    <a:pt x="362" y="1216"/>
                  </a:lnTo>
                  <a:lnTo>
                    <a:pt x="339" y="1212"/>
                  </a:lnTo>
                  <a:lnTo>
                    <a:pt x="319" y="1210"/>
                  </a:lnTo>
                  <a:lnTo>
                    <a:pt x="313" y="1207"/>
                  </a:lnTo>
                  <a:lnTo>
                    <a:pt x="309" y="1199"/>
                  </a:lnTo>
                  <a:lnTo>
                    <a:pt x="309" y="1189"/>
                  </a:lnTo>
                  <a:lnTo>
                    <a:pt x="313" y="1177"/>
                  </a:lnTo>
                  <a:lnTo>
                    <a:pt x="315" y="1167"/>
                  </a:lnTo>
                  <a:lnTo>
                    <a:pt x="317" y="1159"/>
                  </a:lnTo>
                  <a:lnTo>
                    <a:pt x="319" y="1157"/>
                  </a:lnTo>
                  <a:lnTo>
                    <a:pt x="315" y="1157"/>
                  </a:lnTo>
                  <a:lnTo>
                    <a:pt x="303" y="1159"/>
                  </a:lnTo>
                  <a:lnTo>
                    <a:pt x="287" y="1161"/>
                  </a:lnTo>
                  <a:lnTo>
                    <a:pt x="268" y="1163"/>
                  </a:lnTo>
                  <a:lnTo>
                    <a:pt x="250" y="1165"/>
                  </a:lnTo>
                  <a:lnTo>
                    <a:pt x="234" y="1165"/>
                  </a:lnTo>
                  <a:lnTo>
                    <a:pt x="220" y="1165"/>
                  </a:lnTo>
                  <a:lnTo>
                    <a:pt x="211" y="1171"/>
                  </a:lnTo>
                  <a:lnTo>
                    <a:pt x="201" y="1177"/>
                  </a:lnTo>
                  <a:lnTo>
                    <a:pt x="189" y="1185"/>
                  </a:lnTo>
                  <a:lnTo>
                    <a:pt x="171" y="1191"/>
                  </a:lnTo>
                  <a:lnTo>
                    <a:pt x="154" y="1193"/>
                  </a:lnTo>
                  <a:lnTo>
                    <a:pt x="136" y="1193"/>
                  </a:lnTo>
                  <a:lnTo>
                    <a:pt x="116" y="1191"/>
                  </a:lnTo>
                  <a:lnTo>
                    <a:pt x="100" y="1191"/>
                  </a:lnTo>
                  <a:lnTo>
                    <a:pt x="87" y="1197"/>
                  </a:lnTo>
                  <a:lnTo>
                    <a:pt x="77" y="1210"/>
                  </a:lnTo>
                  <a:lnTo>
                    <a:pt x="69" y="1228"/>
                  </a:lnTo>
                  <a:lnTo>
                    <a:pt x="59" y="1246"/>
                  </a:lnTo>
                  <a:lnTo>
                    <a:pt x="49" y="1262"/>
                  </a:lnTo>
                  <a:lnTo>
                    <a:pt x="39" y="1275"/>
                  </a:lnTo>
                  <a:lnTo>
                    <a:pt x="33" y="1285"/>
                  </a:lnTo>
                  <a:lnTo>
                    <a:pt x="29" y="128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24" name="Freeform 68"/>
            <p:cNvSpPr/>
            <p:nvPr/>
          </p:nvSpPr>
          <p:spPr bwMode="gray">
            <a:xfrm>
              <a:off x="720" y="1296"/>
              <a:ext cx="1495" cy="1136"/>
            </a:xfrm>
            <a:custGeom>
              <a:avLst/>
              <a:gdLst>
                <a:gd name="T0" fmla="*/ 3 w 2990"/>
                <a:gd name="T1" fmla="*/ 357 h 2273"/>
                <a:gd name="T2" fmla="*/ 23 w 2990"/>
                <a:gd name="T3" fmla="*/ 365 h 2273"/>
                <a:gd name="T4" fmla="*/ 29 w 2990"/>
                <a:gd name="T5" fmla="*/ 390 h 2273"/>
                <a:gd name="T6" fmla="*/ 28 w 2990"/>
                <a:gd name="T7" fmla="*/ 419 h 2273"/>
                <a:gd name="T8" fmla="*/ 18 w 2990"/>
                <a:gd name="T9" fmla="*/ 419 h 2273"/>
                <a:gd name="T10" fmla="*/ 0 w 2990"/>
                <a:gd name="T11" fmla="*/ 429 h 2273"/>
                <a:gd name="T12" fmla="*/ 31 w 2990"/>
                <a:gd name="T13" fmla="*/ 438 h 2273"/>
                <a:gd name="T14" fmla="*/ 47 w 2990"/>
                <a:gd name="T15" fmla="*/ 456 h 2273"/>
                <a:gd name="T16" fmla="*/ 49 w 2990"/>
                <a:gd name="T17" fmla="*/ 490 h 2273"/>
                <a:gd name="T18" fmla="*/ 71 w 2990"/>
                <a:gd name="T19" fmla="*/ 507 h 2273"/>
                <a:gd name="T20" fmla="*/ 109 w 2990"/>
                <a:gd name="T21" fmla="*/ 521 h 2273"/>
                <a:gd name="T22" fmla="*/ 152 w 2990"/>
                <a:gd name="T23" fmla="*/ 516 h 2273"/>
                <a:gd name="T24" fmla="*/ 185 w 2990"/>
                <a:gd name="T25" fmla="*/ 542 h 2273"/>
                <a:gd name="T26" fmla="*/ 259 w 2990"/>
                <a:gd name="T27" fmla="*/ 549 h 2273"/>
                <a:gd name="T28" fmla="*/ 414 w 2990"/>
                <a:gd name="T29" fmla="*/ 546 h 2273"/>
                <a:gd name="T30" fmla="*/ 539 w 2990"/>
                <a:gd name="T31" fmla="*/ 549 h 2273"/>
                <a:gd name="T32" fmla="*/ 585 w 2990"/>
                <a:gd name="T33" fmla="*/ 458 h 2273"/>
                <a:gd name="T34" fmla="*/ 714 w 2990"/>
                <a:gd name="T35" fmla="*/ 339 h 2273"/>
                <a:gd name="T36" fmla="*/ 743 w 2990"/>
                <a:gd name="T37" fmla="*/ 295 h 2273"/>
                <a:gd name="T38" fmla="*/ 727 w 2990"/>
                <a:gd name="T39" fmla="*/ 263 h 2273"/>
                <a:gd name="T40" fmla="*/ 716 w 2990"/>
                <a:gd name="T41" fmla="*/ 233 h 2273"/>
                <a:gd name="T42" fmla="*/ 678 w 2990"/>
                <a:gd name="T43" fmla="*/ 213 h 2273"/>
                <a:gd name="T44" fmla="*/ 631 w 2990"/>
                <a:gd name="T45" fmla="*/ 198 h 2273"/>
                <a:gd name="T46" fmla="*/ 592 w 2990"/>
                <a:gd name="T47" fmla="*/ 185 h 2273"/>
                <a:gd name="T48" fmla="*/ 578 w 2990"/>
                <a:gd name="T49" fmla="*/ 170 h 2273"/>
                <a:gd name="T50" fmla="*/ 594 w 2990"/>
                <a:gd name="T51" fmla="*/ 148 h 2273"/>
                <a:gd name="T52" fmla="*/ 598 w 2990"/>
                <a:gd name="T53" fmla="*/ 114 h 2273"/>
                <a:gd name="T54" fmla="*/ 580 w 2990"/>
                <a:gd name="T55" fmla="*/ 75 h 2273"/>
                <a:gd name="T56" fmla="*/ 562 w 2990"/>
                <a:gd name="T57" fmla="*/ 63 h 2273"/>
                <a:gd name="T58" fmla="*/ 540 w 2990"/>
                <a:gd name="T59" fmla="*/ 55 h 2273"/>
                <a:gd name="T60" fmla="*/ 520 w 2990"/>
                <a:gd name="T61" fmla="*/ 29 h 2273"/>
                <a:gd name="T62" fmla="*/ 517 w 2990"/>
                <a:gd name="T63" fmla="*/ 8 h 2273"/>
                <a:gd name="T64" fmla="*/ 492 w 2990"/>
                <a:gd name="T65" fmla="*/ 0 h 2273"/>
                <a:gd name="T66" fmla="*/ 479 w 2990"/>
                <a:gd name="T67" fmla="*/ 21 h 2273"/>
                <a:gd name="T68" fmla="*/ 449 w 2990"/>
                <a:gd name="T69" fmla="*/ 35 h 2273"/>
                <a:gd name="T70" fmla="*/ 438 w 2990"/>
                <a:gd name="T71" fmla="*/ 79 h 2273"/>
                <a:gd name="T72" fmla="*/ 411 w 2990"/>
                <a:gd name="T73" fmla="*/ 85 h 2273"/>
                <a:gd name="T74" fmla="*/ 384 w 2990"/>
                <a:gd name="T75" fmla="*/ 75 h 2273"/>
                <a:gd name="T76" fmla="*/ 363 w 2990"/>
                <a:gd name="T77" fmla="*/ 71 h 2273"/>
                <a:gd name="T78" fmla="*/ 334 w 2990"/>
                <a:gd name="T79" fmla="*/ 122 h 2273"/>
                <a:gd name="T80" fmla="*/ 344 w 2990"/>
                <a:gd name="T81" fmla="*/ 140 h 2273"/>
                <a:gd name="T82" fmla="*/ 322 w 2990"/>
                <a:gd name="T83" fmla="*/ 144 h 2273"/>
                <a:gd name="T84" fmla="*/ 295 w 2990"/>
                <a:gd name="T85" fmla="*/ 136 h 2273"/>
                <a:gd name="T86" fmla="*/ 257 w 2990"/>
                <a:gd name="T87" fmla="*/ 138 h 2273"/>
                <a:gd name="T88" fmla="*/ 266 w 2990"/>
                <a:gd name="T89" fmla="*/ 148 h 2273"/>
                <a:gd name="T90" fmla="*/ 262 w 2990"/>
                <a:gd name="T91" fmla="*/ 173 h 2273"/>
                <a:gd name="T92" fmla="*/ 263 w 2990"/>
                <a:gd name="T93" fmla="*/ 220 h 2273"/>
                <a:gd name="T94" fmla="*/ 241 w 2990"/>
                <a:gd name="T95" fmla="*/ 242 h 2273"/>
                <a:gd name="T96" fmla="*/ 230 w 2990"/>
                <a:gd name="T97" fmla="*/ 267 h 2273"/>
                <a:gd name="T98" fmla="*/ 177 w 2990"/>
                <a:gd name="T99" fmla="*/ 281 h 2273"/>
                <a:gd name="T100" fmla="*/ 147 w 2990"/>
                <a:gd name="T101" fmla="*/ 286 h 2273"/>
                <a:gd name="T102" fmla="*/ 114 w 2990"/>
                <a:gd name="T103" fmla="*/ 294 h 2273"/>
                <a:gd name="T104" fmla="*/ 80 w 2990"/>
                <a:gd name="T105" fmla="*/ 302 h 2273"/>
                <a:gd name="T106" fmla="*/ 80 w 2990"/>
                <a:gd name="T107" fmla="*/ 289 h 2273"/>
                <a:gd name="T108" fmla="*/ 55 w 2990"/>
                <a:gd name="T109" fmla="*/ 291 h 2273"/>
                <a:gd name="T110" fmla="*/ 29 w 2990"/>
                <a:gd name="T111" fmla="*/ 297 h 2273"/>
                <a:gd name="T112" fmla="*/ 10 w 2990"/>
                <a:gd name="T113" fmla="*/ 318 h 22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90"/>
                <a:gd name="T172" fmla="*/ 0 h 2273"/>
                <a:gd name="T173" fmla="*/ 2990 w 2990"/>
                <a:gd name="T174" fmla="*/ 2273 h 227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90" h="2273">
                  <a:moveTo>
                    <a:pt x="29" y="1289"/>
                  </a:moveTo>
                  <a:lnTo>
                    <a:pt x="4" y="1329"/>
                  </a:lnTo>
                  <a:lnTo>
                    <a:pt x="12" y="1378"/>
                  </a:lnTo>
                  <a:lnTo>
                    <a:pt x="12" y="1382"/>
                  </a:lnTo>
                  <a:lnTo>
                    <a:pt x="10" y="1395"/>
                  </a:lnTo>
                  <a:lnTo>
                    <a:pt x="10" y="1411"/>
                  </a:lnTo>
                  <a:lnTo>
                    <a:pt x="10" y="1429"/>
                  </a:lnTo>
                  <a:lnTo>
                    <a:pt x="14" y="1443"/>
                  </a:lnTo>
                  <a:lnTo>
                    <a:pt x="20" y="1451"/>
                  </a:lnTo>
                  <a:lnTo>
                    <a:pt x="31" y="1453"/>
                  </a:lnTo>
                  <a:lnTo>
                    <a:pt x="43" y="1451"/>
                  </a:lnTo>
                  <a:lnTo>
                    <a:pt x="55" y="1449"/>
                  </a:lnTo>
                  <a:lnTo>
                    <a:pt x="73" y="1451"/>
                  </a:lnTo>
                  <a:lnTo>
                    <a:pt x="94" y="1462"/>
                  </a:lnTo>
                  <a:lnTo>
                    <a:pt x="116" y="1480"/>
                  </a:lnTo>
                  <a:lnTo>
                    <a:pt x="132" y="1502"/>
                  </a:lnTo>
                  <a:lnTo>
                    <a:pt x="136" y="1514"/>
                  </a:lnTo>
                  <a:lnTo>
                    <a:pt x="132" y="1525"/>
                  </a:lnTo>
                  <a:lnTo>
                    <a:pt x="126" y="1537"/>
                  </a:lnTo>
                  <a:lnTo>
                    <a:pt x="120" y="1549"/>
                  </a:lnTo>
                  <a:lnTo>
                    <a:pt x="116" y="1561"/>
                  </a:lnTo>
                  <a:lnTo>
                    <a:pt x="116" y="1577"/>
                  </a:lnTo>
                  <a:lnTo>
                    <a:pt x="114" y="1596"/>
                  </a:lnTo>
                  <a:lnTo>
                    <a:pt x="110" y="1618"/>
                  </a:lnTo>
                  <a:lnTo>
                    <a:pt x="108" y="1640"/>
                  </a:lnTo>
                  <a:lnTo>
                    <a:pt x="108" y="1657"/>
                  </a:lnTo>
                  <a:lnTo>
                    <a:pt x="112" y="1669"/>
                  </a:lnTo>
                  <a:lnTo>
                    <a:pt x="114" y="1679"/>
                  </a:lnTo>
                  <a:lnTo>
                    <a:pt x="114" y="1691"/>
                  </a:lnTo>
                  <a:lnTo>
                    <a:pt x="106" y="1699"/>
                  </a:lnTo>
                  <a:lnTo>
                    <a:pt x="96" y="1703"/>
                  </a:lnTo>
                  <a:lnTo>
                    <a:pt x="89" y="1701"/>
                  </a:lnTo>
                  <a:lnTo>
                    <a:pt x="83" y="1695"/>
                  </a:lnTo>
                  <a:lnTo>
                    <a:pt x="77" y="1687"/>
                  </a:lnTo>
                  <a:lnTo>
                    <a:pt x="69" y="1679"/>
                  </a:lnTo>
                  <a:lnTo>
                    <a:pt x="63" y="1673"/>
                  </a:lnTo>
                  <a:lnTo>
                    <a:pt x="53" y="1675"/>
                  </a:lnTo>
                  <a:lnTo>
                    <a:pt x="41" y="1685"/>
                  </a:lnTo>
                  <a:lnTo>
                    <a:pt x="26" y="1699"/>
                  </a:lnTo>
                  <a:lnTo>
                    <a:pt x="12" y="1708"/>
                  </a:lnTo>
                  <a:lnTo>
                    <a:pt x="4" y="1712"/>
                  </a:lnTo>
                  <a:lnTo>
                    <a:pt x="0" y="1716"/>
                  </a:lnTo>
                  <a:lnTo>
                    <a:pt x="6" y="1720"/>
                  </a:lnTo>
                  <a:lnTo>
                    <a:pt x="20" y="1724"/>
                  </a:lnTo>
                  <a:lnTo>
                    <a:pt x="41" y="1728"/>
                  </a:lnTo>
                  <a:lnTo>
                    <a:pt x="65" y="1734"/>
                  </a:lnTo>
                  <a:lnTo>
                    <a:pt x="89" y="1740"/>
                  </a:lnTo>
                  <a:lnTo>
                    <a:pt x="110" y="1746"/>
                  </a:lnTo>
                  <a:lnTo>
                    <a:pt x="126" y="1754"/>
                  </a:lnTo>
                  <a:lnTo>
                    <a:pt x="136" y="1764"/>
                  </a:lnTo>
                  <a:lnTo>
                    <a:pt x="140" y="1771"/>
                  </a:lnTo>
                  <a:lnTo>
                    <a:pt x="150" y="1779"/>
                  </a:lnTo>
                  <a:lnTo>
                    <a:pt x="159" y="1785"/>
                  </a:lnTo>
                  <a:lnTo>
                    <a:pt x="169" y="1795"/>
                  </a:lnTo>
                  <a:lnTo>
                    <a:pt x="177" y="1807"/>
                  </a:lnTo>
                  <a:lnTo>
                    <a:pt x="185" y="1825"/>
                  </a:lnTo>
                  <a:lnTo>
                    <a:pt x="187" y="1848"/>
                  </a:lnTo>
                  <a:lnTo>
                    <a:pt x="185" y="1870"/>
                  </a:lnTo>
                  <a:lnTo>
                    <a:pt x="179" y="1888"/>
                  </a:lnTo>
                  <a:lnTo>
                    <a:pt x="175" y="1905"/>
                  </a:lnTo>
                  <a:lnTo>
                    <a:pt x="177" y="1921"/>
                  </a:lnTo>
                  <a:lnTo>
                    <a:pt x="185" y="1941"/>
                  </a:lnTo>
                  <a:lnTo>
                    <a:pt x="195" y="1960"/>
                  </a:lnTo>
                  <a:lnTo>
                    <a:pt x="207" y="1978"/>
                  </a:lnTo>
                  <a:lnTo>
                    <a:pt x="218" y="1986"/>
                  </a:lnTo>
                  <a:lnTo>
                    <a:pt x="232" y="1990"/>
                  </a:lnTo>
                  <a:lnTo>
                    <a:pt x="246" y="1994"/>
                  </a:lnTo>
                  <a:lnTo>
                    <a:pt x="260" y="2002"/>
                  </a:lnTo>
                  <a:lnTo>
                    <a:pt x="270" y="2014"/>
                  </a:lnTo>
                  <a:lnTo>
                    <a:pt x="281" y="2029"/>
                  </a:lnTo>
                  <a:lnTo>
                    <a:pt x="299" y="2045"/>
                  </a:lnTo>
                  <a:lnTo>
                    <a:pt x="327" y="2057"/>
                  </a:lnTo>
                  <a:lnTo>
                    <a:pt x="352" y="2067"/>
                  </a:lnTo>
                  <a:lnTo>
                    <a:pt x="378" y="2076"/>
                  </a:lnTo>
                  <a:lnTo>
                    <a:pt x="402" y="2082"/>
                  </a:lnTo>
                  <a:lnTo>
                    <a:pt x="421" y="2086"/>
                  </a:lnTo>
                  <a:lnTo>
                    <a:pt x="435" y="2084"/>
                  </a:lnTo>
                  <a:lnTo>
                    <a:pt x="457" y="2078"/>
                  </a:lnTo>
                  <a:lnTo>
                    <a:pt x="484" y="2073"/>
                  </a:lnTo>
                  <a:lnTo>
                    <a:pt x="514" y="2065"/>
                  </a:lnTo>
                  <a:lnTo>
                    <a:pt x="543" y="2059"/>
                  </a:lnTo>
                  <a:lnTo>
                    <a:pt x="569" y="2057"/>
                  </a:lnTo>
                  <a:lnTo>
                    <a:pt x="589" y="2057"/>
                  </a:lnTo>
                  <a:lnTo>
                    <a:pt x="608" y="2065"/>
                  </a:lnTo>
                  <a:lnTo>
                    <a:pt x="626" y="2078"/>
                  </a:lnTo>
                  <a:lnTo>
                    <a:pt x="642" y="2096"/>
                  </a:lnTo>
                  <a:lnTo>
                    <a:pt x="661" y="2116"/>
                  </a:lnTo>
                  <a:lnTo>
                    <a:pt x="687" y="2134"/>
                  </a:lnTo>
                  <a:lnTo>
                    <a:pt x="711" y="2149"/>
                  </a:lnTo>
                  <a:lnTo>
                    <a:pt x="726" y="2161"/>
                  </a:lnTo>
                  <a:lnTo>
                    <a:pt x="738" y="2171"/>
                  </a:lnTo>
                  <a:lnTo>
                    <a:pt x="742" y="2177"/>
                  </a:lnTo>
                  <a:lnTo>
                    <a:pt x="744" y="2179"/>
                  </a:lnTo>
                  <a:lnTo>
                    <a:pt x="856" y="2218"/>
                  </a:lnTo>
                  <a:lnTo>
                    <a:pt x="892" y="2242"/>
                  </a:lnTo>
                  <a:lnTo>
                    <a:pt x="949" y="2236"/>
                  </a:lnTo>
                  <a:lnTo>
                    <a:pt x="986" y="2191"/>
                  </a:lnTo>
                  <a:lnTo>
                    <a:pt x="1035" y="2199"/>
                  </a:lnTo>
                  <a:lnTo>
                    <a:pt x="1152" y="2222"/>
                  </a:lnTo>
                  <a:lnTo>
                    <a:pt x="1201" y="2261"/>
                  </a:lnTo>
                  <a:lnTo>
                    <a:pt x="1256" y="2273"/>
                  </a:lnTo>
                  <a:lnTo>
                    <a:pt x="1392" y="2236"/>
                  </a:lnTo>
                  <a:lnTo>
                    <a:pt x="1431" y="2260"/>
                  </a:lnTo>
                  <a:lnTo>
                    <a:pt x="1539" y="2189"/>
                  </a:lnTo>
                  <a:lnTo>
                    <a:pt x="1657" y="2187"/>
                  </a:lnTo>
                  <a:lnTo>
                    <a:pt x="1726" y="2155"/>
                  </a:lnTo>
                  <a:lnTo>
                    <a:pt x="1821" y="2167"/>
                  </a:lnTo>
                  <a:lnTo>
                    <a:pt x="1935" y="2242"/>
                  </a:lnTo>
                  <a:lnTo>
                    <a:pt x="2026" y="2230"/>
                  </a:lnTo>
                  <a:lnTo>
                    <a:pt x="2088" y="2265"/>
                  </a:lnTo>
                  <a:lnTo>
                    <a:pt x="2193" y="2230"/>
                  </a:lnTo>
                  <a:lnTo>
                    <a:pt x="2155" y="2197"/>
                  </a:lnTo>
                  <a:lnTo>
                    <a:pt x="2161" y="2147"/>
                  </a:lnTo>
                  <a:lnTo>
                    <a:pt x="2214" y="2128"/>
                  </a:lnTo>
                  <a:lnTo>
                    <a:pt x="2242" y="2063"/>
                  </a:lnTo>
                  <a:lnTo>
                    <a:pt x="2124" y="1970"/>
                  </a:lnTo>
                  <a:lnTo>
                    <a:pt x="2128" y="1890"/>
                  </a:lnTo>
                  <a:lnTo>
                    <a:pt x="2199" y="1850"/>
                  </a:lnTo>
                  <a:lnTo>
                    <a:pt x="2337" y="1834"/>
                  </a:lnTo>
                  <a:lnTo>
                    <a:pt x="2484" y="1797"/>
                  </a:lnTo>
                  <a:lnTo>
                    <a:pt x="2545" y="1764"/>
                  </a:lnTo>
                  <a:lnTo>
                    <a:pt x="2624" y="1777"/>
                  </a:lnTo>
                  <a:lnTo>
                    <a:pt x="2592" y="1514"/>
                  </a:lnTo>
                  <a:lnTo>
                    <a:pt x="2673" y="1466"/>
                  </a:lnTo>
                  <a:lnTo>
                    <a:pt x="2752" y="1388"/>
                  </a:lnTo>
                  <a:lnTo>
                    <a:pt x="2856" y="1356"/>
                  </a:lnTo>
                  <a:lnTo>
                    <a:pt x="2939" y="1329"/>
                  </a:lnTo>
                  <a:lnTo>
                    <a:pt x="2966" y="1299"/>
                  </a:lnTo>
                  <a:lnTo>
                    <a:pt x="2957" y="1258"/>
                  </a:lnTo>
                  <a:lnTo>
                    <a:pt x="2990" y="1207"/>
                  </a:lnTo>
                  <a:lnTo>
                    <a:pt x="2988" y="1205"/>
                  </a:lnTo>
                  <a:lnTo>
                    <a:pt x="2982" y="1195"/>
                  </a:lnTo>
                  <a:lnTo>
                    <a:pt x="2972" y="1183"/>
                  </a:lnTo>
                  <a:lnTo>
                    <a:pt x="2961" y="1167"/>
                  </a:lnTo>
                  <a:lnTo>
                    <a:pt x="2949" y="1149"/>
                  </a:lnTo>
                  <a:lnTo>
                    <a:pt x="2937" y="1134"/>
                  </a:lnTo>
                  <a:lnTo>
                    <a:pt x="2929" y="1116"/>
                  </a:lnTo>
                  <a:lnTo>
                    <a:pt x="2923" y="1102"/>
                  </a:lnTo>
                  <a:lnTo>
                    <a:pt x="2915" y="1079"/>
                  </a:lnTo>
                  <a:lnTo>
                    <a:pt x="2905" y="1053"/>
                  </a:lnTo>
                  <a:lnTo>
                    <a:pt x="2898" y="1025"/>
                  </a:lnTo>
                  <a:lnTo>
                    <a:pt x="2888" y="1000"/>
                  </a:lnTo>
                  <a:lnTo>
                    <a:pt x="2880" y="982"/>
                  </a:lnTo>
                  <a:lnTo>
                    <a:pt x="2872" y="957"/>
                  </a:lnTo>
                  <a:lnTo>
                    <a:pt x="2870" y="941"/>
                  </a:lnTo>
                  <a:lnTo>
                    <a:pt x="2870" y="935"/>
                  </a:lnTo>
                  <a:lnTo>
                    <a:pt x="2864" y="933"/>
                  </a:lnTo>
                  <a:lnTo>
                    <a:pt x="2850" y="933"/>
                  </a:lnTo>
                  <a:lnTo>
                    <a:pt x="2829" y="929"/>
                  </a:lnTo>
                  <a:lnTo>
                    <a:pt x="2805" y="923"/>
                  </a:lnTo>
                  <a:lnTo>
                    <a:pt x="2781" y="913"/>
                  </a:lnTo>
                  <a:lnTo>
                    <a:pt x="2760" y="898"/>
                  </a:lnTo>
                  <a:lnTo>
                    <a:pt x="2734" y="874"/>
                  </a:lnTo>
                  <a:lnTo>
                    <a:pt x="2709" y="854"/>
                  </a:lnTo>
                  <a:lnTo>
                    <a:pt x="2687" y="837"/>
                  </a:lnTo>
                  <a:lnTo>
                    <a:pt x="2665" y="819"/>
                  </a:lnTo>
                  <a:lnTo>
                    <a:pt x="2648" y="809"/>
                  </a:lnTo>
                  <a:lnTo>
                    <a:pt x="2622" y="803"/>
                  </a:lnTo>
                  <a:lnTo>
                    <a:pt x="2590" y="801"/>
                  </a:lnTo>
                  <a:lnTo>
                    <a:pt x="2557" y="797"/>
                  </a:lnTo>
                  <a:lnTo>
                    <a:pt x="2524" y="795"/>
                  </a:lnTo>
                  <a:lnTo>
                    <a:pt x="2494" y="789"/>
                  </a:lnTo>
                  <a:lnTo>
                    <a:pt x="2468" y="781"/>
                  </a:lnTo>
                  <a:lnTo>
                    <a:pt x="2443" y="770"/>
                  </a:lnTo>
                  <a:lnTo>
                    <a:pt x="2417" y="760"/>
                  </a:lnTo>
                  <a:lnTo>
                    <a:pt x="2396" y="752"/>
                  </a:lnTo>
                  <a:lnTo>
                    <a:pt x="2378" y="746"/>
                  </a:lnTo>
                  <a:lnTo>
                    <a:pt x="2366" y="742"/>
                  </a:lnTo>
                  <a:lnTo>
                    <a:pt x="2360" y="740"/>
                  </a:lnTo>
                  <a:lnTo>
                    <a:pt x="2356" y="738"/>
                  </a:lnTo>
                  <a:lnTo>
                    <a:pt x="2348" y="730"/>
                  </a:lnTo>
                  <a:lnTo>
                    <a:pt x="2337" y="720"/>
                  </a:lnTo>
                  <a:lnTo>
                    <a:pt x="2325" y="709"/>
                  </a:lnTo>
                  <a:lnTo>
                    <a:pt x="2315" y="695"/>
                  </a:lnTo>
                  <a:lnTo>
                    <a:pt x="2309" y="683"/>
                  </a:lnTo>
                  <a:lnTo>
                    <a:pt x="2311" y="669"/>
                  </a:lnTo>
                  <a:lnTo>
                    <a:pt x="2321" y="655"/>
                  </a:lnTo>
                  <a:lnTo>
                    <a:pt x="2333" y="646"/>
                  </a:lnTo>
                  <a:lnTo>
                    <a:pt x="2348" y="634"/>
                  </a:lnTo>
                  <a:lnTo>
                    <a:pt x="2360" y="622"/>
                  </a:lnTo>
                  <a:lnTo>
                    <a:pt x="2372" y="610"/>
                  </a:lnTo>
                  <a:lnTo>
                    <a:pt x="2376" y="592"/>
                  </a:lnTo>
                  <a:lnTo>
                    <a:pt x="2378" y="569"/>
                  </a:lnTo>
                  <a:lnTo>
                    <a:pt x="2378" y="547"/>
                  </a:lnTo>
                  <a:lnTo>
                    <a:pt x="2380" y="528"/>
                  </a:lnTo>
                  <a:lnTo>
                    <a:pt x="2390" y="506"/>
                  </a:lnTo>
                  <a:lnTo>
                    <a:pt x="2396" y="490"/>
                  </a:lnTo>
                  <a:lnTo>
                    <a:pt x="2396" y="474"/>
                  </a:lnTo>
                  <a:lnTo>
                    <a:pt x="2390" y="459"/>
                  </a:lnTo>
                  <a:lnTo>
                    <a:pt x="2382" y="445"/>
                  </a:lnTo>
                  <a:lnTo>
                    <a:pt x="2374" y="433"/>
                  </a:lnTo>
                  <a:lnTo>
                    <a:pt x="2358" y="407"/>
                  </a:lnTo>
                  <a:lnTo>
                    <a:pt x="2342" y="378"/>
                  </a:lnTo>
                  <a:lnTo>
                    <a:pt x="2335" y="344"/>
                  </a:lnTo>
                  <a:lnTo>
                    <a:pt x="2329" y="321"/>
                  </a:lnTo>
                  <a:lnTo>
                    <a:pt x="2319" y="303"/>
                  </a:lnTo>
                  <a:lnTo>
                    <a:pt x="2307" y="287"/>
                  </a:lnTo>
                  <a:lnTo>
                    <a:pt x="2295" y="276"/>
                  </a:lnTo>
                  <a:lnTo>
                    <a:pt x="2285" y="270"/>
                  </a:lnTo>
                  <a:lnTo>
                    <a:pt x="2276" y="266"/>
                  </a:lnTo>
                  <a:lnTo>
                    <a:pt x="2264" y="266"/>
                  </a:lnTo>
                  <a:lnTo>
                    <a:pt x="2256" y="262"/>
                  </a:lnTo>
                  <a:lnTo>
                    <a:pt x="2248" y="254"/>
                  </a:lnTo>
                  <a:lnTo>
                    <a:pt x="2238" y="248"/>
                  </a:lnTo>
                  <a:lnTo>
                    <a:pt x="2224" y="246"/>
                  </a:lnTo>
                  <a:lnTo>
                    <a:pt x="2209" y="248"/>
                  </a:lnTo>
                  <a:lnTo>
                    <a:pt x="2191" y="248"/>
                  </a:lnTo>
                  <a:lnTo>
                    <a:pt x="2177" y="246"/>
                  </a:lnTo>
                  <a:lnTo>
                    <a:pt x="2169" y="238"/>
                  </a:lnTo>
                  <a:lnTo>
                    <a:pt x="2159" y="221"/>
                  </a:lnTo>
                  <a:lnTo>
                    <a:pt x="2150" y="197"/>
                  </a:lnTo>
                  <a:lnTo>
                    <a:pt x="2136" y="173"/>
                  </a:lnTo>
                  <a:lnTo>
                    <a:pt x="2120" y="156"/>
                  </a:lnTo>
                  <a:lnTo>
                    <a:pt x="2106" y="144"/>
                  </a:lnTo>
                  <a:lnTo>
                    <a:pt x="2092" y="136"/>
                  </a:lnTo>
                  <a:lnTo>
                    <a:pt x="2083" y="128"/>
                  </a:lnTo>
                  <a:lnTo>
                    <a:pt x="2077" y="118"/>
                  </a:lnTo>
                  <a:lnTo>
                    <a:pt x="2075" y="104"/>
                  </a:lnTo>
                  <a:lnTo>
                    <a:pt x="2071" y="87"/>
                  </a:lnTo>
                  <a:lnTo>
                    <a:pt x="2061" y="73"/>
                  </a:lnTo>
                  <a:lnTo>
                    <a:pt x="2053" y="63"/>
                  </a:lnTo>
                  <a:lnTo>
                    <a:pt x="2051" y="53"/>
                  </a:lnTo>
                  <a:lnTo>
                    <a:pt x="2057" y="41"/>
                  </a:lnTo>
                  <a:lnTo>
                    <a:pt x="2065" y="32"/>
                  </a:lnTo>
                  <a:lnTo>
                    <a:pt x="2071" y="20"/>
                  </a:lnTo>
                  <a:lnTo>
                    <a:pt x="2073" y="14"/>
                  </a:lnTo>
                  <a:lnTo>
                    <a:pt x="2063" y="8"/>
                  </a:lnTo>
                  <a:lnTo>
                    <a:pt x="2045" y="4"/>
                  </a:lnTo>
                  <a:lnTo>
                    <a:pt x="2020" y="2"/>
                  </a:lnTo>
                  <a:lnTo>
                    <a:pt x="1994" y="0"/>
                  </a:lnTo>
                  <a:lnTo>
                    <a:pt x="1970" y="0"/>
                  </a:lnTo>
                  <a:lnTo>
                    <a:pt x="1955" y="6"/>
                  </a:lnTo>
                  <a:lnTo>
                    <a:pt x="1945" y="14"/>
                  </a:lnTo>
                  <a:lnTo>
                    <a:pt x="1941" y="30"/>
                  </a:lnTo>
                  <a:lnTo>
                    <a:pt x="1937" y="45"/>
                  </a:lnTo>
                  <a:lnTo>
                    <a:pt x="1933" y="61"/>
                  </a:lnTo>
                  <a:lnTo>
                    <a:pt x="1927" y="75"/>
                  </a:lnTo>
                  <a:lnTo>
                    <a:pt x="1915" y="85"/>
                  </a:lnTo>
                  <a:lnTo>
                    <a:pt x="1898" y="87"/>
                  </a:lnTo>
                  <a:lnTo>
                    <a:pt x="1878" y="91"/>
                  </a:lnTo>
                  <a:lnTo>
                    <a:pt x="1858" y="93"/>
                  </a:lnTo>
                  <a:lnTo>
                    <a:pt x="1840" y="95"/>
                  </a:lnTo>
                  <a:lnTo>
                    <a:pt x="1823" y="102"/>
                  </a:lnTo>
                  <a:lnTo>
                    <a:pt x="1809" y="116"/>
                  </a:lnTo>
                  <a:lnTo>
                    <a:pt x="1797" y="140"/>
                  </a:lnTo>
                  <a:lnTo>
                    <a:pt x="1785" y="169"/>
                  </a:lnTo>
                  <a:lnTo>
                    <a:pt x="1777" y="203"/>
                  </a:lnTo>
                  <a:lnTo>
                    <a:pt x="1774" y="236"/>
                  </a:lnTo>
                  <a:lnTo>
                    <a:pt x="1770" y="262"/>
                  </a:lnTo>
                  <a:lnTo>
                    <a:pt x="1768" y="283"/>
                  </a:lnTo>
                  <a:lnTo>
                    <a:pt x="1762" y="303"/>
                  </a:lnTo>
                  <a:lnTo>
                    <a:pt x="1754" y="319"/>
                  </a:lnTo>
                  <a:lnTo>
                    <a:pt x="1740" y="329"/>
                  </a:lnTo>
                  <a:lnTo>
                    <a:pt x="1722" y="337"/>
                  </a:lnTo>
                  <a:lnTo>
                    <a:pt x="1703" y="341"/>
                  </a:lnTo>
                  <a:lnTo>
                    <a:pt x="1685" y="346"/>
                  </a:lnTo>
                  <a:lnTo>
                    <a:pt x="1669" y="350"/>
                  </a:lnTo>
                  <a:lnTo>
                    <a:pt x="1655" y="348"/>
                  </a:lnTo>
                  <a:lnTo>
                    <a:pt x="1644" y="341"/>
                  </a:lnTo>
                  <a:lnTo>
                    <a:pt x="1634" y="333"/>
                  </a:lnTo>
                  <a:lnTo>
                    <a:pt x="1618" y="331"/>
                  </a:lnTo>
                  <a:lnTo>
                    <a:pt x="1600" y="331"/>
                  </a:lnTo>
                  <a:lnTo>
                    <a:pt x="1581" y="329"/>
                  </a:lnTo>
                  <a:lnTo>
                    <a:pt x="1563" y="325"/>
                  </a:lnTo>
                  <a:lnTo>
                    <a:pt x="1549" y="315"/>
                  </a:lnTo>
                  <a:lnTo>
                    <a:pt x="1537" y="303"/>
                  </a:lnTo>
                  <a:lnTo>
                    <a:pt x="1524" y="289"/>
                  </a:lnTo>
                  <a:lnTo>
                    <a:pt x="1508" y="276"/>
                  </a:lnTo>
                  <a:lnTo>
                    <a:pt x="1494" y="266"/>
                  </a:lnTo>
                  <a:lnTo>
                    <a:pt x="1480" y="260"/>
                  </a:lnTo>
                  <a:lnTo>
                    <a:pt x="1468" y="260"/>
                  </a:lnTo>
                  <a:lnTo>
                    <a:pt x="1461" y="268"/>
                  </a:lnTo>
                  <a:lnTo>
                    <a:pt x="1449" y="287"/>
                  </a:lnTo>
                  <a:lnTo>
                    <a:pt x="1435" y="311"/>
                  </a:lnTo>
                  <a:lnTo>
                    <a:pt x="1417" y="341"/>
                  </a:lnTo>
                  <a:lnTo>
                    <a:pt x="1400" y="372"/>
                  </a:lnTo>
                  <a:lnTo>
                    <a:pt x="1382" y="407"/>
                  </a:lnTo>
                  <a:lnTo>
                    <a:pt x="1366" y="439"/>
                  </a:lnTo>
                  <a:lnTo>
                    <a:pt x="1348" y="467"/>
                  </a:lnTo>
                  <a:lnTo>
                    <a:pt x="1335" y="488"/>
                  </a:lnTo>
                  <a:lnTo>
                    <a:pt x="1327" y="506"/>
                  </a:lnTo>
                  <a:lnTo>
                    <a:pt x="1327" y="522"/>
                  </a:lnTo>
                  <a:lnTo>
                    <a:pt x="1335" y="533"/>
                  </a:lnTo>
                  <a:lnTo>
                    <a:pt x="1344" y="541"/>
                  </a:lnTo>
                  <a:lnTo>
                    <a:pt x="1358" y="549"/>
                  </a:lnTo>
                  <a:lnTo>
                    <a:pt x="1370" y="555"/>
                  </a:lnTo>
                  <a:lnTo>
                    <a:pt x="1376" y="563"/>
                  </a:lnTo>
                  <a:lnTo>
                    <a:pt x="1374" y="569"/>
                  </a:lnTo>
                  <a:lnTo>
                    <a:pt x="1362" y="575"/>
                  </a:lnTo>
                  <a:lnTo>
                    <a:pt x="1348" y="577"/>
                  </a:lnTo>
                  <a:lnTo>
                    <a:pt x="1331" y="577"/>
                  </a:lnTo>
                  <a:lnTo>
                    <a:pt x="1313" y="577"/>
                  </a:lnTo>
                  <a:lnTo>
                    <a:pt x="1297" y="577"/>
                  </a:lnTo>
                  <a:lnTo>
                    <a:pt x="1285" y="577"/>
                  </a:lnTo>
                  <a:lnTo>
                    <a:pt x="1274" y="571"/>
                  </a:lnTo>
                  <a:lnTo>
                    <a:pt x="1264" y="561"/>
                  </a:lnTo>
                  <a:lnTo>
                    <a:pt x="1252" y="551"/>
                  </a:lnTo>
                  <a:lnTo>
                    <a:pt x="1238" y="543"/>
                  </a:lnTo>
                  <a:lnTo>
                    <a:pt x="1222" y="541"/>
                  </a:lnTo>
                  <a:lnTo>
                    <a:pt x="1201" y="543"/>
                  </a:lnTo>
                  <a:lnTo>
                    <a:pt x="1177" y="547"/>
                  </a:lnTo>
                  <a:lnTo>
                    <a:pt x="1153" y="551"/>
                  </a:lnTo>
                  <a:lnTo>
                    <a:pt x="1126" y="553"/>
                  </a:lnTo>
                  <a:lnTo>
                    <a:pt x="1100" y="553"/>
                  </a:lnTo>
                  <a:lnTo>
                    <a:pt x="1079" y="551"/>
                  </a:lnTo>
                  <a:lnTo>
                    <a:pt x="1059" y="551"/>
                  </a:lnTo>
                  <a:lnTo>
                    <a:pt x="1039" y="553"/>
                  </a:lnTo>
                  <a:lnTo>
                    <a:pt x="1026" y="555"/>
                  </a:lnTo>
                  <a:lnTo>
                    <a:pt x="1014" y="561"/>
                  </a:lnTo>
                  <a:lnTo>
                    <a:pt x="1010" y="567"/>
                  </a:lnTo>
                  <a:lnTo>
                    <a:pt x="1014" y="577"/>
                  </a:lnTo>
                  <a:lnTo>
                    <a:pt x="1024" y="585"/>
                  </a:lnTo>
                  <a:lnTo>
                    <a:pt x="1035" y="589"/>
                  </a:lnTo>
                  <a:lnTo>
                    <a:pt x="1049" y="592"/>
                  </a:lnTo>
                  <a:lnTo>
                    <a:pt x="1061" y="594"/>
                  </a:lnTo>
                  <a:lnTo>
                    <a:pt x="1073" y="598"/>
                  </a:lnTo>
                  <a:lnTo>
                    <a:pt x="1081" y="604"/>
                  </a:lnTo>
                  <a:lnTo>
                    <a:pt x="1085" y="616"/>
                  </a:lnTo>
                  <a:lnTo>
                    <a:pt x="1081" y="632"/>
                  </a:lnTo>
                  <a:lnTo>
                    <a:pt x="1069" y="655"/>
                  </a:lnTo>
                  <a:lnTo>
                    <a:pt x="1057" y="677"/>
                  </a:lnTo>
                  <a:lnTo>
                    <a:pt x="1047" y="695"/>
                  </a:lnTo>
                  <a:lnTo>
                    <a:pt x="1041" y="715"/>
                  </a:lnTo>
                  <a:lnTo>
                    <a:pt x="1039" y="736"/>
                  </a:lnTo>
                  <a:lnTo>
                    <a:pt x="1045" y="762"/>
                  </a:lnTo>
                  <a:lnTo>
                    <a:pt x="1057" y="799"/>
                  </a:lnTo>
                  <a:lnTo>
                    <a:pt x="1061" y="833"/>
                  </a:lnTo>
                  <a:lnTo>
                    <a:pt x="1059" y="860"/>
                  </a:lnTo>
                  <a:lnTo>
                    <a:pt x="1051" y="882"/>
                  </a:lnTo>
                  <a:lnTo>
                    <a:pt x="1039" y="894"/>
                  </a:lnTo>
                  <a:lnTo>
                    <a:pt x="1024" y="905"/>
                  </a:lnTo>
                  <a:lnTo>
                    <a:pt x="1004" y="915"/>
                  </a:lnTo>
                  <a:lnTo>
                    <a:pt x="986" y="927"/>
                  </a:lnTo>
                  <a:lnTo>
                    <a:pt x="972" y="939"/>
                  </a:lnTo>
                  <a:lnTo>
                    <a:pt x="966" y="953"/>
                  </a:lnTo>
                  <a:lnTo>
                    <a:pt x="966" y="968"/>
                  </a:lnTo>
                  <a:lnTo>
                    <a:pt x="966" y="988"/>
                  </a:lnTo>
                  <a:lnTo>
                    <a:pt x="966" y="1010"/>
                  </a:lnTo>
                  <a:lnTo>
                    <a:pt x="965" y="1031"/>
                  </a:lnTo>
                  <a:lnTo>
                    <a:pt x="961" y="1049"/>
                  </a:lnTo>
                  <a:lnTo>
                    <a:pt x="953" y="1063"/>
                  </a:lnTo>
                  <a:lnTo>
                    <a:pt x="941" y="1069"/>
                  </a:lnTo>
                  <a:lnTo>
                    <a:pt x="921" y="1071"/>
                  </a:lnTo>
                  <a:lnTo>
                    <a:pt x="892" y="1075"/>
                  </a:lnTo>
                  <a:lnTo>
                    <a:pt x="858" y="1079"/>
                  </a:lnTo>
                  <a:lnTo>
                    <a:pt x="821" y="1085"/>
                  </a:lnTo>
                  <a:lnTo>
                    <a:pt x="783" y="1092"/>
                  </a:lnTo>
                  <a:lnTo>
                    <a:pt x="752" y="1100"/>
                  </a:lnTo>
                  <a:lnTo>
                    <a:pt x="728" y="1110"/>
                  </a:lnTo>
                  <a:lnTo>
                    <a:pt x="705" y="1124"/>
                  </a:lnTo>
                  <a:lnTo>
                    <a:pt x="685" y="1138"/>
                  </a:lnTo>
                  <a:lnTo>
                    <a:pt x="671" y="1151"/>
                  </a:lnTo>
                  <a:lnTo>
                    <a:pt x="655" y="1159"/>
                  </a:lnTo>
                  <a:lnTo>
                    <a:pt x="642" y="1163"/>
                  </a:lnTo>
                  <a:lnTo>
                    <a:pt x="628" y="1159"/>
                  </a:lnTo>
                  <a:lnTo>
                    <a:pt x="606" y="1153"/>
                  </a:lnTo>
                  <a:lnTo>
                    <a:pt x="585" y="1146"/>
                  </a:lnTo>
                  <a:lnTo>
                    <a:pt x="559" y="1138"/>
                  </a:lnTo>
                  <a:lnTo>
                    <a:pt x="535" y="1132"/>
                  </a:lnTo>
                  <a:lnTo>
                    <a:pt x="516" y="1130"/>
                  </a:lnTo>
                  <a:lnTo>
                    <a:pt x="500" y="1132"/>
                  </a:lnTo>
                  <a:lnTo>
                    <a:pt x="486" y="1142"/>
                  </a:lnTo>
                  <a:lnTo>
                    <a:pt x="470" y="1157"/>
                  </a:lnTo>
                  <a:lnTo>
                    <a:pt x="457" y="1177"/>
                  </a:lnTo>
                  <a:lnTo>
                    <a:pt x="443" y="1197"/>
                  </a:lnTo>
                  <a:lnTo>
                    <a:pt x="427" y="1212"/>
                  </a:lnTo>
                  <a:lnTo>
                    <a:pt x="413" y="1220"/>
                  </a:lnTo>
                  <a:lnTo>
                    <a:pt x="390" y="1220"/>
                  </a:lnTo>
                  <a:lnTo>
                    <a:pt x="362" y="1216"/>
                  </a:lnTo>
                  <a:lnTo>
                    <a:pt x="339" y="1212"/>
                  </a:lnTo>
                  <a:lnTo>
                    <a:pt x="319" y="1210"/>
                  </a:lnTo>
                  <a:lnTo>
                    <a:pt x="313" y="1207"/>
                  </a:lnTo>
                  <a:lnTo>
                    <a:pt x="309" y="1199"/>
                  </a:lnTo>
                  <a:lnTo>
                    <a:pt x="309" y="1189"/>
                  </a:lnTo>
                  <a:lnTo>
                    <a:pt x="313" y="1177"/>
                  </a:lnTo>
                  <a:lnTo>
                    <a:pt x="315" y="1167"/>
                  </a:lnTo>
                  <a:lnTo>
                    <a:pt x="317" y="1159"/>
                  </a:lnTo>
                  <a:lnTo>
                    <a:pt x="319" y="1157"/>
                  </a:lnTo>
                  <a:lnTo>
                    <a:pt x="315" y="1157"/>
                  </a:lnTo>
                  <a:lnTo>
                    <a:pt x="303" y="1159"/>
                  </a:lnTo>
                  <a:lnTo>
                    <a:pt x="287" y="1161"/>
                  </a:lnTo>
                  <a:lnTo>
                    <a:pt x="268" y="1163"/>
                  </a:lnTo>
                  <a:lnTo>
                    <a:pt x="250" y="1165"/>
                  </a:lnTo>
                  <a:lnTo>
                    <a:pt x="234" y="1165"/>
                  </a:lnTo>
                  <a:lnTo>
                    <a:pt x="220" y="1165"/>
                  </a:lnTo>
                  <a:lnTo>
                    <a:pt x="211" y="1171"/>
                  </a:lnTo>
                  <a:lnTo>
                    <a:pt x="201" y="1177"/>
                  </a:lnTo>
                  <a:lnTo>
                    <a:pt x="189" y="1185"/>
                  </a:lnTo>
                  <a:lnTo>
                    <a:pt x="171" y="1191"/>
                  </a:lnTo>
                  <a:lnTo>
                    <a:pt x="154" y="1193"/>
                  </a:lnTo>
                  <a:lnTo>
                    <a:pt x="136" y="1193"/>
                  </a:lnTo>
                  <a:lnTo>
                    <a:pt x="116" y="1191"/>
                  </a:lnTo>
                  <a:lnTo>
                    <a:pt x="100" y="1191"/>
                  </a:lnTo>
                  <a:lnTo>
                    <a:pt x="87" y="1197"/>
                  </a:lnTo>
                  <a:lnTo>
                    <a:pt x="77" y="1210"/>
                  </a:lnTo>
                  <a:lnTo>
                    <a:pt x="69" y="1228"/>
                  </a:lnTo>
                  <a:lnTo>
                    <a:pt x="59" y="1246"/>
                  </a:lnTo>
                  <a:lnTo>
                    <a:pt x="49" y="1262"/>
                  </a:lnTo>
                  <a:lnTo>
                    <a:pt x="39" y="1275"/>
                  </a:lnTo>
                  <a:lnTo>
                    <a:pt x="33" y="1285"/>
                  </a:lnTo>
                  <a:lnTo>
                    <a:pt x="29" y="1289"/>
                  </a:lnTo>
                </a:path>
              </a:pathLst>
            </a:custGeom>
            <a:grpFill/>
            <a:ln w="6350">
              <a:solidFill>
                <a:schemeClr val="tx1">
                  <a:lumMod val="85000"/>
                  <a:lumOff val="15000"/>
                </a:schemeClr>
              </a:solidFill>
              <a:prstDash val="solid"/>
              <a:round/>
            </a:ln>
          </p:spPr>
          <p:txBody>
            <a:bodyPr/>
            <a:lstStyle/>
            <a:p>
              <a:endParaRPr lang="zh-CN" altLang="en-US" sz="2400"/>
            </a:p>
          </p:txBody>
        </p:sp>
        <p:sp>
          <p:nvSpPr>
            <p:cNvPr id="25" name="Freeform 69"/>
            <p:cNvSpPr/>
            <p:nvPr/>
          </p:nvSpPr>
          <p:spPr bwMode="gray">
            <a:xfrm>
              <a:off x="900" y="2373"/>
              <a:ext cx="1448" cy="781"/>
            </a:xfrm>
            <a:custGeom>
              <a:avLst/>
              <a:gdLst>
                <a:gd name="T0" fmla="*/ 682 w 2896"/>
                <a:gd name="T1" fmla="*/ 376 h 1563"/>
                <a:gd name="T2" fmla="*/ 665 w 2896"/>
                <a:gd name="T3" fmla="*/ 372 h 1563"/>
                <a:gd name="T4" fmla="*/ 658 w 2896"/>
                <a:gd name="T5" fmla="*/ 380 h 1563"/>
                <a:gd name="T6" fmla="*/ 653 w 2896"/>
                <a:gd name="T7" fmla="*/ 378 h 1563"/>
                <a:gd name="T8" fmla="*/ 623 w 2896"/>
                <a:gd name="T9" fmla="*/ 368 h 1563"/>
                <a:gd name="T10" fmla="*/ 626 w 2896"/>
                <a:gd name="T11" fmla="*/ 363 h 1563"/>
                <a:gd name="T12" fmla="*/ 630 w 2896"/>
                <a:gd name="T13" fmla="*/ 349 h 1563"/>
                <a:gd name="T14" fmla="*/ 616 w 2896"/>
                <a:gd name="T15" fmla="*/ 326 h 1563"/>
                <a:gd name="T16" fmla="*/ 604 w 2896"/>
                <a:gd name="T17" fmla="*/ 331 h 1563"/>
                <a:gd name="T18" fmla="*/ 589 w 2896"/>
                <a:gd name="T19" fmla="*/ 341 h 1563"/>
                <a:gd name="T20" fmla="*/ 568 w 2896"/>
                <a:gd name="T21" fmla="*/ 333 h 1563"/>
                <a:gd name="T22" fmla="*/ 557 w 2896"/>
                <a:gd name="T23" fmla="*/ 332 h 1563"/>
                <a:gd name="T24" fmla="*/ 536 w 2896"/>
                <a:gd name="T25" fmla="*/ 348 h 1563"/>
                <a:gd name="T26" fmla="*/ 511 w 2896"/>
                <a:gd name="T27" fmla="*/ 355 h 1563"/>
                <a:gd name="T28" fmla="*/ 491 w 2896"/>
                <a:gd name="T29" fmla="*/ 376 h 1563"/>
                <a:gd name="T30" fmla="*/ 459 w 2896"/>
                <a:gd name="T31" fmla="*/ 388 h 1563"/>
                <a:gd name="T32" fmla="*/ 442 w 2896"/>
                <a:gd name="T33" fmla="*/ 382 h 1563"/>
                <a:gd name="T34" fmla="*/ 431 w 2896"/>
                <a:gd name="T35" fmla="*/ 370 h 1563"/>
                <a:gd name="T36" fmla="*/ 400 w 2896"/>
                <a:gd name="T37" fmla="*/ 364 h 1563"/>
                <a:gd name="T38" fmla="*/ 389 w 2896"/>
                <a:gd name="T39" fmla="*/ 353 h 1563"/>
                <a:gd name="T40" fmla="*/ 364 w 2896"/>
                <a:gd name="T41" fmla="*/ 368 h 1563"/>
                <a:gd name="T42" fmla="*/ 348 w 2896"/>
                <a:gd name="T43" fmla="*/ 384 h 1563"/>
                <a:gd name="T44" fmla="*/ 335 w 2896"/>
                <a:gd name="T45" fmla="*/ 390 h 1563"/>
                <a:gd name="T46" fmla="*/ 339 w 2896"/>
                <a:gd name="T47" fmla="*/ 373 h 1563"/>
                <a:gd name="T48" fmla="*/ 331 w 2896"/>
                <a:gd name="T49" fmla="*/ 359 h 1563"/>
                <a:gd name="T50" fmla="*/ 302 w 2896"/>
                <a:gd name="T51" fmla="*/ 366 h 1563"/>
                <a:gd name="T52" fmla="*/ 264 w 2896"/>
                <a:gd name="T53" fmla="*/ 352 h 1563"/>
                <a:gd name="T54" fmla="*/ 246 w 2896"/>
                <a:gd name="T55" fmla="*/ 351 h 1563"/>
                <a:gd name="T56" fmla="*/ 221 w 2896"/>
                <a:gd name="T57" fmla="*/ 336 h 1563"/>
                <a:gd name="T58" fmla="*/ 200 w 2896"/>
                <a:gd name="T59" fmla="*/ 320 h 1563"/>
                <a:gd name="T60" fmla="*/ 178 w 2896"/>
                <a:gd name="T61" fmla="*/ 301 h 1563"/>
                <a:gd name="T62" fmla="*/ 171 w 2896"/>
                <a:gd name="T63" fmla="*/ 281 h 1563"/>
                <a:gd name="T64" fmla="*/ 158 w 2896"/>
                <a:gd name="T65" fmla="*/ 288 h 1563"/>
                <a:gd name="T66" fmla="*/ 142 w 2896"/>
                <a:gd name="T67" fmla="*/ 265 h 1563"/>
                <a:gd name="T68" fmla="*/ 109 w 2896"/>
                <a:gd name="T69" fmla="*/ 235 h 1563"/>
                <a:gd name="T70" fmla="*/ 89 w 2896"/>
                <a:gd name="T71" fmla="*/ 223 h 1563"/>
                <a:gd name="T72" fmla="*/ 74 w 2896"/>
                <a:gd name="T73" fmla="*/ 228 h 1563"/>
                <a:gd name="T74" fmla="*/ 46 w 2896"/>
                <a:gd name="T75" fmla="*/ 195 h 1563"/>
                <a:gd name="T76" fmla="*/ 19 w 2896"/>
                <a:gd name="T77" fmla="*/ 169 h 1563"/>
                <a:gd name="T78" fmla="*/ 10 w 2896"/>
                <a:gd name="T79" fmla="*/ 162 h 1563"/>
                <a:gd name="T80" fmla="*/ 0 w 2896"/>
                <a:gd name="T81" fmla="*/ 157 h 1563"/>
                <a:gd name="T82" fmla="*/ 3 w 2896"/>
                <a:gd name="T83" fmla="*/ 135 h 1563"/>
                <a:gd name="T84" fmla="*/ 1 w 2896"/>
                <a:gd name="T85" fmla="*/ 112 h 1563"/>
                <a:gd name="T86" fmla="*/ 11 w 2896"/>
                <a:gd name="T87" fmla="*/ 109 h 1563"/>
                <a:gd name="T88" fmla="*/ 22 w 2896"/>
                <a:gd name="T89" fmla="*/ 118 h 1563"/>
                <a:gd name="T90" fmla="*/ 38 w 2896"/>
                <a:gd name="T91" fmla="*/ 112 h 1563"/>
                <a:gd name="T92" fmla="*/ 43 w 2896"/>
                <a:gd name="T93" fmla="*/ 90 h 1563"/>
                <a:gd name="T94" fmla="*/ 25 w 2896"/>
                <a:gd name="T95" fmla="*/ 76 h 1563"/>
                <a:gd name="T96" fmla="*/ 29 w 2896"/>
                <a:gd name="T97" fmla="*/ 51 h 1563"/>
                <a:gd name="T98" fmla="*/ 39 w 2896"/>
                <a:gd name="T99" fmla="*/ 36 h 1563"/>
                <a:gd name="T100" fmla="*/ 71 w 2896"/>
                <a:gd name="T101" fmla="*/ 26 h 1563"/>
                <a:gd name="T102" fmla="*/ 148 w 2896"/>
                <a:gd name="T103" fmla="*/ 20 h 1563"/>
                <a:gd name="T104" fmla="*/ 258 w 2896"/>
                <a:gd name="T105" fmla="*/ 20 h 1563"/>
                <a:gd name="T106" fmla="*/ 365 w 2896"/>
                <a:gd name="T107" fmla="*/ 3 h 1563"/>
                <a:gd name="T108" fmla="*/ 417 w 2896"/>
                <a:gd name="T109" fmla="*/ 39 h 1563"/>
                <a:gd name="T110" fmla="*/ 399 w 2896"/>
                <a:gd name="T111" fmla="*/ 107 h 1563"/>
                <a:gd name="T112" fmla="*/ 467 w 2896"/>
                <a:gd name="T113" fmla="*/ 166 h 1563"/>
                <a:gd name="T114" fmla="*/ 552 w 2896"/>
                <a:gd name="T115" fmla="*/ 189 h 1563"/>
                <a:gd name="T116" fmla="*/ 640 w 2896"/>
                <a:gd name="T117" fmla="*/ 234 h 1563"/>
                <a:gd name="T118" fmla="*/ 685 w 2896"/>
                <a:gd name="T119" fmla="*/ 200 h 1563"/>
                <a:gd name="T120" fmla="*/ 711 w 2896"/>
                <a:gd name="T121" fmla="*/ 258 h 1563"/>
                <a:gd name="T122" fmla="*/ 713 w 2896"/>
                <a:gd name="T123" fmla="*/ 353 h 1563"/>
                <a:gd name="T124" fmla="*/ 689 w 2896"/>
                <a:gd name="T125" fmla="*/ 384 h 15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96"/>
                <a:gd name="T190" fmla="*/ 0 h 1563"/>
                <a:gd name="T191" fmla="*/ 2896 w 2896"/>
                <a:gd name="T192" fmla="*/ 1563 h 156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96" h="1563">
                  <a:moveTo>
                    <a:pt x="2754" y="1539"/>
                  </a:moveTo>
                  <a:lnTo>
                    <a:pt x="2752" y="1535"/>
                  </a:lnTo>
                  <a:lnTo>
                    <a:pt x="2746" y="1528"/>
                  </a:lnTo>
                  <a:lnTo>
                    <a:pt x="2738" y="1516"/>
                  </a:lnTo>
                  <a:lnTo>
                    <a:pt x="2728" y="1504"/>
                  </a:lnTo>
                  <a:lnTo>
                    <a:pt x="2715" y="1496"/>
                  </a:lnTo>
                  <a:lnTo>
                    <a:pt x="2699" y="1490"/>
                  </a:lnTo>
                  <a:lnTo>
                    <a:pt x="2685" y="1486"/>
                  </a:lnTo>
                  <a:lnTo>
                    <a:pt x="2671" y="1486"/>
                  </a:lnTo>
                  <a:lnTo>
                    <a:pt x="2658" y="1490"/>
                  </a:lnTo>
                  <a:lnTo>
                    <a:pt x="2650" y="1500"/>
                  </a:lnTo>
                  <a:lnTo>
                    <a:pt x="2644" y="1510"/>
                  </a:lnTo>
                  <a:lnTo>
                    <a:pt x="2640" y="1516"/>
                  </a:lnTo>
                  <a:lnTo>
                    <a:pt x="2636" y="1520"/>
                  </a:lnTo>
                  <a:lnTo>
                    <a:pt x="2632" y="1522"/>
                  </a:lnTo>
                  <a:lnTo>
                    <a:pt x="2630" y="1524"/>
                  </a:lnTo>
                  <a:lnTo>
                    <a:pt x="2628" y="1524"/>
                  </a:lnTo>
                  <a:lnTo>
                    <a:pt x="2624" y="1522"/>
                  </a:lnTo>
                  <a:lnTo>
                    <a:pt x="2612" y="1514"/>
                  </a:lnTo>
                  <a:lnTo>
                    <a:pt x="2591" y="1504"/>
                  </a:lnTo>
                  <a:lnTo>
                    <a:pt x="2559" y="1492"/>
                  </a:lnTo>
                  <a:lnTo>
                    <a:pt x="2534" y="1486"/>
                  </a:lnTo>
                  <a:lnTo>
                    <a:pt x="2510" y="1480"/>
                  </a:lnTo>
                  <a:lnTo>
                    <a:pt x="2492" y="1474"/>
                  </a:lnTo>
                  <a:lnTo>
                    <a:pt x="2480" y="1472"/>
                  </a:lnTo>
                  <a:lnTo>
                    <a:pt x="2477" y="1472"/>
                  </a:lnTo>
                  <a:lnTo>
                    <a:pt x="2480" y="1468"/>
                  </a:lnTo>
                  <a:lnTo>
                    <a:pt x="2488" y="1463"/>
                  </a:lnTo>
                  <a:lnTo>
                    <a:pt x="2502" y="1453"/>
                  </a:lnTo>
                  <a:lnTo>
                    <a:pt x="2514" y="1443"/>
                  </a:lnTo>
                  <a:lnTo>
                    <a:pt x="2524" y="1431"/>
                  </a:lnTo>
                  <a:lnTo>
                    <a:pt x="2528" y="1421"/>
                  </a:lnTo>
                  <a:lnTo>
                    <a:pt x="2526" y="1411"/>
                  </a:lnTo>
                  <a:lnTo>
                    <a:pt x="2518" y="1396"/>
                  </a:lnTo>
                  <a:lnTo>
                    <a:pt x="2506" y="1376"/>
                  </a:lnTo>
                  <a:lnTo>
                    <a:pt x="2494" y="1356"/>
                  </a:lnTo>
                  <a:lnTo>
                    <a:pt x="2482" y="1337"/>
                  </a:lnTo>
                  <a:lnTo>
                    <a:pt x="2471" y="1319"/>
                  </a:lnTo>
                  <a:lnTo>
                    <a:pt x="2463" y="1307"/>
                  </a:lnTo>
                  <a:lnTo>
                    <a:pt x="2461" y="1303"/>
                  </a:lnTo>
                  <a:lnTo>
                    <a:pt x="2457" y="1305"/>
                  </a:lnTo>
                  <a:lnTo>
                    <a:pt x="2445" y="1309"/>
                  </a:lnTo>
                  <a:lnTo>
                    <a:pt x="2429" y="1317"/>
                  </a:lnTo>
                  <a:lnTo>
                    <a:pt x="2414" y="1325"/>
                  </a:lnTo>
                  <a:lnTo>
                    <a:pt x="2398" y="1333"/>
                  </a:lnTo>
                  <a:lnTo>
                    <a:pt x="2384" y="1341"/>
                  </a:lnTo>
                  <a:lnTo>
                    <a:pt x="2376" y="1348"/>
                  </a:lnTo>
                  <a:lnTo>
                    <a:pt x="2366" y="1358"/>
                  </a:lnTo>
                  <a:lnTo>
                    <a:pt x="2354" y="1366"/>
                  </a:lnTo>
                  <a:lnTo>
                    <a:pt x="2339" y="1366"/>
                  </a:lnTo>
                  <a:lnTo>
                    <a:pt x="2321" y="1362"/>
                  </a:lnTo>
                  <a:lnTo>
                    <a:pt x="2305" y="1354"/>
                  </a:lnTo>
                  <a:lnTo>
                    <a:pt x="2290" y="1344"/>
                  </a:lnTo>
                  <a:lnTo>
                    <a:pt x="2272" y="1335"/>
                  </a:lnTo>
                  <a:lnTo>
                    <a:pt x="2256" y="1327"/>
                  </a:lnTo>
                  <a:lnTo>
                    <a:pt x="2246" y="1321"/>
                  </a:lnTo>
                  <a:lnTo>
                    <a:pt x="2242" y="1319"/>
                  </a:lnTo>
                  <a:lnTo>
                    <a:pt x="2238" y="1323"/>
                  </a:lnTo>
                  <a:lnTo>
                    <a:pt x="2228" y="1331"/>
                  </a:lnTo>
                  <a:lnTo>
                    <a:pt x="2215" y="1342"/>
                  </a:lnTo>
                  <a:lnTo>
                    <a:pt x="2197" y="1354"/>
                  </a:lnTo>
                  <a:lnTo>
                    <a:pt x="2177" y="1370"/>
                  </a:lnTo>
                  <a:lnTo>
                    <a:pt x="2160" y="1382"/>
                  </a:lnTo>
                  <a:lnTo>
                    <a:pt x="2142" y="1394"/>
                  </a:lnTo>
                  <a:lnTo>
                    <a:pt x="2126" y="1402"/>
                  </a:lnTo>
                  <a:lnTo>
                    <a:pt x="2108" y="1405"/>
                  </a:lnTo>
                  <a:lnTo>
                    <a:pt x="2087" y="1411"/>
                  </a:lnTo>
                  <a:lnTo>
                    <a:pt x="2063" y="1415"/>
                  </a:lnTo>
                  <a:lnTo>
                    <a:pt x="2043" y="1423"/>
                  </a:lnTo>
                  <a:lnTo>
                    <a:pt x="2028" y="1431"/>
                  </a:lnTo>
                  <a:lnTo>
                    <a:pt x="2016" y="1445"/>
                  </a:lnTo>
                  <a:lnTo>
                    <a:pt x="2004" y="1465"/>
                  </a:lnTo>
                  <a:lnTo>
                    <a:pt x="1986" y="1486"/>
                  </a:lnTo>
                  <a:lnTo>
                    <a:pt x="1963" y="1506"/>
                  </a:lnTo>
                  <a:lnTo>
                    <a:pt x="1937" y="1522"/>
                  </a:lnTo>
                  <a:lnTo>
                    <a:pt x="1910" y="1531"/>
                  </a:lnTo>
                  <a:lnTo>
                    <a:pt x="1884" y="1539"/>
                  </a:lnTo>
                  <a:lnTo>
                    <a:pt x="1860" y="1547"/>
                  </a:lnTo>
                  <a:lnTo>
                    <a:pt x="1837" y="1555"/>
                  </a:lnTo>
                  <a:lnTo>
                    <a:pt x="1815" y="1561"/>
                  </a:lnTo>
                  <a:lnTo>
                    <a:pt x="1795" y="1561"/>
                  </a:lnTo>
                  <a:lnTo>
                    <a:pt x="1784" y="1553"/>
                  </a:lnTo>
                  <a:lnTo>
                    <a:pt x="1776" y="1541"/>
                  </a:lnTo>
                  <a:lnTo>
                    <a:pt x="1770" y="1528"/>
                  </a:lnTo>
                  <a:lnTo>
                    <a:pt x="1768" y="1514"/>
                  </a:lnTo>
                  <a:lnTo>
                    <a:pt x="1764" y="1502"/>
                  </a:lnTo>
                  <a:lnTo>
                    <a:pt x="1756" y="1492"/>
                  </a:lnTo>
                  <a:lnTo>
                    <a:pt x="1744" y="1484"/>
                  </a:lnTo>
                  <a:lnTo>
                    <a:pt x="1723" y="1480"/>
                  </a:lnTo>
                  <a:lnTo>
                    <a:pt x="1697" y="1478"/>
                  </a:lnTo>
                  <a:lnTo>
                    <a:pt x="1669" y="1476"/>
                  </a:lnTo>
                  <a:lnTo>
                    <a:pt x="1642" y="1472"/>
                  </a:lnTo>
                  <a:lnTo>
                    <a:pt x="1614" y="1466"/>
                  </a:lnTo>
                  <a:lnTo>
                    <a:pt x="1601" y="1459"/>
                  </a:lnTo>
                  <a:lnTo>
                    <a:pt x="1591" y="1449"/>
                  </a:lnTo>
                  <a:lnTo>
                    <a:pt x="1583" y="1439"/>
                  </a:lnTo>
                  <a:lnTo>
                    <a:pt x="1575" y="1429"/>
                  </a:lnTo>
                  <a:lnTo>
                    <a:pt x="1567" y="1419"/>
                  </a:lnTo>
                  <a:lnTo>
                    <a:pt x="1557" y="1415"/>
                  </a:lnTo>
                  <a:lnTo>
                    <a:pt x="1545" y="1415"/>
                  </a:lnTo>
                  <a:lnTo>
                    <a:pt x="1528" y="1421"/>
                  </a:lnTo>
                  <a:lnTo>
                    <a:pt x="1502" y="1437"/>
                  </a:lnTo>
                  <a:lnTo>
                    <a:pt x="1479" y="1455"/>
                  </a:lnTo>
                  <a:lnTo>
                    <a:pt x="1455" y="1472"/>
                  </a:lnTo>
                  <a:lnTo>
                    <a:pt x="1435" y="1492"/>
                  </a:lnTo>
                  <a:lnTo>
                    <a:pt x="1421" y="1508"/>
                  </a:lnTo>
                  <a:lnTo>
                    <a:pt x="1410" y="1520"/>
                  </a:lnTo>
                  <a:lnTo>
                    <a:pt x="1402" y="1528"/>
                  </a:lnTo>
                  <a:lnTo>
                    <a:pt x="1390" y="1537"/>
                  </a:lnTo>
                  <a:lnTo>
                    <a:pt x="1378" y="1547"/>
                  </a:lnTo>
                  <a:lnTo>
                    <a:pt x="1364" y="1555"/>
                  </a:lnTo>
                  <a:lnTo>
                    <a:pt x="1353" y="1561"/>
                  </a:lnTo>
                  <a:lnTo>
                    <a:pt x="1345" y="1563"/>
                  </a:lnTo>
                  <a:lnTo>
                    <a:pt x="1339" y="1561"/>
                  </a:lnTo>
                  <a:lnTo>
                    <a:pt x="1339" y="1553"/>
                  </a:lnTo>
                  <a:lnTo>
                    <a:pt x="1343" y="1541"/>
                  </a:lnTo>
                  <a:lnTo>
                    <a:pt x="1347" y="1528"/>
                  </a:lnTo>
                  <a:lnTo>
                    <a:pt x="1353" y="1510"/>
                  </a:lnTo>
                  <a:lnTo>
                    <a:pt x="1356" y="1492"/>
                  </a:lnTo>
                  <a:lnTo>
                    <a:pt x="1358" y="1476"/>
                  </a:lnTo>
                  <a:lnTo>
                    <a:pt x="1358" y="1461"/>
                  </a:lnTo>
                  <a:lnTo>
                    <a:pt x="1353" y="1449"/>
                  </a:lnTo>
                  <a:lnTo>
                    <a:pt x="1343" y="1441"/>
                  </a:lnTo>
                  <a:lnTo>
                    <a:pt x="1321" y="1437"/>
                  </a:lnTo>
                  <a:lnTo>
                    <a:pt x="1301" y="1441"/>
                  </a:lnTo>
                  <a:lnTo>
                    <a:pt x="1282" y="1449"/>
                  </a:lnTo>
                  <a:lnTo>
                    <a:pt x="1260" y="1457"/>
                  </a:lnTo>
                  <a:lnTo>
                    <a:pt x="1234" y="1463"/>
                  </a:lnTo>
                  <a:lnTo>
                    <a:pt x="1205" y="1465"/>
                  </a:lnTo>
                  <a:lnTo>
                    <a:pt x="1173" y="1459"/>
                  </a:lnTo>
                  <a:lnTo>
                    <a:pt x="1140" y="1449"/>
                  </a:lnTo>
                  <a:lnTo>
                    <a:pt x="1106" y="1435"/>
                  </a:lnTo>
                  <a:lnTo>
                    <a:pt x="1077" y="1421"/>
                  </a:lnTo>
                  <a:lnTo>
                    <a:pt x="1053" y="1409"/>
                  </a:lnTo>
                  <a:lnTo>
                    <a:pt x="1038" y="1402"/>
                  </a:lnTo>
                  <a:lnTo>
                    <a:pt x="1026" y="1398"/>
                  </a:lnTo>
                  <a:lnTo>
                    <a:pt x="1012" y="1400"/>
                  </a:lnTo>
                  <a:lnTo>
                    <a:pt x="998" y="1404"/>
                  </a:lnTo>
                  <a:lnTo>
                    <a:pt x="984" y="1405"/>
                  </a:lnTo>
                  <a:lnTo>
                    <a:pt x="969" y="1404"/>
                  </a:lnTo>
                  <a:lnTo>
                    <a:pt x="951" y="1396"/>
                  </a:lnTo>
                  <a:lnTo>
                    <a:pt x="931" y="1380"/>
                  </a:lnTo>
                  <a:lnTo>
                    <a:pt x="908" y="1364"/>
                  </a:lnTo>
                  <a:lnTo>
                    <a:pt x="884" y="1346"/>
                  </a:lnTo>
                  <a:lnTo>
                    <a:pt x="860" y="1331"/>
                  </a:lnTo>
                  <a:lnTo>
                    <a:pt x="843" y="1317"/>
                  </a:lnTo>
                  <a:lnTo>
                    <a:pt x="831" y="1307"/>
                  </a:lnTo>
                  <a:lnTo>
                    <a:pt x="817" y="1297"/>
                  </a:lnTo>
                  <a:lnTo>
                    <a:pt x="799" y="1283"/>
                  </a:lnTo>
                  <a:lnTo>
                    <a:pt x="778" y="1268"/>
                  </a:lnTo>
                  <a:lnTo>
                    <a:pt x="754" y="1250"/>
                  </a:lnTo>
                  <a:lnTo>
                    <a:pt x="734" y="1234"/>
                  </a:lnTo>
                  <a:lnTo>
                    <a:pt x="717" y="1219"/>
                  </a:lnTo>
                  <a:lnTo>
                    <a:pt x="709" y="1207"/>
                  </a:lnTo>
                  <a:lnTo>
                    <a:pt x="705" y="1189"/>
                  </a:lnTo>
                  <a:lnTo>
                    <a:pt x="701" y="1169"/>
                  </a:lnTo>
                  <a:lnTo>
                    <a:pt x="697" y="1150"/>
                  </a:lnTo>
                  <a:lnTo>
                    <a:pt x="691" y="1134"/>
                  </a:lnTo>
                  <a:lnTo>
                    <a:pt x="683" y="1126"/>
                  </a:lnTo>
                  <a:lnTo>
                    <a:pt x="675" y="1126"/>
                  </a:lnTo>
                  <a:lnTo>
                    <a:pt x="666" y="1132"/>
                  </a:lnTo>
                  <a:lnTo>
                    <a:pt x="656" y="1140"/>
                  </a:lnTo>
                  <a:lnTo>
                    <a:pt x="644" y="1148"/>
                  </a:lnTo>
                  <a:lnTo>
                    <a:pt x="632" y="1154"/>
                  </a:lnTo>
                  <a:lnTo>
                    <a:pt x="620" y="1156"/>
                  </a:lnTo>
                  <a:lnTo>
                    <a:pt x="612" y="1152"/>
                  </a:lnTo>
                  <a:lnTo>
                    <a:pt x="606" y="1142"/>
                  </a:lnTo>
                  <a:lnTo>
                    <a:pt x="591" y="1100"/>
                  </a:lnTo>
                  <a:lnTo>
                    <a:pt x="565" y="1063"/>
                  </a:lnTo>
                  <a:lnTo>
                    <a:pt x="532" y="1026"/>
                  </a:lnTo>
                  <a:lnTo>
                    <a:pt x="510" y="1006"/>
                  </a:lnTo>
                  <a:lnTo>
                    <a:pt x="484" y="984"/>
                  </a:lnTo>
                  <a:lnTo>
                    <a:pt x="461" y="963"/>
                  </a:lnTo>
                  <a:lnTo>
                    <a:pt x="437" y="943"/>
                  </a:lnTo>
                  <a:lnTo>
                    <a:pt x="419" y="923"/>
                  </a:lnTo>
                  <a:lnTo>
                    <a:pt x="406" y="908"/>
                  </a:lnTo>
                  <a:lnTo>
                    <a:pt x="390" y="894"/>
                  </a:lnTo>
                  <a:lnTo>
                    <a:pt x="374" y="890"/>
                  </a:lnTo>
                  <a:lnTo>
                    <a:pt x="356" y="892"/>
                  </a:lnTo>
                  <a:lnTo>
                    <a:pt x="343" y="900"/>
                  </a:lnTo>
                  <a:lnTo>
                    <a:pt x="331" y="910"/>
                  </a:lnTo>
                  <a:lnTo>
                    <a:pt x="321" y="919"/>
                  </a:lnTo>
                  <a:lnTo>
                    <a:pt x="309" y="921"/>
                  </a:lnTo>
                  <a:lnTo>
                    <a:pt x="295" y="913"/>
                  </a:lnTo>
                  <a:lnTo>
                    <a:pt x="280" y="898"/>
                  </a:lnTo>
                  <a:lnTo>
                    <a:pt x="266" y="870"/>
                  </a:lnTo>
                  <a:lnTo>
                    <a:pt x="246" y="839"/>
                  </a:lnTo>
                  <a:lnTo>
                    <a:pt x="217" y="809"/>
                  </a:lnTo>
                  <a:lnTo>
                    <a:pt x="183" y="782"/>
                  </a:lnTo>
                  <a:lnTo>
                    <a:pt x="152" y="756"/>
                  </a:lnTo>
                  <a:lnTo>
                    <a:pt x="124" y="734"/>
                  </a:lnTo>
                  <a:lnTo>
                    <a:pt x="105" y="717"/>
                  </a:lnTo>
                  <a:lnTo>
                    <a:pt x="87" y="697"/>
                  </a:lnTo>
                  <a:lnTo>
                    <a:pt x="73" y="677"/>
                  </a:lnTo>
                  <a:lnTo>
                    <a:pt x="61" y="662"/>
                  </a:lnTo>
                  <a:lnTo>
                    <a:pt x="53" y="652"/>
                  </a:lnTo>
                  <a:lnTo>
                    <a:pt x="51" y="648"/>
                  </a:lnTo>
                  <a:lnTo>
                    <a:pt x="47" y="648"/>
                  </a:lnTo>
                  <a:lnTo>
                    <a:pt x="40" y="650"/>
                  </a:lnTo>
                  <a:lnTo>
                    <a:pt x="30" y="650"/>
                  </a:lnTo>
                  <a:lnTo>
                    <a:pt x="20" y="648"/>
                  </a:lnTo>
                  <a:lnTo>
                    <a:pt x="8" y="646"/>
                  </a:lnTo>
                  <a:lnTo>
                    <a:pt x="2" y="638"/>
                  </a:lnTo>
                  <a:lnTo>
                    <a:pt x="0" y="628"/>
                  </a:lnTo>
                  <a:lnTo>
                    <a:pt x="4" y="614"/>
                  </a:lnTo>
                  <a:lnTo>
                    <a:pt x="10" y="593"/>
                  </a:lnTo>
                  <a:lnTo>
                    <a:pt x="14" y="575"/>
                  </a:lnTo>
                  <a:lnTo>
                    <a:pt x="14" y="559"/>
                  </a:lnTo>
                  <a:lnTo>
                    <a:pt x="12" y="541"/>
                  </a:lnTo>
                  <a:lnTo>
                    <a:pt x="10" y="524"/>
                  </a:lnTo>
                  <a:lnTo>
                    <a:pt x="12" y="504"/>
                  </a:lnTo>
                  <a:lnTo>
                    <a:pt x="12" y="482"/>
                  </a:lnTo>
                  <a:lnTo>
                    <a:pt x="8" y="463"/>
                  </a:lnTo>
                  <a:lnTo>
                    <a:pt x="6" y="449"/>
                  </a:lnTo>
                  <a:lnTo>
                    <a:pt x="4" y="439"/>
                  </a:lnTo>
                  <a:lnTo>
                    <a:pt x="10" y="431"/>
                  </a:lnTo>
                  <a:lnTo>
                    <a:pt x="22" y="427"/>
                  </a:lnTo>
                  <a:lnTo>
                    <a:pt x="34" y="429"/>
                  </a:lnTo>
                  <a:lnTo>
                    <a:pt x="44" y="437"/>
                  </a:lnTo>
                  <a:lnTo>
                    <a:pt x="51" y="449"/>
                  </a:lnTo>
                  <a:lnTo>
                    <a:pt x="57" y="461"/>
                  </a:lnTo>
                  <a:lnTo>
                    <a:pt x="65" y="471"/>
                  </a:lnTo>
                  <a:lnTo>
                    <a:pt x="75" y="475"/>
                  </a:lnTo>
                  <a:lnTo>
                    <a:pt x="87" y="473"/>
                  </a:lnTo>
                  <a:lnTo>
                    <a:pt x="105" y="465"/>
                  </a:lnTo>
                  <a:lnTo>
                    <a:pt x="118" y="463"/>
                  </a:lnTo>
                  <a:lnTo>
                    <a:pt x="132" y="463"/>
                  </a:lnTo>
                  <a:lnTo>
                    <a:pt x="144" y="459"/>
                  </a:lnTo>
                  <a:lnTo>
                    <a:pt x="152" y="451"/>
                  </a:lnTo>
                  <a:lnTo>
                    <a:pt x="158" y="435"/>
                  </a:lnTo>
                  <a:lnTo>
                    <a:pt x="164" y="412"/>
                  </a:lnTo>
                  <a:lnTo>
                    <a:pt x="169" y="394"/>
                  </a:lnTo>
                  <a:lnTo>
                    <a:pt x="171" y="376"/>
                  </a:lnTo>
                  <a:lnTo>
                    <a:pt x="169" y="360"/>
                  </a:lnTo>
                  <a:lnTo>
                    <a:pt x="156" y="347"/>
                  </a:lnTo>
                  <a:lnTo>
                    <a:pt x="140" y="335"/>
                  </a:lnTo>
                  <a:lnTo>
                    <a:pt x="122" y="325"/>
                  </a:lnTo>
                  <a:lnTo>
                    <a:pt x="108" y="315"/>
                  </a:lnTo>
                  <a:lnTo>
                    <a:pt x="99" y="305"/>
                  </a:lnTo>
                  <a:lnTo>
                    <a:pt x="97" y="293"/>
                  </a:lnTo>
                  <a:lnTo>
                    <a:pt x="101" y="278"/>
                  </a:lnTo>
                  <a:lnTo>
                    <a:pt x="108" y="254"/>
                  </a:lnTo>
                  <a:lnTo>
                    <a:pt x="114" y="229"/>
                  </a:lnTo>
                  <a:lnTo>
                    <a:pt x="118" y="205"/>
                  </a:lnTo>
                  <a:lnTo>
                    <a:pt x="124" y="183"/>
                  </a:lnTo>
                  <a:lnTo>
                    <a:pt x="132" y="168"/>
                  </a:lnTo>
                  <a:lnTo>
                    <a:pt x="140" y="158"/>
                  </a:lnTo>
                  <a:lnTo>
                    <a:pt x="148" y="150"/>
                  </a:lnTo>
                  <a:lnTo>
                    <a:pt x="154" y="146"/>
                  </a:lnTo>
                  <a:lnTo>
                    <a:pt x="158" y="142"/>
                  </a:lnTo>
                  <a:lnTo>
                    <a:pt x="160" y="140"/>
                  </a:lnTo>
                  <a:lnTo>
                    <a:pt x="162" y="138"/>
                  </a:lnTo>
                  <a:lnTo>
                    <a:pt x="256" y="152"/>
                  </a:lnTo>
                  <a:lnTo>
                    <a:pt x="284" y="105"/>
                  </a:lnTo>
                  <a:lnTo>
                    <a:pt x="355" y="42"/>
                  </a:lnTo>
                  <a:lnTo>
                    <a:pt x="384" y="24"/>
                  </a:lnTo>
                  <a:lnTo>
                    <a:pt x="492" y="61"/>
                  </a:lnTo>
                  <a:lnTo>
                    <a:pt x="530" y="87"/>
                  </a:lnTo>
                  <a:lnTo>
                    <a:pt x="589" y="81"/>
                  </a:lnTo>
                  <a:lnTo>
                    <a:pt x="626" y="36"/>
                  </a:lnTo>
                  <a:lnTo>
                    <a:pt x="792" y="67"/>
                  </a:lnTo>
                  <a:lnTo>
                    <a:pt x="841" y="106"/>
                  </a:lnTo>
                  <a:lnTo>
                    <a:pt x="896" y="118"/>
                  </a:lnTo>
                  <a:lnTo>
                    <a:pt x="1032" y="81"/>
                  </a:lnTo>
                  <a:lnTo>
                    <a:pt x="1071" y="105"/>
                  </a:lnTo>
                  <a:lnTo>
                    <a:pt x="1179" y="34"/>
                  </a:lnTo>
                  <a:lnTo>
                    <a:pt x="1297" y="32"/>
                  </a:lnTo>
                  <a:lnTo>
                    <a:pt x="1366" y="0"/>
                  </a:lnTo>
                  <a:lnTo>
                    <a:pt x="1461" y="12"/>
                  </a:lnTo>
                  <a:lnTo>
                    <a:pt x="1575" y="87"/>
                  </a:lnTo>
                  <a:lnTo>
                    <a:pt x="1666" y="75"/>
                  </a:lnTo>
                  <a:lnTo>
                    <a:pt x="1669" y="110"/>
                  </a:lnTo>
                  <a:lnTo>
                    <a:pt x="1628" y="138"/>
                  </a:lnTo>
                  <a:lnTo>
                    <a:pt x="1667" y="158"/>
                  </a:lnTo>
                  <a:lnTo>
                    <a:pt x="1666" y="205"/>
                  </a:lnTo>
                  <a:lnTo>
                    <a:pt x="1632" y="295"/>
                  </a:lnTo>
                  <a:lnTo>
                    <a:pt x="1634" y="347"/>
                  </a:lnTo>
                  <a:lnTo>
                    <a:pt x="1589" y="349"/>
                  </a:lnTo>
                  <a:lnTo>
                    <a:pt x="1595" y="431"/>
                  </a:lnTo>
                  <a:lnTo>
                    <a:pt x="1650" y="520"/>
                  </a:lnTo>
                  <a:lnTo>
                    <a:pt x="1701" y="632"/>
                  </a:lnTo>
                  <a:lnTo>
                    <a:pt x="1774" y="628"/>
                  </a:lnTo>
                  <a:lnTo>
                    <a:pt x="1845" y="663"/>
                  </a:lnTo>
                  <a:lnTo>
                    <a:pt x="1870" y="665"/>
                  </a:lnTo>
                  <a:lnTo>
                    <a:pt x="1902" y="683"/>
                  </a:lnTo>
                  <a:lnTo>
                    <a:pt x="1978" y="730"/>
                  </a:lnTo>
                  <a:lnTo>
                    <a:pt x="2041" y="726"/>
                  </a:lnTo>
                  <a:lnTo>
                    <a:pt x="2110" y="758"/>
                  </a:lnTo>
                  <a:lnTo>
                    <a:pt x="2207" y="756"/>
                  </a:lnTo>
                  <a:lnTo>
                    <a:pt x="2321" y="799"/>
                  </a:lnTo>
                  <a:lnTo>
                    <a:pt x="2402" y="860"/>
                  </a:lnTo>
                  <a:lnTo>
                    <a:pt x="2410" y="913"/>
                  </a:lnTo>
                  <a:lnTo>
                    <a:pt x="2486" y="923"/>
                  </a:lnTo>
                  <a:lnTo>
                    <a:pt x="2557" y="939"/>
                  </a:lnTo>
                  <a:lnTo>
                    <a:pt x="2628" y="843"/>
                  </a:lnTo>
                  <a:lnTo>
                    <a:pt x="2644" y="793"/>
                  </a:lnTo>
                  <a:lnTo>
                    <a:pt x="2634" y="758"/>
                  </a:lnTo>
                  <a:lnTo>
                    <a:pt x="2681" y="764"/>
                  </a:lnTo>
                  <a:lnTo>
                    <a:pt x="2740" y="803"/>
                  </a:lnTo>
                  <a:lnTo>
                    <a:pt x="2786" y="829"/>
                  </a:lnTo>
                  <a:lnTo>
                    <a:pt x="2817" y="925"/>
                  </a:lnTo>
                  <a:lnTo>
                    <a:pt x="2880" y="992"/>
                  </a:lnTo>
                  <a:lnTo>
                    <a:pt x="2874" y="1020"/>
                  </a:lnTo>
                  <a:lnTo>
                    <a:pt x="2841" y="1033"/>
                  </a:lnTo>
                  <a:lnTo>
                    <a:pt x="2880" y="1106"/>
                  </a:lnTo>
                  <a:lnTo>
                    <a:pt x="2894" y="1240"/>
                  </a:lnTo>
                  <a:lnTo>
                    <a:pt x="2896" y="1358"/>
                  </a:lnTo>
                  <a:lnTo>
                    <a:pt x="2858" y="1378"/>
                  </a:lnTo>
                  <a:lnTo>
                    <a:pt x="2849" y="1413"/>
                  </a:lnTo>
                  <a:lnTo>
                    <a:pt x="2829" y="1472"/>
                  </a:lnTo>
                  <a:lnTo>
                    <a:pt x="2835" y="1528"/>
                  </a:lnTo>
                  <a:lnTo>
                    <a:pt x="2799" y="1541"/>
                  </a:lnTo>
                  <a:lnTo>
                    <a:pt x="2774" y="1520"/>
                  </a:lnTo>
                  <a:lnTo>
                    <a:pt x="2754" y="153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26" name="Freeform 70"/>
            <p:cNvSpPr/>
            <p:nvPr/>
          </p:nvSpPr>
          <p:spPr bwMode="gray">
            <a:xfrm>
              <a:off x="900" y="2373"/>
              <a:ext cx="1448" cy="781"/>
            </a:xfrm>
            <a:custGeom>
              <a:avLst/>
              <a:gdLst>
                <a:gd name="T0" fmla="*/ 682 w 2896"/>
                <a:gd name="T1" fmla="*/ 376 h 1563"/>
                <a:gd name="T2" fmla="*/ 665 w 2896"/>
                <a:gd name="T3" fmla="*/ 372 h 1563"/>
                <a:gd name="T4" fmla="*/ 658 w 2896"/>
                <a:gd name="T5" fmla="*/ 380 h 1563"/>
                <a:gd name="T6" fmla="*/ 653 w 2896"/>
                <a:gd name="T7" fmla="*/ 378 h 1563"/>
                <a:gd name="T8" fmla="*/ 623 w 2896"/>
                <a:gd name="T9" fmla="*/ 368 h 1563"/>
                <a:gd name="T10" fmla="*/ 626 w 2896"/>
                <a:gd name="T11" fmla="*/ 363 h 1563"/>
                <a:gd name="T12" fmla="*/ 630 w 2896"/>
                <a:gd name="T13" fmla="*/ 349 h 1563"/>
                <a:gd name="T14" fmla="*/ 616 w 2896"/>
                <a:gd name="T15" fmla="*/ 326 h 1563"/>
                <a:gd name="T16" fmla="*/ 604 w 2896"/>
                <a:gd name="T17" fmla="*/ 331 h 1563"/>
                <a:gd name="T18" fmla="*/ 589 w 2896"/>
                <a:gd name="T19" fmla="*/ 341 h 1563"/>
                <a:gd name="T20" fmla="*/ 568 w 2896"/>
                <a:gd name="T21" fmla="*/ 333 h 1563"/>
                <a:gd name="T22" fmla="*/ 557 w 2896"/>
                <a:gd name="T23" fmla="*/ 332 h 1563"/>
                <a:gd name="T24" fmla="*/ 536 w 2896"/>
                <a:gd name="T25" fmla="*/ 348 h 1563"/>
                <a:gd name="T26" fmla="*/ 511 w 2896"/>
                <a:gd name="T27" fmla="*/ 355 h 1563"/>
                <a:gd name="T28" fmla="*/ 491 w 2896"/>
                <a:gd name="T29" fmla="*/ 376 h 1563"/>
                <a:gd name="T30" fmla="*/ 459 w 2896"/>
                <a:gd name="T31" fmla="*/ 388 h 1563"/>
                <a:gd name="T32" fmla="*/ 442 w 2896"/>
                <a:gd name="T33" fmla="*/ 382 h 1563"/>
                <a:gd name="T34" fmla="*/ 431 w 2896"/>
                <a:gd name="T35" fmla="*/ 370 h 1563"/>
                <a:gd name="T36" fmla="*/ 400 w 2896"/>
                <a:gd name="T37" fmla="*/ 364 h 1563"/>
                <a:gd name="T38" fmla="*/ 389 w 2896"/>
                <a:gd name="T39" fmla="*/ 353 h 1563"/>
                <a:gd name="T40" fmla="*/ 364 w 2896"/>
                <a:gd name="T41" fmla="*/ 368 h 1563"/>
                <a:gd name="T42" fmla="*/ 348 w 2896"/>
                <a:gd name="T43" fmla="*/ 384 h 1563"/>
                <a:gd name="T44" fmla="*/ 335 w 2896"/>
                <a:gd name="T45" fmla="*/ 390 h 1563"/>
                <a:gd name="T46" fmla="*/ 339 w 2896"/>
                <a:gd name="T47" fmla="*/ 373 h 1563"/>
                <a:gd name="T48" fmla="*/ 331 w 2896"/>
                <a:gd name="T49" fmla="*/ 359 h 1563"/>
                <a:gd name="T50" fmla="*/ 302 w 2896"/>
                <a:gd name="T51" fmla="*/ 366 h 1563"/>
                <a:gd name="T52" fmla="*/ 264 w 2896"/>
                <a:gd name="T53" fmla="*/ 352 h 1563"/>
                <a:gd name="T54" fmla="*/ 246 w 2896"/>
                <a:gd name="T55" fmla="*/ 351 h 1563"/>
                <a:gd name="T56" fmla="*/ 221 w 2896"/>
                <a:gd name="T57" fmla="*/ 336 h 1563"/>
                <a:gd name="T58" fmla="*/ 200 w 2896"/>
                <a:gd name="T59" fmla="*/ 320 h 1563"/>
                <a:gd name="T60" fmla="*/ 178 w 2896"/>
                <a:gd name="T61" fmla="*/ 301 h 1563"/>
                <a:gd name="T62" fmla="*/ 171 w 2896"/>
                <a:gd name="T63" fmla="*/ 281 h 1563"/>
                <a:gd name="T64" fmla="*/ 158 w 2896"/>
                <a:gd name="T65" fmla="*/ 288 h 1563"/>
                <a:gd name="T66" fmla="*/ 142 w 2896"/>
                <a:gd name="T67" fmla="*/ 265 h 1563"/>
                <a:gd name="T68" fmla="*/ 109 w 2896"/>
                <a:gd name="T69" fmla="*/ 235 h 1563"/>
                <a:gd name="T70" fmla="*/ 89 w 2896"/>
                <a:gd name="T71" fmla="*/ 223 h 1563"/>
                <a:gd name="T72" fmla="*/ 74 w 2896"/>
                <a:gd name="T73" fmla="*/ 228 h 1563"/>
                <a:gd name="T74" fmla="*/ 46 w 2896"/>
                <a:gd name="T75" fmla="*/ 195 h 1563"/>
                <a:gd name="T76" fmla="*/ 19 w 2896"/>
                <a:gd name="T77" fmla="*/ 169 h 1563"/>
                <a:gd name="T78" fmla="*/ 10 w 2896"/>
                <a:gd name="T79" fmla="*/ 162 h 1563"/>
                <a:gd name="T80" fmla="*/ 0 w 2896"/>
                <a:gd name="T81" fmla="*/ 157 h 1563"/>
                <a:gd name="T82" fmla="*/ 3 w 2896"/>
                <a:gd name="T83" fmla="*/ 135 h 1563"/>
                <a:gd name="T84" fmla="*/ 1 w 2896"/>
                <a:gd name="T85" fmla="*/ 112 h 1563"/>
                <a:gd name="T86" fmla="*/ 11 w 2896"/>
                <a:gd name="T87" fmla="*/ 109 h 1563"/>
                <a:gd name="T88" fmla="*/ 22 w 2896"/>
                <a:gd name="T89" fmla="*/ 118 h 1563"/>
                <a:gd name="T90" fmla="*/ 38 w 2896"/>
                <a:gd name="T91" fmla="*/ 112 h 1563"/>
                <a:gd name="T92" fmla="*/ 43 w 2896"/>
                <a:gd name="T93" fmla="*/ 90 h 1563"/>
                <a:gd name="T94" fmla="*/ 25 w 2896"/>
                <a:gd name="T95" fmla="*/ 76 h 1563"/>
                <a:gd name="T96" fmla="*/ 29 w 2896"/>
                <a:gd name="T97" fmla="*/ 51 h 1563"/>
                <a:gd name="T98" fmla="*/ 39 w 2896"/>
                <a:gd name="T99" fmla="*/ 36 h 1563"/>
                <a:gd name="T100" fmla="*/ 71 w 2896"/>
                <a:gd name="T101" fmla="*/ 26 h 1563"/>
                <a:gd name="T102" fmla="*/ 148 w 2896"/>
                <a:gd name="T103" fmla="*/ 20 h 1563"/>
                <a:gd name="T104" fmla="*/ 258 w 2896"/>
                <a:gd name="T105" fmla="*/ 20 h 1563"/>
                <a:gd name="T106" fmla="*/ 365 w 2896"/>
                <a:gd name="T107" fmla="*/ 3 h 1563"/>
                <a:gd name="T108" fmla="*/ 417 w 2896"/>
                <a:gd name="T109" fmla="*/ 39 h 1563"/>
                <a:gd name="T110" fmla="*/ 399 w 2896"/>
                <a:gd name="T111" fmla="*/ 107 h 1563"/>
                <a:gd name="T112" fmla="*/ 467 w 2896"/>
                <a:gd name="T113" fmla="*/ 166 h 1563"/>
                <a:gd name="T114" fmla="*/ 552 w 2896"/>
                <a:gd name="T115" fmla="*/ 189 h 1563"/>
                <a:gd name="T116" fmla="*/ 640 w 2896"/>
                <a:gd name="T117" fmla="*/ 234 h 1563"/>
                <a:gd name="T118" fmla="*/ 685 w 2896"/>
                <a:gd name="T119" fmla="*/ 200 h 1563"/>
                <a:gd name="T120" fmla="*/ 711 w 2896"/>
                <a:gd name="T121" fmla="*/ 258 h 1563"/>
                <a:gd name="T122" fmla="*/ 713 w 2896"/>
                <a:gd name="T123" fmla="*/ 353 h 1563"/>
                <a:gd name="T124" fmla="*/ 689 w 2896"/>
                <a:gd name="T125" fmla="*/ 384 h 15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96"/>
                <a:gd name="T190" fmla="*/ 0 h 1563"/>
                <a:gd name="T191" fmla="*/ 2896 w 2896"/>
                <a:gd name="T192" fmla="*/ 1563 h 156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96" h="1563">
                  <a:moveTo>
                    <a:pt x="2754" y="1539"/>
                  </a:moveTo>
                  <a:lnTo>
                    <a:pt x="2752" y="1535"/>
                  </a:lnTo>
                  <a:lnTo>
                    <a:pt x="2746" y="1528"/>
                  </a:lnTo>
                  <a:lnTo>
                    <a:pt x="2738" y="1516"/>
                  </a:lnTo>
                  <a:lnTo>
                    <a:pt x="2728" y="1504"/>
                  </a:lnTo>
                  <a:lnTo>
                    <a:pt x="2715" y="1496"/>
                  </a:lnTo>
                  <a:lnTo>
                    <a:pt x="2699" y="1490"/>
                  </a:lnTo>
                  <a:lnTo>
                    <a:pt x="2685" y="1486"/>
                  </a:lnTo>
                  <a:lnTo>
                    <a:pt x="2671" y="1486"/>
                  </a:lnTo>
                  <a:lnTo>
                    <a:pt x="2658" y="1490"/>
                  </a:lnTo>
                  <a:lnTo>
                    <a:pt x="2650" y="1500"/>
                  </a:lnTo>
                  <a:lnTo>
                    <a:pt x="2644" y="1510"/>
                  </a:lnTo>
                  <a:lnTo>
                    <a:pt x="2640" y="1516"/>
                  </a:lnTo>
                  <a:lnTo>
                    <a:pt x="2636" y="1520"/>
                  </a:lnTo>
                  <a:lnTo>
                    <a:pt x="2632" y="1522"/>
                  </a:lnTo>
                  <a:lnTo>
                    <a:pt x="2630" y="1524"/>
                  </a:lnTo>
                  <a:lnTo>
                    <a:pt x="2628" y="1524"/>
                  </a:lnTo>
                  <a:lnTo>
                    <a:pt x="2624" y="1522"/>
                  </a:lnTo>
                  <a:lnTo>
                    <a:pt x="2612" y="1514"/>
                  </a:lnTo>
                  <a:lnTo>
                    <a:pt x="2591" y="1504"/>
                  </a:lnTo>
                  <a:lnTo>
                    <a:pt x="2559" y="1492"/>
                  </a:lnTo>
                  <a:lnTo>
                    <a:pt x="2534" y="1486"/>
                  </a:lnTo>
                  <a:lnTo>
                    <a:pt x="2510" y="1480"/>
                  </a:lnTo>
                  <a:lnTo>
                    <a:pt x="2492" y="1474"/>
                  </a:lnTo>
                  <a:lnTo>
                    <a:pt x="2480" y="1472"/>
                  </a:lnTo>
                  <a:lnTo>
                    <a:pt x="2477" y="1472"/>
                  </a:lnTo>
                  <a:lnTo>
                    <a:pt x="2480" y="1468"/>
                  </a:lnTo>
                  <a:lnTo>
                    <a:pt x="2488" y="1463"/>
                  </a:lnTo>
                  <a:lnTo>
                    <a:pt x="2502" y="1453"/>
                  </a:lnTo>
                  <a:lnTo>
                    <a:pt x="2514" y="1443"/>
                  </a:lnTo>
                  <a:lnTo>
                    <a:pt x="2524" y="1431"/>
                  </a:lnTo>
                  <a:lnTo>
                    <a:pt x="2528" y="1421"/>
                  </a:lnTo>
                  <a:lnTo>
                    <a:pt x="2526" y="1411"/>
                  </a:lnTo>
                  <a:lnTo>
                    <a:pt x="2518" y="1396"/>
                  </a:lnTo>
                  <a:lnTo>
                    <a:pt x="2506" y="1376"/>
                  </a:lnTo>
                  <a:lnTo>
                    <a:pt x="2494" y="1356"/>
                  </a:lnTo>
                  <a:lnTo>
                    <a:pt x="2482" y="1337"/>
                  </a:lnTo>
                  <a:lnTo>
                    <a:pt x="2471" y="1319"/>
                  </a:lnTo>
                  <a:lnTo>
                    <a:pt x="2463" y="1307"/>
                  </a:lnTo>
                  <a:lnTo>
                    <a:pt x="2461" y="1303"/>
                  </a:lnTo>
                  <a:lnTo>
                    <a:pt x="2457" y="1305"/>
                  </a:lnTo>
                  <a:lnTo>
                    <a:pt x="2445" y="1309"/>
                  </a:lnTo>
                  <a:lnTo>
                    <a:pt x="2429" y="1317"/>
                  </a:lnTo>
                  <a:lnTo>
                    <a:pt x="2414" y="1325"/>
                  </a:lnTo>
                  <a:lnTo>
                    <a:pt x="2398" y="1333"/>
                  </a:lnTo>
                  <a:lnTo>
                    <a:pt x="2384" y="1341"/>
                  </a:lnTo>
                  <a:lnTo>
                    <a:pt x="2376" y="1348"/>
                  </a:lnTo>
                  <a:lnTo>
                    <a:pt x="2366" y="1358"/>
                  </a:lnTo>
                  <a:lnTo>
                    <a:pt x="2354" y="1366"/>
                  </a:lnTo>
                  <a:lnTo>
                    <a:pt x="2339" y="1366"/>
                  </a:lnTo>
                  <a:lnTo>
                    <a:pt x="2321" y="1362"/>
                  </a:lnTo>
                  <a:lnTo>
                    <a:pt x="2305" y="1354"/>
                  </a:lnTo>
                  <a:lnTo>
                    <a:pt x="2290" y="1344"/>
                  </a:lnTo>
                  <a:lnTo>
                    <a:pt x="2272" y="1335"/>
                  </a:lnTo>
                  <a:lnTo>
                    <a:pt x="2256" y="1327"/>
                  </a:lnTo>
                  <a:lnTo>
                    <a:pt x="2246" y="1321"/>
                  </a:lnTo>
                  <a:lnTo>
                    <a:pt x="2242" y="1319"/>
                  </a:lnTo>
                  <a:lnTo>
                    <a:pt x="2238" y="1323"/>
                  </a:lnTo>
                  <a:lnTo>
                    <a:pt x="2228" y="1331"/>
                  </a:lnTo>
                  <a:lnTo>
                    <a:pt x="2215" y="1342"/>
                  </a:lnTo>
                  <a:lnTo>
                    <a:pt x="2197" y="1354"/>
                  </a:lnTo>
                  <a:lnTo>
                    <a:pt x="2177" y="1370"/>
                  </a:lnTo>
                  <a:lnTo>
                    <a:pt x="2160" y="1382"/>
                  </a:lnTo>
                  <a:lnTo>
                    <a:pt x="2142" y="1394"/>
                  </a:lnTo>
                  <a:lnTo>
                    <a:pt x="2126" y="1402"/>
                  </a:lnTo>
                  <a:lnTo>
                    <a:pt x="2108" y="1405"/>
                  </a:lnTo>
                  <a:lnTo>
                    <a:pt x="2087" y="1411"/>
                  </a:lnTo>
                  <a:lnTo>
                    <a:pt x="2063" y="1415"/>
                  </a:lnTo>
                  <a:lnTo>
                    <a:pt x="2043" y="1423"/>
                  </a:lnTo>
                  <a:lnTo>
                    <a:pt x="2028" y="1431"/>
                  </a:lnTo>
                  <a:lnTo>
                    <a:pt x="2016" y="1445"/>
                  </a:lnTo>
                  <a:lnTo>
                    <a:pt x="2004" y="1465"/>
                  </a:lnTo>
                  <a:lnTo>
                    <a:pt x="1986" y="1486"/>
                  </a:lnTo>
                  <a:lnTo>
                    <a:pt x="1963" y="1506"/>
                  </a:lnTo>
                  <a:lnTo>
                    <a:pt x="1937" y="1522"/>
                  </a:lnTo>
                  <a:lnTo>
                    <a:pt x="1910" y="1531"/>
                  </a:lnTo>
                  <a:lnTo>
                    <a:pt x="1884" y="1539"/>
                  </a:lnTo>
                  <a:lnTo>
                    <a:pt x="1860" y="1547"/>
                  </a:lnTo>
                  <a:lnTo>
                    <a:pt x="1837" y="1555"/>
                  </a:lnTo>
                  <a:lnTo>
                    <a:pt x="1815" y="1561"/>
                  </a:lnTo>
                  <a:lnTo>
                    <a:pt x="1795" y="1561"/>
                  </a:lnTo>
                  <a:lnTo>
                    <a:pt x="1784" y="1553"/>
                  </a:lnTo>
                  <a:lnTo>
                    <a:pt x="1776" y="1541"/>
                  </a:lnTo>
                  <a:lnTo>
                    <a:pt x="1770" y="1528"/>
                  </a:lnTo>
                  <a:lnTo>
                    <a:pt x="1768" y="1514"/>
                  </a:lnTo>
                  <a:lnTo>
                    <a:pt x="1764" y="1502"/>
                  </a:lnTo>
                  <a:lnTo>
                    <a:pt x="1756" y="1492"/>
                  </a:lnTo>
                  <a:lnTo>
                    <a:pt x="1744" y="1484"/>
                  </a:lnTo>
                  <a:lnTo>
                    <a:pt x="1723" y="1480"/>
                  </a:lnTo>
                  <a:lnTo>
                    <a:pt x="1697" y="1478"/>
                  </a:lnTo>
                  <a:lnTo>
                    <a:pt x="1669" y="1476"/>
                  </a:lnTo>
                  <a:lnTo>
                    <a:pt x="1642" y="1472"/>
                  </a:lnTo>
                  <a:lnTo>
                    <a:pt x="1614" y="1466"/>
                  </a:lnTo>
                  <a:lnTo>
                    <a:pt x="1601" y="1459"/>
                  </a:lnTo>
                  <a:lnTo>
                    <a:pt x="1591" y="1449"/>
                  </a:lnTo>
                  <a:lnTo>
                    <a:pt x="1583" y="1439"/>
                  </a:lnTo>
                  <a:lnTo>
                    <a:pt x="1575" y="1429"/>
                  </a:lnTo>
                  <a:lnTo>
                    <a:pt x="1567" y="1419"/>
                  </a:lnTo>
                  <a:lnTo>
                    <a:pt x="1557" y="1415"/>
                  </a:lnTo>
                  <a:lnTo>
                    <a:pt x="1545" y="1415"/>
                  </a:lnTo>
                  <a:lnTo>
                    <a:pt x="1528" y="1421"/>
                  </a:lnTo>
                  <a:lnTo>
                    <a:pt x="1502" y="1437"/>
                  </a:lnTo>
                  <a:lnTo>
                    <a:pt x="1479" y="1455"/>
                  </a:lnTo>
                  <a:lnTo>
                    <a:pt x="1455" y="1472"/>
                  </a:lnTo>
                  <a:lnTo>
                    <a:pt x="1435" y="1492"/>
                  </a:lnTo>
                  <a:lnTo>
                    <a:pt x="1421" y="1508"/>
                  </a:lnTo>
                  <a:lnTo>
                    <a:pt x="1410" y="1520"/>
                  </a:lnTo>
                  <a:lnTo>
                    <a:pt x="1402" y="1528"/>
                  </a:lnTo>
                  <a:lnTo>
                    <a:pt x="1390" y="1537"/>
                  </a:lnTo>
                  <a:lnTo>
                    <a:pt x="1378" y="1547"/>
                  </a:lnTo>
                  <a:lnTo>
                    <a:pt x="1364" y="1555"/>
                  </a:lnTo>
                  <a:lnTo>
                    <a:pt x="1353" y="1561"/>
                  </a:lnTo>
                  <a:lnTo>
                    <a:pt x="1345" y="1563"/>
                  </a:lnTo>
                  <a:lnTo>
                    <a:pt x="1339" y="1561"/>
                  </a:lnTo>
                  <a:lnTo>
                    <a:pt x="1339" y="1553"/>
                  </a:lnTo>
                  <a:lnTo>
                    <a:pt x="1343" y="1541"/>
                  </a:lnTo>
                  <a:lnTo>
                    <a:pt x="1347" y="1528"/>
                  </a:lnTo>
                  <a:lnTo>
                    <a:pt x="1353" y="1510"/>
                  </a:lnTo>
                  <a:lnTo>
                    <a:pt x="1356" y="1492"/>
                  </a:lnTo>
                  <a:lnTo>
                    <a:pt x="1358" y="1476"/>
                  </a:lnTo>
                  <a:lnTo>
                    <a:pt x="1358" y="1461"/>
                  </a:lnTo>
                  <a:lnTo>
                    <a:pt x="1353" y="1449"/>
                  </a:lnTo>
                  <a:lnTo>
                    <a:pt x="1343" y="1441"/>
                  </a:lnTo>
                  <a:lnTo>
                    <a:pt x="1321" y="1437"/>
                  </a:lnTo>
                  <a:lnTo>
                    <a:pt x="1301" y="1441"/>
                  </a:lnTo>
                  <a:lnTo>
                    <a:pt x="1282" y="1449"/>
                  </a:lnTo>
                  <a:lnTo>
                    <a:pt x="1260" y="1457"/>
                  </a:lnTo>
                  <a:lnTo>
                    <a:pt x="1234" y="1463"/>
                  </a:lnTo>
                  <a:lnTo>
                    <a:pt x="1205" y="1465"/>
                  </a:lnTo>
                  <a:lnTo>
                    <a:pt x="1173" y="1459"/>
                  </a:lnTo>
                  <a:lnTo>
                    <a:pt x="1140" y="1449"/>
                  </a:lnTo>
                  <a:lnTo>
                    <a:pt x="1106" y="1435"/>
                  </a:lnTo>
                  <a:lnTo>
                    <a:pt x="1077" y="1421"/>
                  </a:lnTo>
                  <a:lnTo>
                    <a:pt x="1053" y="1409"/>
                  </a:lnTo>
                  <a:lnTo>
                    <a:pt x="1038" y="1402"/>
                  </a:lnTo>
                  <a:lnTo>
                    <a:pt x="1026" y="1398"/>
                  </a:lnTo>
                  <a:lnTo>
                    <a:pt x="1012" y="1400"/>
                  </a:lnTo>
                  <a:lnTo>
                    <a:pt x="998" y="1404"/>
                  </a:lnTo>
                  <a:lnTo>
                    <a:pt x="984" y="1405"/>
                  </a:lnTo>
                  <a:lnTo>
                    <a:pt x="969" y="1404"/>
                  </a:lnTo>
                  <a:lnTo>
                    <a:pt x="951" y="1396"/>
                  </a:lnTo>
                  <a:lnTo>
                    <a:pt x="931" y="1380"/>
                  </a:lnTo>
                  <a:lnTo>
                    <a:pt x="908" y="1364"/>
                  </a:lnTo>
                  <a:lnTo>
                    <a:pt x="884" y="1346"/>
                  </a:lnTo>
                  <a:lnTo>
                    <a:pt x="860" y="1331"/>
                  </a:lnTo>
                  <a:lnTo>
                    <a:pt x="843" y="1317"/>
                  </a:lnTo>
                  <a:lnTo>
                    <a:pt x="831" y="1307"/>
                  </a:lnTo>
                  <a:lnTo>
                    <a:pt x="817" y="1297"/>
                  </a:lnTo>
                  <a:lnTo>
                    <a:pt x="799" y="1283"/>
                  </a:lnTo>
                  <a:lnTo>
                    <a:pt x="778" y="1268"/>
                  </a:lnTo>
                  <a:lnTo>
                    <a:pt x="754" y="1250"/>
                  </a:lnTo>
                  <a:lnTo>
                    <a:pt x="734" y="1234"/>
                  </a:lnTo>
                  <a:lnTo>
                    <a:pt x="717" y="1219"/>
                  </a:lnTo>
                  <a:lnTo>
                    <a:pt x="709" y="1207"/>
                  </a:lnTo>
                  <a:lnTo>
                    <a:pt x="705" y="1189"/>
                  </a:lnTo>
                  <a:lnTo>
                    <a:pt x="701" y="1169"/>
                  </a:lnTo>
                  <a:lnTo>
                    <a:pt x="697" y="1150"/>
                  </a:lnTo>
                  <a:lnTo>
                    <a:pt x="691" y="1134"/>
                  </a:lnTo>
                  <a:lnTo>
                    <a:pt x="683" y="1126"/>
                  </a:lnTo>
                  <a:lnTo>
                    <a:pt x="675" y="1126"/>
                  </a:lnTo>
                  <a:lnTo>
                    <a:pt x="666" y="1132"/>
                  </a:lnTo>
                  <a:lnTo>
                    <a:pt x="656" y="1140"/>
                  </a:lnTo>
                  <a:lnTo>
                    <a:pt x="644" y="1148"/>
                  </a:lnTo>
                  <a:lnTo>
                    <a:pt x="632" y="1154"/>
                  </a:lnTo>
                  <a:lnTo>
                    <a:pt x="620" y="1156"/>
                  </a:lnTo>
                  <a:lnTo>
                    <a:pt x="612" y="1152"/>
                  </a:lnTo>
                  <a:lnTo>
                    <a:pt x="606" y="1142"/>
                  </a:lnTo>
                  <a:lnTo>
                    <a:pt x="591" y="1100"/>
                  </a:lnTo>
                  <a:lnTo>
                    <a:pt x="565" y="1063"/>
                  </a:lnTo>
                  <a:lnTo>
                    <a:pt x="532" y="1026"/>
                  </a:lnTo>
                  <a:lnTo>
                    <a:pt x="510" y="1006"/>
                  </a:lnTo>
                  <a:lnTo>
                    <a:pt x="484" y="984"/>
                  </a:lnTo>
                  <a:lnTo>
                    <a:pt x="461" y="963"/>
                  </a:lnTo>
                  <a:lnTo>
                    <a:pt x="437" y="943"/>
                  </a:lnTo>
                  <a:lnTo>
                    <a:pt x="419" y="923"/>
                  </a:lnTo>
                  <a:lnTo>
                    <a:pt x="406" y="908"/>
                  </a:lnTo>
                  <a:lnTo>
                    <a:pt x="390" y="894"/>
                  </a:lnTo>
                  <a:lnTo>
                    <a:pt x="374" y="890"/>
                  </a:lnTo>
                  <a:lnTo>
                    <a:pt x="356" y="892"/>
                  </a:lnTo>
                  <a:lnTo>
                    <a:pt x="343" y="900"/>
                  </a:lnTo>
                  <a:lnTo>
                    <a:pt x="331" y="910"/>
                  </a:lnTo>
                  <a:lnTo>
                    <a:pt x="321" y="919"/>
                  </a:lnTo>
                  <a:lnTo>
                    <a:pt x="309" y="921"/>
                  </a:lnTo>
                  <a:lnTo>
                    <a:pt x="295" y="913"/>
                  </a:lnTo>
                  <a:lnTo>
                    <a:pt x="280" y="898"/>
                  </a:lnTo>
                  <a:lnTo>
                    <a:pt x="266" y="870"/>
                  </a:lnTo>
                  <a:lnTo>
                    <a:pt x="246" y="839"/>
                  </a:lnTo>
                  <a:lnTo>
                    <a:pt x="217" y="809"/>
                  </a:lnTo>
                  <a:lnTo>
                    <a:pt x="183" y="782"/>
                  </a:lnTo>
                  <a:lnTo>
                    <a:pt x="152" y="756"/>
                  </a:lnTo>
                  <a:lnTo>
                    <a:pt x="124" y="734"/>
                  </a:lnTo>
                  <a:lnTo>
                    <a:pt x="105" y="717"/>
                  </a:lnTo>
                  <a:lnTo>
                    <a:pt x="87" y="697"/>
                  </a:lnTo>
                  <a:lnTo>
                    <a:pt x="73" y="677"/>
                  </a:lnTo>
                  <a:lnTo>
                    <a:pt x="61" y="662"/>
                  </a:lnTo>
                  <a:lnTo>
                    <a:pt x="53" y="652"/>
                  </a:lnTo>
                  <a:lnTo>
                    <a:pt x="51" y="648"/>
                  </a:lnTo>
                  <a:lnTo>
                    <a:pt x="47" y="648"/>
                  </a:lnTo>
                  <a:lnTo>
                    <a:pt x="40" y="650"/>
                  </a:lnTo>
                  <a:lnTo>
                    <a:pt x="30" y="650"/>
                  </a:lnTo>
                  <a:lnTo>
                    <a:pt x="20" y="648"/>
                  </a:lnTo>
                  <a:lnTo>
                    <a:pt x="8" y="646"/>
                  </a:lnTo>
                  <a:lnTo>
                    <a:pt x="2" y="638"/>
                  </a:lnTo>
                  <a:lnTo>
                    <a:pt x="0" y="628"/>
                  </a:lnTo>
                  <a:lnTo>
                    <a:pt x="4" y="614"/>
                  </a:lnTo>
                  <a:lnTo>
                    <a:pt x="10" y="593"/>
                  </a:lnTo>
                  <a:lnTo>
                    <a:pt x="14" y="575"/>
                  </a:lnTo>
                  <a:lnTo>
                    <a:pt x="14" y="559"/>
                  </a:lnTo>
                  <a:lnTo>
                    <a:pt x="12" y="541"/>
                  </a:lnTo>
                  <a:lnTo>
                    <a:pt x="10" y="524"/>
                  </a:lnTo>
                  <a:lnTo>
                    <a:pt x="12" y="504"/>
                  </a:lnTo>
                  <a:lnTo>
                    <a:pt x="12" y="482"/>
                  </a:lnTo>
                  <a:lnTo>
                    <a:pt x="8" y="463"/>
                  </a:lnTo>
                  <a:lnTo>
                    <a:pt x="6" y="449"/>
                  </a:lnTo>
                  <a:lnTo>
                    <a:pt x="4" y="439"/>
                  </a:lnTo>
                  <a:lnTo>
                    <a:pt x="10" y="431"/>
                  </a:lnTo>
                  <a:lnTo>
                    <a:pt x="22" y="427"/>
                  </a:lnTo>
                  <a:lnTo>
                    <a:pt x="34" y="429"/>
                  </a:lnTo>
                  <a:lnTo>
                    <a:pt x="44" y="437"/>
                  </a:lnTo>
                  <a:lnTo>
                    <a:pt x="51" y="449"/>
                  </a:lnTo>
                  <a:lnTo>
                    <a:pt x="57" y="461"/>
                  </a:lnTo>
                  <a:lnTo>
                    <a:pt x="65" y="471"/>
                  </a:lnTo>
                  <a:lnTo>
                    <a:pt x="75" y="475"/>
                  </a:lnTo>
                  <a:lnTo>
                    <a:pt x="87" y="473"/>
                  </a:lnTo>
                  <a:lnTo>
                    <a:pt x="105" y="465"/>
                  </a:lnTo>
                  <a:lnTo>
                    <a:pt x="118" y="463"/>
                  </a:lnTo>
                  <a:lnTo>
                    <a:pt x="132" y="463"/>
                  </a:lnTo>
                  <a:lnTo>
                    <a:pt x="144" y="459"/>
                  </a:lnTo>
                  <a:lnTo>
                    <a:pt x="152" y="451"/>
                  </a:lnTo>
                  <a:lnTo>
                    <a:pt x="158" y="435"/>
                  </a:lnTo>
                  <a:lnTo>
                    <a:pt x="164" y="412"/>
                  </a:lnTo>
                  <a:lnTo>
                    <a:pt x="169" y="394"/>
                  </a:lnTo>
                  <a:lnTo>
                    <a:pt x="171" y="376"/>
                  </a:lnTo>
                  <a:lnTo>
                    <a:pt x="169" y="360"/>
                  </a:lnTo>
                  <a:lnTo>
                    <a:pt x="156" y="347"/>
                  </a:lnTo>
                  <a:lnTo>
                    <a:pt x="140" y="335"/>
                  </a:lnTo>
                  <a:lnTo>
                    <a:pt x="122" y="325"/>
                  </a:lnTo>
                  <a:lnTo>
                    <a:pt x="108" y="315"/>
                  </a:lnTo>
                  <a:lnTo>
                    <a:pt x="99" y="305"/>
                  </a:lnTo>
                  <a:lnTo>
                    <a:pt x="97" y="293"/>
                  </a:lnTo>
                  <a:lnTo>
                    <a:pt x="101" y="278"/>
                  </a:lnTo>
                  <a:lnTo>
                    <a:pt x="108" y="254"/>
                  </a:lnTo>
                  <a:lnTo>
                    <a:pt x="114" y="229"/>
                  </a:lnTo>
                  <a:lnTo>
                    <a:pt x="118" y="205"/>
                  </a:lnTo>
                  <a:lnTo>
                    <a:pt x="124" y="183"/>
                  </a:lnTo>
                  <a:lnTo>
                    <a:pt x="132" y="168"/>
                  </a:lnTo>
                  <a:lnTo>
                    <a:pt x="140" y="158"/>
                  </a:lnTo>
                  <a:lnTo>
                    <a:pt x="148" y="150"/>
                  </a:lnTo>
                  <a:lnTo>
                    <a:pt x="154" y="146"/>
                  </a:lnTo>
                  <a:lnTo>
                    <a:pt x="158" y="142"/>
                  </a:lnTo>
                  <a:lnTo>
                    <a:pt x="160" y="140"/>
                  </a:lnTo>
                  <a:lnTo>
                    <a:pt x="162" y="138"/>
                  </a:lnTo>
                  <a:lnTo>
                    <a:pt x="256" y="152"/>
                  </a:lnTo>
                  <a:lnTo>
                    <a:pt x="284" y="105"/>
                  </a:lnTo>
                  <a:lnTo>
                    <a:pt x="355" y="42"/>
                  </a:lnTo>
                  <a:lnTo>
                    <a:pt x="384" y="24"/>
                  </a:lnTo>
                  <a:lnTo>
                    <a:pt x="492" y="61"/>
                  </a:lnTo>
                  <a:lnTo>
                    <a:pt x="530" y="87"/>
                  </a:lnTo>
                  <a:lnTo>
                    <a:pt x="589" y="81"/>
                  </a:lnTo>
                  <a:lnTo>
                    <a:pt x="626" y="36"/>
                  </a:lnTo>
                  <a:lnTo>
                    <a:pt x="792" y="67"/>
                  </a:lnTo>
                  <a:lnTo>
                    <a:pt x="841" y="106"/>
                  </a:lnTo>
                  <a:lnTo>
                    <a:pt x="896" y="118"/>
                  </a:lnTo>
                  <a:lnTo>
                    <a:pt x="1032" y="81"/>
                  </a:lnTo>
                  <a:lnTo>
                    <a:pt x="1071" y="105"/>
                  </a:lnTo>
                  <a:lnTo>
                    <a:pt x="1179" y="34"/>
                  </a:lnTo>
                  <a:lnTo>
                    <a:pt x="1297" y="32"/>
                  </a:lnTo>
                  <a:lnTo>
                    <a:pt x="1366" y="0"/>
                  </a:lnTo>
                  <a:lnTo>
                    <a:pt x="1461" y="12"/>
                  </a:lnTo>
                  <a:lnTo>
                    <a:pt x="1575" y="87"/>
                  </a:lnTo>
                  <a:lnTo>
                    <a:pt x="1666" y="75"/>
                  </a:lnTo>
                  <a:lnTo>
                    <a:pt x="1669" y="110"/>
                  </a:lnTo>
                  <a:lnTo>
                    <a:pt x="1628" y="138"/>
                  </a:lnTo>
                  <a:lnTo>
                    <a:pt x="1667" y="158"/>
                  </a:lnTo>
                  <a:lnTo>
                    <a:pt x="1666" y="205"/>
                  </a:lnTo>
                  <a:lnTo>
                    <a:pt x="1632" y="295"/>
                  </a:lnTo>
                  <a:lnTo>
                    <a:pt x="1634" y="347"/>
                  </a:lnTo>
                  <a:lnTo>
                    <a:pt x="1589" y="349"/>
                  </a:lnTo>
                  <a:lnTo>
                    <a:pt x="1595" y="431"/>
                  </a:lnTo>
                  <a:lnTo>
                    <a:pt x="1650" y="520"/>
                  </a:lnTo>
                  <a:lnTo>
                    <a:pt x="1701" y="632"/>
                  </a:lnTo>
                  <a:lnTo>
                    <a:pt x="1774" y="628"/>
                  </a:lnTo>
                  <a:lnTo>
                    <a:pt x="1845" y="663"/>
                  </a:lnTo>
                  <a:lnTo>
                    <a:pt x="1870" y="665"/>
                  </a:lnTo>
                  <a:lnTo>
                    <a:pt x="1902" y="683"/>
                  </a:lnTo>
                  <a:lnTo>
                    <a:pt x="1978" y="730"/>
                  </a:lnTo>
                  <a:lnTo>
                    <a:pt x="2041" y="726"/>
                  </a:lnTo>
                  <a:lnTo>
                    <a:pt x="2110" y="758"/>
                  </a:lnTo>
                  <a:lnTo>
                    <a:pt x="2207" y="756"/>
                  </a:lnTo>
                  <a:lnTo>
                    <a:pt x="2321" y="799"/>
                  </a:lnTo>
                  <a:lnTo>
                    <a:pt x="2402" y="860"/>
                  </a:lnTo>
                  <a:lnTo>
                    <a:pt x="2410" y="913"/>
                  </a:lnTo>
                  <a:lnTo>
                    <a:pt x="2486" y="923"/>
                  </a:lnTo>
                  <a:lnTo>
                    <a:pt x="2557" y="939"/>
                  </a:lnTo>
                  <a:lnTo>
                    <a:pt x="2628" y="843"/>
                  </a:lnTo>
                  <a:lnTo>
                    <a:pt x="2644" y="793"/>
                  </a:lnTo>
                  <a:lnTo>
                    <a:pt x="2634" y="758"/>
                  </a:lnTo>
                  <a:lnTo>
                    <a:pt x="2681" y="764"/>
                  </a:lnTo>
                  <a:lnTo>
                    <a:pt x="2740" y="803"/>
                  </a:lnTo>
                  <a:lnTo>
                    <a:pt x="2786" y="829"/>
                  </a:lnTo>
                  <a:lnTo>
                    <a:pt x="2817" y="925"/>
                  </a:lnTo>
                  <a:lnTo>
                    <a:pt x="2880" y="992"/>
                  </a:lnTo>
                  <a:lnTo>
                    <a:pt x="2874" y="1020"/>
                  </a:lnTo>
                  <a:lnTo>
                    <a:pt x="2841" y="1033"/>
                  </a:lnTo>
                  <a:lnTo>
                    <a:pt x="2880" y="1106"/>
                  </a:lnTo>
                  <a:lnTo>
                    <a:pt x="2894" y="1240"/>
                  </a:lnTo>
                  <a:lnTo>
                    <a:pt x="2896" y="1358"/>
                  </a:lnTo>
                  <a:lnTo>
                    <a:pt x="2858" y="1378"/>
                  </a:lnTo>
                  <a:lnTo>
                    <a:pt x="2849" y="1413"/>
                  </a:lnTo>
                  <a:lnTo>
                    <a:pt x="2829" y="1472"/>
                  </a:lnTo>
                  <a:lnTo>
                    <a:pt x="2835" y="1528"/>
                  </a:lnTo>
                  <a:lnTo>
                    <a:pt x="2799" y="1541"/>
                  </a:lnTo>
                  <a:lnTo>
                    <a:pt x="2774" y="1520"/>
                  </a:lnTo>
                  <a:lnTo>
                    <a:pt x="2754" y="1539"/>
                  </a:lnTo>
                </a:path>
              </a:pathLst>
            </a:custGeom>
            <a:grpFill/>
            <a:ln w="6350">
              <a:solidFill>
                <a:schemeClr val="tx1">
                  <a:lumMod val="85000"/>
                  <a:lumOff val="15000"/>
                </a:schemeClr>
              </a:solidFill>
              <a:prstDash val="solid"/>
              <a:round/>
            </a:ln>
          </p:spPr>
          <p:txBody>
            <a:bodyPr/>
            <a:lstStyle/>
            <a:p>
              <a:endParaRPr lang="zh-CN" altLang="en-US" sz="2400"/>
            </a:p>
          </p:txBody>
        </p:sp>
        <p:sp>
          <p:nvSpPr>
            <p:cNvPr id="27" name="Freeform 71"/>
            <p:cNvSpPr/>
            <p:nvPr/>
          </p:nvSpPr>
          <p:spPr bwMode="gray">
            <a:xfrm>
              <a:off x="2215" y="3052"/>
              <a:ext cx="676" cy="694"/>
            </a:xfrm>
            <a:custGeom>
              <a:avLst/>
              <a:gdLst>
                <a:gd name="T0" fmla="*/ 297 w 1352"/>
                <a:gd name="T1" fmla="*/ 258 h 1388"/>
                <a:gd name="T2" fmla="*/ 288 w 1352"/>
                <a:gd name="T3" fmla="*/ 267 h 1388"/>
                <a:gd name="T4" fmla="*/ 280 w 1352"/>
                <a:gd name="T5" fmla="*/ 277 h 1388"/>
                <a:gd name="T6" fmla="*/ 265 w 1352"/>
                <a:gd name="T7" fmla="*/ 279 h 1388"/>
                <a:gd name="T8" fmla="*/ 258 w 1352"/>
                <a:gd name="T9" fmla="*/ 281 h 1388"/>
                <a:gd name="T10" fmla="*/ 248 w 1352"/>
                <a:gd name="T11" fmla="*/ 285 h 1388"/>
                <a:gd name="T12" fmla="*/ 240 w 1352"/>
                <a:gd name="T13" fmla="*/ 279 h 1388"/>
                <a:gd name="T14" fmla="*/ 237 w 1352"/>
                <a:gd name="T15" fmla="*/ 285 h 1388"/>
                <a:gd name="T16" fmla="*/ 231 w 1352"/>
                <a:gd name="T17" fmla="*/ 284 h 1388"/>
                <a:gd name="T18" fmla="*/ 228 w 1352"/>
                <a:gd name="T19" fmla="*/ 281 h 1388"/>
                <a:gd name="T20" fmla="*/ 218 w 1352"/>
                <a:gd name="T21" fmla="*/ 290 h 1388"/>
                <a:gd name="T22" fmla="*/ 202 w 1352"/>
                <a:gd name="T23" fmla="*/ 282 h 1388"/>
                <a:gd name="T24" fmla="*/ 188 w 1352"/>
                <a:gd name="T25" fmla="*/ 290 h 1388"/>
                <a:gd name="T26" fmla="*/ 174 w 1352"/>
                <a:gd name="T27" fmla="*/ 293 h 1388"/>
                <a:gd name="T28" fmla="*/ 162 w 1352"/>
                <a:gd name="T29" fmla="*/ 303 h 1388"/>
                <a:gd name="T30" fmla="*/ 169 w 1352"/>
                <a:gd name="T31" fmla="*/ 330 h 1388"/>
                <a:gd name="T32" fmla="*/ 165 w 1352"/>
                <a:gd name="T33" fmla="*/ 346 h 1388"/>
                <a:gd name="T34" fmla="*/ 146 w 1352"/>
                <a:gd name="T35" fmla="*/ 341 h 1388"/>
                <a:gd name="T36" fmla="*/ 142 w 1352"/>
                <a:gd name="T37" fmla="*/ 322 h 1388"/>
                <a:gd name="T38" fmla="*/ 130 w 1352"/>
                <a:gd name="T39" fmla="*/ 330 h 1388"/>
                <a:gd name="T40" fmla="*/ 113 w 1352"/>
                <a:gd name="T41" fmla="*/ 336 h 1388"/>
                <a:gd name="T42" fmla="*/ 98 w 1352"/>
                <a:gd name="T43" fmla="*/ 327 h 1388"/>
                <a:gd name="T44" fmla="*/ 94 w 1352"/>
                <a:gd name="T45" fmla="*/ 310 h 1388"/>
                <a:gd name="T46" fmla="*/ 76 w 1352"/>
                <a:gd name="T47" fmla="*/ 308 h 1388"/>
                <a:gd name="T48" fmla="*/ 67 w 1352"/>
                <a:gd name="T49" fmla="*/ 301 h 1388"/>
                <a:gd name="T50" fmla="*/ 72 w 1352"/>
                <a:gd name="T51" fmla="*/ 280 h 1388"/>
                <a:gd name="T52" fmla="*/ 79 w 1352"/>
                <a:gd name="T53" fmla="*/ 267 h 1388"/>
                <a:gd name="T54" fmla="*/ 63 w 1352"/>
                <a:gd name="T55" fmla="*/ 263 h 1388"/>
                <a:gd name="T56" fmla="*/ 53 w 1352"/>
                <a:gd name="T57" fmla="*/ 245 h 1388"/>
                <a:gd name="T58" fmla="*/ 47 w 1352"/>
                <a:gd name="T59" fmla="*/ 227 h 1388"/>
                <a:gd name="T60" fmla="*/ 51 w 1352"/>
                <a:gd name="T61" fmla="*/ 218 h 1388"/>
                <a:gd name="T62" fmla="*/ 48 w 1352"/>
                <a:gd name="T63" fmla="*/ 217 h 1388"/>
                <a:gd name="T64" fmla="*/ 24 w 1352"/>
                <a:gd name="T65" fmla="*/ 220 h 1388"/>
                <a:gd name="T66" fmla="*/ 9 w 1352"/>
                <a:gd name="T67" fmla="*/ 229 h 1388"/>
                <a:gd name="T68" fmla="*/ 3 w 1352"/>
                <a:gd name="T69" fmla="*/ 224 h 1388"/>
                <a:gd name="T70" fmla="*/ 8 w 1352"/>
                <a:gd name="T71" fmla="*/ 215 h 1388"/>
                <a:gd name="T72" fmla="*/ 3 w 1352"/>
                <a:gd name="T73" fmla="*/ 206 h 1388"/>
                <a:gd name="T74" fmla="*/ 5 w 1352"/>
                <a:gd name="T75" fmla="*/ 189 h 1388"/>
                <a:gd name="T76" fmla="*/ 15 w 1352"/>
                <a:gd name="T77" fmla="*/ 172 h 1388"/>
                <a:gd name="T78" fmla="*/ 28 w 1352"/>
                <a:gd name="T79" fmla="*/ 162 h 1388"/>
                <a:gd name="T80" fmla="*/ 38 w 1352"/>
                <a:gd name="T81" fmla="*/ 150 h 1388"/>
                <a:gd name="T82" fmla="*/ 49 w 1352"/>
                <a:gd name="T83" fmla="*/ 131 h 1388"/>
                <a:gd name="T84" fmla="*/ 53 w 1352"/>
                <a:gd name="T85" fmla="*/ 89 h 1388"/>
                <a:gd name="T86" fmla="*/ 47 w 1352"/>
                <a:gd name="T87" fmla="*/ 72 h 1388"/>
                <a:gd name="T88" fmla="*/ 31 w 1352"/>
                <a:gd name="T89" fmla="*/ 60 h 1388"/>
                <a:gd name="T90" fmla="*/ 51 w 1352"/>
                <a:gd name="T91" fmla="*/ 42 h 1388"/>
                <a:gd name="T92" fmla="*/ 78 w 1352"/>
                <a:gd name="T93" fmla="*/ 44 h 1388"/>
                <a:gd name="T94" fmla="*/ 112 w 1352"/>
                <a:gd name="T95" fmla="*/ 60 h 1388"/>
                <a:gd name="T96" fmla="*/ 170 w 1352"/>
                <a:gd name="T97" fmla="*/ 138 h 1388"/>
                <a:gd name="T98" fmla="*/ 214 w 1352"/>
                <a:gd name="T99" fmla="*/ 109 h 1388"/>
                <a:gd name="T100" fmla="*/ 229 w 1352"/>
                <a:gd name="T101" fmla="*/ 50 h 1388"/>
                <a:gd name="T102" fmla="*/ 248 w 1352"/>
                <a:gd name="T103" fmla="*/ 26 h 1388"/>
                <a:gd name="T104" fmla="*/ 289 w 1352"/>
                <a:gd name="T105" fmla="*/ 47 h 1388"/>
                <a:gd name="T106" fmla="*/ 266 w 1352"/>
                <a:gd name="T107" fmla="*/ 82 h 1388"/>
                <a:gd name="T108" fmla="*/ 240 w 1352"/>
                <a:gd name="T109" fmla="*/ 101 h 1388"/>
                <a:gd name="T110" fmla="*/ 276 w 1352"/>
                <a:gd name="T111" fmla="*/ 122 h 1388"/>
                <a:gd name="T112" fmla="*/ 280 w 1352"/>
                <a:gd name="T113" fmla="*/ 183 h 1388"/>
                <a:gd name="T114" fmla="*/ 300 w 1352"/>
                <a:gd name="T115" fmla="*/ 216 h 1388"/>
                <a:gd name="T116" fmla="*/ 338 w 1352"/>
                <a:gd name="T117" fmla="*/ 225 h 13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52"/>
                <a:gd name="T178" fmla="*/ 0 h 1388"/>
                <a:gd name="T179" fmla="*/ 1352 w 1352"/>
                <a:gd name="T180" fmla="*/ 1388 h 13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52" h="1388">
                  <a:moveTo>
                    <a:pt x="1262" y="1026"/>
                  </a:moveTo>
                  <a:lnTo>
                    <a:pt x="1230" y="998"/>
                  </a:lnTo>
                  <a:lnTo>
                    <a:pt x="1203" y="1026"/>
                  </a:lnTo>
                  <a:lnTo>
                    <a:pt x="1197" y="1028"/>
                  </a:lnTo>
                  <a:lnTo>
                    <a:pt x="1185" y="1032"/>
                  </a:lnTo>
                  <a:lnTo>
                    <a:pt x="1171" y="1039"/>
                  </a:lnTo>
                  <a:lnTo>
                    <a:pt x="1159" y="1045"/>
                  </a:lnTo>
                  <a:lnTo>
                    <a:pt x="1154" y="1049"/>
                  </a:lnTo>
                  <a:lnTo>
                    <a:pt x="1152" y="1055"/>
                  </a:lnTo>
                  <a:lnTo>
                    <a:pt x="1150" y="1067"/>
                  </a:lnTo>
                  <a:lnTo>
                    <a:pt x="1148" y="1081"/>
                  </a:lnTo>
                  <a:lnTo>
                    <a:pt x="1144" y="1093"/>
                  </a:lnTo>
                  <a:lnTo>
                    <a:pt x="1138" y="1098"/>
                  </a:lnTo>
                  <a:lnTo>
                    <a:pt x="1130" y="1102"/>
                  </a:lnTo>
                  <a:lnTo>
                    <a:pt x="1118" y="1106"/>
                  </a:lnTo>
                  <a:lnTo>
                    <a:pt x="1104" y="1114"/>
                  </a:lnTo>
                  <a:lnTo>
                    <a:pt x="1091" y="1118"/>
                  </a:lnTo>
                  <a:lnTo>
                    <a:pt x="1079" y="1122"/>
                  </a:lnTo>
                  <a:lnTo>
                    <a:pt x="1069" y="1120"/>
                  </a:lnTo>
                  <a:lnTo>
                    <a:pt x="1059" y="1114"/>
                  </a:lnTo>
                  <a:lnTo>
                    <a:pt x="1047" y="1112"/>
                  </a:lnTo>
                  <a:lnTo>
                    <a:pt x="1035" y="1112"/>
                  </a:lnTo>
                  <a:lnTo>
                    <a:pt x="1032" y="1112"/>
                  </a:lnTo>
                  <a:lnTo>
                    <a:pt x="1032" y="1116"/>
                  </a:lnTo>
                  <a:lnTo>
                    <a:pt x="1030" y="1124"/>
                  </a:lnTo>
                  <a:lnTo>
                    <a:pt x="1026" y="1136"/>
                  </a:lnTo>
                  <a:lnTo>
                    <a:pt x="1020" y="1144"/>
                  </a:lnTo>
                  <a:lnTo>
                    <a:pt x="1012" y="1148"/>
                  </a:lnTo>
                  <a:lnTo>
                    <a:pt x="1004" y="1146"/>
                  </a:lnTo>
                  <a:lnTo>
                    <a:pt x="992" y="1140"/>
                  </a:lnTo>
                  <a:lnTo>
                    <a:pt x="980" y="1130"/>
                  </a:lnTo>
                  <a:lnTo>
                    <a:pt x="969" y="1122"/>
                  </a:lnTo>
                  <a:lnTo>
                    <a:pt x="963" y="1116"/>
                  </a:lnTo>
                  <a:lnTo>
                    <a:pt x="959" y="1114"/>
                  </a:lnTo>
                  <a:lnTo>
                    <a:pt x="959" y="1116"/>
                  </a:lnTo>
                  <a:lnTo>
                    <a:pt x="959" y="1118"/>
                  </a:lnTo>
                  <a:lnTo>
                    <a:pt x="957" y="1124"/>
                  </a:lnTo>
                  <a:lnTo>
                    <a:pt x="955" y="1130"/>
                  </a:lnTo>
                  <a:lnTo>
                    <a:pt x="951" y="1134"/>
                  </a:lnTo>
                  <a:lnTo>
                    <a:pt x="949" y="1140"/>
                  </a:lnTo>
                  <a:lnTo>
                    <a:pt x="945" y="1142"/>
                  </a:lnTo>
                  <a:lnTo>
                    <a:pt x="939" y="1144"/>
                  </a:lnTo>
                  <a:lnTo>
                    <a:pt x="935" y="1142"/>
                  </a:lnTo>
                  <a:lnTo>
                    <a:pt x="931" y="1140"/>
                  </a:lnTo>
                  <a:lnTo>
                    <a:pt x="925" y="1136"/>
                  </a:lnTo>
                  <a:lnTo>
                    <a:pt x="921" y="1132"/>
                  </a:lnTo>
                  <a:lnTo>
                    <a:pt x="919" y="1128"/>
                  </a:lnTo>
                  <a:lnTo>
                    <a:pt x="917" y="1126"/>
                  </a:lnTo>
                  <a:lnTo>
                    <a:pt x="915" y="1122"/>
                  </a:lnTo>
                  <a:lnTo>
                    <a:pt x="913" y="1122"/>
                  </a:lnTo>
                  <a:lnTo>
                    <a:pt x="911" y="1126"/>
                  </a:lnTo>
                  <a:lnTo>
                    <a:pt x="906" y="1132"/>
                  </a:lnTo>
                  <a:lnTo>
                    <a:pt x="896" y="1144"/>
                  </a:lnTo>
                  <a:lnTo>
                    <a:pt x="886" y="1154"/>
                  </a:lnTo>
                  <a:lnTo>
                    <a:pt x="874" y="1159"/>
                  </a:lnTo>
                  <a:lnTo>
                    <a:pt x="864" y="1163"/>
                  </a:lnTo>
                  <a:lnTo>
                    <a:pt x="852" y="1159"/>
                  </a:lnTo>
                  <a:lnTo>
                    <a:pt x="839" y="1150"/>
                  </a:lnTo>
                  <a:lnTo>
                    <a:pt x="825" y="1138"/>
                  </a:lnTo>
                  <a:lnTo>
                    <a:pt x="809" y="1128"/>
                  </a:lnTo>
                  <a:lnTo>
                    <a:pt x="797" y="1122"/>
                  </a:lnTo>
                  <a:lnTo>
                    <a:pt x="787" y="1120"/>
                  </a:lnTo>
                  <a:lnTo>
                    <a:pt x="778" y="1130"/>
                  </a:lnTo>
                  <a:lnTo>
                    <a:pt x="766" y="1144"/>
                  </a:lnTo>
                  <a:lnTo>
                    <a:pt x="754" y="1159"/>
                  </a:lnTo>
                  <a:lnTo>
                    <a:pt x="742" y="1171"/>
                  </a:lnTo>
                  <a:lnTo>
                    <a:pt x="734" y="1179"/>
                  </a:lnTo>
                  <a:lnTo>
                    <a:pt x="724" y="1177"/>
                  </a:lnTo>
                  <a:lnTo>
                    <a:pt x="711" y="1175"/>
                  </a:lnTo>
                  <a:lnTo>
                    <a:pt x="695" y="1169"/>
                  </a:lnTo>
                  <a:lnTo>
                    <a:pt x="679" y="1165"/>
                  </a:lnTo>
                  <a:lnTo>
                    <a:pt x="667" y="1165"/>
                  </a:lnTo>
                  <a:lnTo>
                    <a:pt x="659" y="1167"/>
                  </a:lnTo>
                  <a:lnTo>
                    <a:pt x="650" y="1183"/>
                  </a:lnTo>
                  <a:lnTo>
                    <a:pt x="646" y="1209"/>
                  </a:lnTo>
                  <a:lnTo>
                    <a:pt x="648" y="1234"/>
                  </a:lnTo>
                  <a:lnTo>
                    <a:pt x="656" y="1254"/>
                  </a:lnTo>
                  <a:lnTo>
                    <a:pt x="665" y="1278"/>
                  </a:lnTo>
                  <a:lnTo>
                    <a:pt x="673" y="1299"/>
                  </a:lnTo>
                  <a:lnTo>
                    <a:pt x="675" y="1317"/>
                  </a:lnTo>
                  <a:lnTo>
                    <a:pt x="673" y="1331"/>
                  </a:lnTo>
                  <a:lnTo>
                    <a:pt x="673" y="1346"/>
                  </a:lnTo>
                  <a:lnTo>
                    <a:pt x="673" y="1362"/>
                  </a:lnTo>
                  <a:lnTo>
                    <a:pt x="667" y="1374"/>
                  </a:lnTo>
                  <a:lnTo>
                    <a:pt x="658" y="1382"/>
                  </a:lnTo>
                  <a:lnTo>
                    <a:pt x="638" y="1386"/>
                  </a:lnTo>
                  <a:lnTo>
                    <a:pt x="620" y="1388"/>
                  </a:lnTo>
                  <a:lnTo>
                    <a:pt x="604" y="1386"/>
                  </a:lnTo>
                  <a:lnTo>
                    <a:pt x="591" y="1380"/>
                  </a:lnTo>
                  <a:lnTo>
                    <a:pt x="581" y="1362"/>
                  </a:lnTo>
                  <a:lnTo>
                    <a:pt x="573" y="1343"/>
                  </a:lnTo>
                  <a:lnTo>
                    <a:pt x="571" y="1321"/>
                  </a:lnTo>
                  <a:lnTo>
                    <a:pt x="569" y="1309"/>
                  </a:lnTo>
                  <a:lnTo>
                    <a:pt x="567" y="1297"/>
                  </a:lnTo>
                  <a:lnTo>
                    <a:pt x="565" y="1287"/>
                  </a:lnTo>
                  <a:lnTo>
                    <a:pt x="559" y="1282"/>
                  </a:lnTo>
                  <a:lnTo>
                    <a:pt x="553" y="1283"/>
                  </a:lnTo>
                  <a:lnTo>
                    <a:pt x="545" y="1291"/>
                  </a:lnTo>
                  <a:lnTo>
                    <a:pt x="534" y="1303"/>
                  </a:lnTo>
                  <a:lnTo>
                    <a:pt x="518" y="1317"/>
                  </a:lnTo>
                  <a:lnTo>
                    <a:pt x="504" y="1331"/>
                  </a:lnTo>
                  <a:lnTo>
                    <a:pt x="488" y="1341"/>
                  </a:lnTo>
                  <a:lnTo>
                    <a:pt x="476" y="1343"/>
                  </a:lnTo>
                  <a:lnTo>
                    <a:pt x="465" y="1343"/>
                  </a:lnTo>
                  <a:lnTo>
                    <a:pt x="451" y="1343"/>
                  </a:lnTo>
                  <a:lnTo>
                    <a:pt x="437" y="1345"/>
                  </a:lnTo>
                  <a:lnTo>
                    <a:pt x="425" y="1343"/>
                  </a:lnTo>
                  <a:lnTo>
                    <a:pt x="415" y="1337"/>
                  </a:lnTo>
                  <a:lnTo>
                    <a:pt x="404" y="1323"/>
                  </a:lnTo>
                  <a:lnTo>
                    <a:pt x="394" y="1307"/>
                  </a:lnTo>
                  <a:lnTo>
                    <a:pt x="388" y="1287"/>
                  </a:lnTo>
                  <a:lnTo>
                    <a:pt x="386" y="1272"/>
                  </a:lnTo>
                  <a:lnTo>
                    <a:pt x="382" y="1256"/>
                  </a:lnTo>
                  <a:lnTo>
                    <a:pt x="378" y="1244"/>
                  </a:lnTo>
                  <a:lnTo>
                    <a:pt x="378" y="1240"/>
                  </a:lnTo>
                  <a:lnTo>
                    <a:pt x="372" y="1240"/>
                  </a:lnTo>
                  <a:lnTo>
                    <a:pt x="358" y="1240"/>
                  </a:lnTo>
                  <a:lnTo>
                    <a:pt x="341" y="1238"/>
                  </a:lnTo>
                  <a:lnTo>
                    <a:pt x="321" y="1236"/>
                  </a:lnTo>
                  <a:lnTo>
                    <a:pt x="303" y="1232"/>
                  </a:lnTo>
                  <a:lnTo>
                    <a:pt x="291" y="1224"/>
                  </a:lnTo>
                  <a:lnTo>
                    <a:pt x="282" y="1219"/>
                  </a:lnTo>
                  <a:lnTo>
                    <a:pt x="276" y="1213"/>
                  </a:lnTo>
                  <a:lnTo>
                    <a:pt x="270" y="1209"/>
                  </a:lnTo>
                  <a:lnTo>
                    <a:pt x="268" y="1201"/>
                  </a:lnTo>
                  <a:lnTo>
                    <a:pt x="268" y="1189"/>
                  </a:lnTo>
                  <a:lnTo>
                    <a:pt x="274" y="1171"/>
                  </a:lnTo>
                  <a:lnTo>
                    <a:pt x="280" y="1150"/>
                  </a:lnTo>
                  <a:lnTo>
                    <a:pt x="284" y="1134"/>
                  </a:lnTo>
                  <a:lnTo>
                    <a:pt x="285" y="1120"/>
                  </a:lnTo>
                  <a:lnTo>
                    <a:pt x="287" y="1110"/>
                  </a:lnTo>
                  <a:lnTo>
                    <a:pt x="291" y="1100"/>
                  </a:lnTo>
                  <a:lnTo>
                    <a:pt x="299" y="1087"/>
                  </a:lnTo>
                  <a:lnTo>
                    <a:pt x="309" y="1075"/>
                  </a:lnTo>
                  <a:lnTo>
                    <a:pt x="315" y="1065"/>
                  </a:lnTo>
                  <a:lnTo>
                    <a:pt x="311" y="1057"/>
                  </a:lnTo>
                  <a:lnTo>
                    <a:pt x="303" y="1053"/>
                  </a:lnTo>
                  <a:lnTo>
                    <a:pt x="289" y="1053"/>
                  </a:lnTo>
                  <a:lnTo>
                    <a:pt x="272" y="1053"/>
                  </a:lnTo>
                  <a:lnTo>
                    <a:pt x="254" y="1051"/>
                  </a:lnTo>
                  <a:lnTo>
                    <a:pt x="240" y="1047"/>
                  </a:lnTo>
                  <a:lnTo>
                    <a:pt x="230" y="1039"/>
                  </a:lnTo>
                  <a:lnTo>
                    <a:pt x="221" y="1020"/>
                  </a:lnTo>
                  <a:lnTo>
                    <a:pt x="217" y="1000"/>
                  </a:lnTo>
                  <a:lnTo>
                    <a:pt x="211" y="980"/>
                  </a:lnTo>
                  <a:lnTo>
                    <a:pt x="207" y="959"/>
                  </a:lnTo>
                  <a:lnTo>
                    <a:pt x="205" y="943"/>
                  </a:lnTo>
                  <a:lnTo>
                    <a:pt x="199" y="931"/>
                  </a:lnTo>
                  <a:lnTo>
                    <a:pt x="191" y="919"/>
                  </a:lnTo>
                  <a:lnTo>
                    <a:pt x="187" y="908"/>
                  </a:lnTo>
                  <a:lnTo>
                    <a:pt x="189" y="894"/>
                  </a:lnTo>
                  <a:lnTo>
                    <a:pt x="191" y="888"/>
                  </a:lnTo>
                  <a:lnTo>
                    <a:pt x="197" y="884"/>
                  </a:lnTo>
                  <a:lnTo>
                    <a:pt x="201" y="878"/>
                  </a:lnTo>
                  <a:lnTo>
                    <a:pt x="205" y="874"/>
                  </a:lnTo>
                  <a:lnTo>
                    <a:pt x="209" y="870"/>
                  </a:lnTo>
                  <a:lnTo>
                    <a:pt x="211" y="868"/>
                  </a:lnTo>
                  <a:lnTo>
                    <a:pt x="213" y="868"/>
                  </a:lnTo>
                  <a:lnTo>
                    <a:pt x="207" y="868"/>
                  </a:lnTo>
                  <a:lnTo>
                    <a:pt x="193" y="868"/>
                  </a:lnTo>
                  <a:lnTo>
                    <a:pt x="173" y="870"/>
                  </a:lnTo>
                  <a:lnTo>
                    <a:pt x="152" y="870"/>
                  </a:lnTo>
                  <a:lnTo>
                    <a:pt x="130" y="872"/>
                  </a:lnTo>
                  <a:lnTo>
                    <a:pt x="112" y="876"/>
                  </a:lnTo>
                  <a:lnTo>
                    <a:pt x="97" y="882"/>
                  </a:lnTo>
                  <a:lnTo>
                    <a:pt x="81" y="892"/>
                  </a:lnTo>
                  <a:lnTo>
                    <a:pt x="67" y="902"/>
                  </a:lnTo>
                  <a:lnTo>
                    <a:pt x="53" y="912"/>
                  </a:lnTo>
                  <a:lnTo>
                    <a:pt x="43" y="915"/>
                  </a:lnTo>
                  <a:lnTo>
                    <a:pt x="34" y="915"/>
                  </a:lnTo>
                  <a:lnTo>
                    <a:pt x="28" y="912"/>
                  </a:lnTo>
                  <a:lnTo>
                    <a:pt x="22" y="908"/>
                  </a:lnTo>
                  <a:lnTo>
                    <a:pt x="18" y="906"/>
                  </a:lnTo>
                  <a:lnTo>
                    <a:pt x="14" y="902"/>
                  </a:lnTo>
                  <a:lnTo>
                    <a:pt x="10" y="896"/>
                  </a:lnTo>
                  <a:lnTo>
                    <a:pt x="10" y="892"/>
                  </a:lnTo>
                  <a:lnTo>
                    <a:pt x="10" y="884"/>
                  </a:lnTo>
                  <a:lnTo>
                    <a:pt x="16" y="876"/>
                  </a:lnTo>
                  <a:lnTo>
                    <a:pt x="24" y="868"/>
                  </a:lnTo>
                  <a:lnTo>
                    <a:pt x="32" y="862"/>
                  </a:lnTo>
                  <a:lnTo>
                    <a:pt x="37" y="854"/>
                  </a:lnTo>
                  <a:lnTo>
                    <a:pt x="37" y="843"/>
                  </a:lnTo>
                  <a:lnTo>
                    <a:pt x="34" y="835"/>
                  </a:lnTo>
                  <a:lnTo>
                    <a:pt x="24" y="829"/>
                  </a:lnTo>
                  <a:lnTo>
                    <a:pt x="14" y="823"/>
                  </a:lnTo>
                  <a:lnTo>
                    <a:pt x="6" y="817"/>
                  </a:lnTo>
                  <a:lnTo>
                    <a:pt x="0" y="811"/>
                  </a:lnTo>
                  <a:lnTo>
                    <a:pt x="2" y="799"/>
                  </a:lnTo>
                  <a:lnTo>
                    <a:pt x="12" y="776"/>
                  </a:lnTo>
                  <a:lnTo>
                    <a:pt x="22" y="758"/>
                  </a:lnTo>
                  <a:lnTo>
                    <a:pt x="34" y="744"/>
                  </a:lnTo>
                  <a:lnTo>
                    <a:pt x="41" y="734"/>
                  </a:lnTo>
                  <a:lnTo>
                    <a:pt x="47" y="719"/>
                  </a:lnTo>
                  <a:lnTo>
                    <a:pt x="55" y="701"/>
                  </a:lnTo>
                  <a:lnTo>
                    <a:pt x="61" y="685"/>
                  </a:lnTo>
                  <a:lnTo>
                    <a:pt x="67" y="675"/>
                  </a:lnTo>
                  <a:lnTo>
                    <a:pt x="75" y="669"/>
                  </a:lnTo>
                  <a:lnTo>
                    <a:pt x="89" y="665"/>
                  </a:lnTo>
                  <a:lnTo>
                    <a:pt x="102" y="660"/>
                  </a:lnTo>
                  <a:lnTo>
                    <a:pt x="114" y="646"/>
                  </a:lnTo>
                  <a:lnTo>
                    <a:pt x="122" y="632"/>
                  </a:lnTo>
                  <a:lnTo>
                    <a:pt x="126" y="620"/>
                  </a:lnTo>
                  <a:lnTo>
                    <a:pt x="130" y="614"/>
                  </a:lnTo>
                  <a:lnTo>
                    <a:pt x="142" y="604"/>
                  </a:lnTo>
                  <a:lnTo>
                    <a:pt x="152" y="599"/>
                  </a:lnTo>
                  <a:lnTo>
                    <a:pt x="161" y="595"/>
                  </a:lnTo>
                  <a:lnTo>
                    <a:pt x="167" y="591"/>
                  </a:lnTo>
                  <a:lnTo>
                    <a:pt x="175" y="581"/>
                  </a:lnTo>
                  <a:lnTo>
                    <a:pt x="187" y="553"/>
                  </a:lnTo>
                  <a:lnTo>
                    <a:pt x="197" y="522"/>
                  </a:lnTo>
                  <a:lnTo>
                    <a:pt x="205" y="488"/>
                  </a:lnTo>
                  <a:lnTo>
                    <a:pt x="213" y="445"/>
                  </a:lnTo>
                  <a:lnTo>
                    <a:pt x="215" y="404"/>
                  </a:lnTo>
                  <a:lnTo>
                    <a:pt x="213" y="384"/>
                  </a:lnTo>
                  <a:lnTo>
                    <a:pt x="213" y="358"/>
                  </a:lnTo>
                  <a:lnTo>
                    <a:pt x="213" y="333"/>
                  </a:lnTo>
                  <a:lnTo>
                    <a:pt x="211" y="309"/>
                  </a:lnTo>
                  <a:lnTo>
                    <a:pt x="209" y="295"/>
                  </a:lnTo>
                  <a:lnTo>
                    <a:pt x="201" y="288"/>
                  </a:lnTo>
                  <a:lnTo>
                    <a:pt x="189" y="286"/>
                  </a:lnTo>
                  <a:lnTo>
                    <a:pt x="173" y="284"/>
                  </a:lnTo>
                  <a:lnTo>
                    <a:pt x="159" y="280"/>
                  </a:lnTo>
                  <a:lnTo>
                    <a:pt x="146" y="274"/>
                  </a:lnTo>
                  <a:lnTo>
                    <a:pt x="134" y="260"/>
                  </a:lnTo>
                  <a:lnTo>
                    <a:pt x="126" y="242"/>
                  </a:lnTo>
                  <a:lnTo>
                    <a:pt x="122" y="225"/>
                  </a:lnTo>
                  <a:lnTo>
                    <a:pt x="124" y="181"/>
                  </a:lnTo>
                  <a:lnTo>
                    <a:pt x="144" y="162"/>
                  </a:lnTo>
                  <a:lnTo>
                    <a:pt x="169" y="183"/>
                  </a:lnTo>
                  <a:lnTo>
                    <a:pt x="203" y="168"/>
                  </a:lnTo>
                  <a:lnTo>
                    <a:pt x="199" y="114"/>
                  </a:lnTo>
                  <a:lnTo>
                    <a:pt x="228" y="20"/>
                  </a:lnTo>
                  <a:lnTo>
                    <a:pt x="266" y="0"/>
                  </a:lnTo>
                  <a:lnTo>
                    <a:pt x="278" y="116"/>
                  </a:lnTo>
                  <a:lnTo>
                    <a:pt x="311" y="177"/>
                  </a:lnTo>
                  <a:lnTo>
                    <a:pt x="354" y="170"/>
                  </a:lnTo>
                  <a:lnTo>
                    <a:pt x="400" y="118"/>
                  </a:lnTo>
                  <a:lnTo>
                    <a:pt x="429" y="156"/>
                  </a:lnTo>
                  <a:lnTo>
                    <a:pt x="411" y="191"/>
                  </a:lnTo>
                  <a:lnTo>
                    <a:pt x="447" y="242"/>
                  </a:lnTo>
                  <a:lnTo>
                    <a:pt x="496" y="244"/>
                  </a:lnTo>
                  <a:lnTo>
                    <a:pt x="551" y="329"/>
                  </a:lnTo>
                  <a:lnTo>
                    <a:pt x="614" y="439"/>
                  </a:lnTo>
                  <a:lnTo>
                    <a:pt x="646" y="516"/>
                  </a:lnTo>
                  <a:lnTo>
                    <a:pt x="681" y="551"/>
                  </a:lnTo>
                  <a:lnTo>
                    <a:pt x="721" y="543"/>
                  </a:lnTo>
                  <a:lnTo>
                    <a:pt x="793" y="494"/>
                  </a:lnTo>
                  <a:lnTo>
                    <a:pt x="803" y="518"/>
                  </a:lnTo>
                  <a:lnTo>
                    <a:pt x="852" y="492"/>
                  </a:lnTo>
                  <a:lnTo>
                    <a:pt x="856" y="435"/>
                  </a:lnTo>
                  <a:lnTo>
                    <a:pt x="831" y="402"/>
                  </a:lnTo>
                  <a:lnTo>
                    <a:pt x="831" y="335"/>
                  </a:lnTo>
                  <a:lnTo>
                    <a:pt x="868" y="315"/>
                  </a:lnTo>
                  <a:lnTo>
                    <a:pt x="925" y="244"/>
                  </a:lnTo>
                  <a:lnTo>
                    <a:pt x="917" y="199"/>
                  </a:lnTo>
                  <a:lnTo>
                    <a:pt x="941" y="171"/>
                  </a:lnTo>
                  <a:lnTo>
                    <a:pt x="976" y="171"/>
                  </a:lnTo>
                  <a:lnTo>
                    <a:pt x="980" y="148"/>
                  </a:lnTo>
                  <a:lnTo>
                    <a:pt x="967" y="120"/>
                  </a:lnTo>
                  <a:lnTo>
                    <a:pt x="994" y="103"/>
                  </a:lnTo>
                  <a:lnTo>
                    <a:pt x="1043" y="108"/>
                  </a:lnTo>
                  <a:lnTo>
                    <a:pt x="1043" y="162"/>
                  </a:lnTo>
                  <a:lnTo>
                    <a:pt x="1065" y="232"/>
                  </a:lnTo>
                  <a:lnTo>
                    <a:pt x="1128" y="227"/>
                  </a:lnTo>
                  <a:lnTo>
                    <a:pt x="1154" y="189"/>
                  </a:lnTo>
                  <a:lnTo>
                    <a:pt x="1187" y="211"/>
                  </a:lnTo>
                  <a:lnTo>
                    <a:pt x="1193" y="252"/>
                  </a:lnTo>
                  <a:lnTo>
                    <a:pt x="1177" y="315"/>
                  </a:lnTo>
                  <a:lnTo>
                    <a:pt x="1126" y="329"/>
                  </a:lnTo>
                  <a:lnTo>
                    <a:pt x="1061" y="327"/>
                  </a:lnTo>
                  <a:lnTo>
                    <a:pt x="1047" y="311"/>
                  </a:lnTo>
                  <a:lnTo>
                    <a:pt x="1024" y="337"/>
                  </a:lnTo>
                  <a:lnTo>
                    <a:pt x="994" y="315"/>
                  </a:lnTo>
                  <a:lnTo>
                    <a:pt x="939" y="376"/>
                  </a:lnTo>
                  <a:lnTo>
                    <a:pt x="961" y="404"/>
                  </a:lnTo>
                  <a:lnTo>
                    <a:pt x="965" y="459"/>
                  </a:lnTo>
                  <a:lnTo>
                    <a:pt x="1006" y="471"/>
                  </a:lnTo>
                  <a:lnTo>
                    <a:pt x="1051" y="449"/>
                  </a:lnTo>
                  <a:lnTo>
                    <a:pt x="1069" y="445"/>
                  </a:lnTo>
                  <a:lnTo>
                    <a:pt x="1104" y="490"/>
                  </a:lnTo>
                  <a:lnTo>
                    <a:pt x="1075" y="561"/>
                  </a:lnTo>
                  <a:lnTo>
                    <a:pt x="1053" y="614"/>
                  </a:lnTo>
                  <a:lnTo>
                    <a:pt x="1075" y="658"/>
                  </a:lnTo>
                  <a:lnTo>
                    <a:pt x="1116" y="677"/>
                  </a:lnTo>
                  <a:lnTo>
                    <a:pt x="1118" y="732"/>
                  </a:lnTo>
                  <a:lnTo>
                    <a:pt x="1081" y="782"/>
                  </a:lnTo>
                  <a:lnTo>
                    <a:pt x="1112" y="837"/>
                  </a:lnTo>
                  <a:lnTo>
                    <a:pt x="1138" y="819"/>
                  </a:lnTo>
                  <a:lnTo>
                    <a:pt x="1187" y="823"/>
                  </a:lnTo>
                  <a:lnTo>
                    <a:pt x="1197" y="864"/>
                  </a:lnTo>
                  <a:lnTo>
                    <a:pt x="1228" y="884"/>
                  </a:lnTo>
                  <a:lnTo>
                    <a:pt x="1262" y="864"/>
                  </a:lnTo>
                  <a:lnTo>
                    <a:pt x="1293" y="888"/>
                  </a:lnTo>
                  <a:lnTo>
                    <a:pt x="1329" y="872"/>
                  </a:lnTo>
                  <a:lnTo>
                    <a:pt x="1352" y="900"/>
                  </a:lnTo>
                  <a:lnTo>
                    <a:pt x="1343" y="973"/>
                  </a:lnTo>
                  <a:lnTo>
                    <a:pt x="1291" y="986"/>
                  </a:lnTo>
                  <a:lnTo>
                    <a:pt x="1262" y="1026"/>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28" name="Freeform 72"/>
            <p:cNvSpPr/>
            <p:nvPr/>
          </p:nvSpPr>
          <p:spPr bwMode="gray">
            <a:xfrm>
              <a:off x="2215" y="3052"/>
              <a:ext cx="676" cy="694"/>
            </a:xfrm>
            <a:custGeom>
              <a:avLst/>
              <a:gdLst>
                <a:gd name="T0" fmla="*/ 297 w 1352"/>
                <a:gd name="T1" fmla="*/ 258 h 1388"/>
                <a:gd name="T2" fmla="*/ 288 w 1352"/>
                <a:gd name="T3" fmla="*/ 267 h 1388"/>
                <a:gd name="T4" fmla="*/ 280 w 1352"/>
                <a:gd name="T5" fmla="*/ 277 h 1388"/>
                <a:gd name="T6" fmla="*/ 265 w 1352"/>
                <a:gd name="T7" fmla="*/ 279 h 1388"/>
                <a:gd name="T8" fmla="*/ 258 w 1352"/>
                <a:gd name="T9" fmla="*/ 281 h 1388"/>
                <a:gd name="T10" fmla="*/ 248 w 1352"/>
                <a:gd name="T11" fmla="*/ 285 h 1388"/>
                <a:gd name="T12" fmla="*/ 240 w 1352"/>
                <a:gd name="T13" fmla="*/ 279 h 1388"/>
                <a:gd name="T14" fmla="*/ 237 w 1352"/>
                <a:gd name="T15" fmla="*/ 285 h 1388"/>
                <a:gd name="T16" fmla="*/ 231 w 1352"/>
                <a:gd name="T17" fmla="*/ 284 h 1388"/>
                <a:gd name="T18" fmla="*/ 228 w 1352"/>
                <a:gd name="T19" fmla="*/ 281 h 1388"/>
                <a:gd name="T20" fmla="*/ 218 w 1352"/>
                <a:gd name="T21" fmla="*/ 290 h 1388"/>
                <a:gd name="T22" fmla="*/ 202 w 1352"/>
                <a:gd name="T23" fmla="*/ 282 h 1388"/>
                <a:gd name="T24" fmla="*/ 188 w 1352"/>
                <a:gd name="T25" fmla="*/ 290 h 1388"/>
                <a:gd name="T26" fmla="*/ 174 w 1352"/>
                <a:gd name="T27" fmla="*/ 293 h 1388"/>
                <a:gd name="T28" fmla="*/ 162 w 1352"/>
                <a:gd name="T29" fmla="*/ 303 h 1388"/>
                <a:gd name="T30" fmla="*/ 169 w 1352"/>
                <a:gd name="T31" fmla="*/ 330 h 1388"/>
                <a:gd name="T32" fmla="*/ 165 w 1352"/>
                <a:gd name="T33" fmla="*/ 346 h 1388"/>
                <a:gd name="T34" fmla="*/ 146 w 1352"/>
                <a:gd name="T35" fmla="*/ 341 h 1388"/>
                <a:gd name="T36" fmla="*/ 142 w 1352"/>
                <a:gd name="T37" fmla="*/ 322 h 1388"/>
                <a:gd name="T38" fmla="*/ 130 w 1352"/>
                <a:gd name="T39" fmla="*/ 330 h 1388"/>
                <a:gd name="T40" fmla="*/ 113 w 1352"/>
                <a:gd name="T41" fmla="*/ 336 h 1388"/>
                <a:gd name="T42" fmla="*/ 98 w 1352"/>
                <a:gd name="T43" fmla="*/ 327 h 1388"/>
                <a:gd name="T44" fmla="*/ 94 w 1352"/>
                <a:gd name="T45" fmla="*/ 310 h 1388"/>
                <a:gd name="T46" fmla="*/ 76 w 1352"/>
                <a:gd name="T47" fmla="*/ 308 h 1388"/>
                <a:gd name="T48" fmla="*/ 67 w 1352"/>
                <a:gd name="T49" fmla="*/ 301 h 1388"/>
                <a:gd name="T50" fmla="*/ 72 w 1352"/>
                <a:gd name="T51" fmla="*/ 280 h 1388"/>
                <a:gd name="T52" fmla="*/ 79 w 1352"/>
                <a:gd name="T53" fmla="*/ 267 h 1388"/>
                <a:gd name="T54" fmla="*/ 63 w 1352"/>
                <a:gd name="T55" fmla="*/ 263 h 1388"/>
                <a:gd name="T56" fmla="*/ 53 w 1352"/>
                <a:gd name="T57" fmla="*/ 245 h 1388"/>
                <a:gd name="T58" fmla="*/ 47 w 1352"/>
                <a:gd name="T59" fmla="*/ 227 h 1388"/>
                <a:gd name="T60" fmla="*/ 51 w 1352"/>
                <a:gd name="T61" fmla="*/ 218 h 1388"/>
                <a:gd name="T62" fmla="*/ 48 w 1352"/>
                <a:gd name="T63" fmla="*/ 217 h 1388"/>
                <a:gd name="T64" fmla="*/ 24 w 1352"/>
                <a:gd name="T65" fmla="*/ 220 h 1388"/>
                <a:gd name="T66" fmla="*/ 9 w 1352"/>
                <a:gd name="T67" fmla="*/ 229 h 1388"/>
                <a:gd name="T68" fmla="*/ 3 w 1352"/>
                <a:gd name="T69" fmla="*/ 224 h 1388"/>
                <a:gd name="T70" fmla="*/ 8 w 1352"/>
                <a:gd name="T71" fmla="*/ 215 h 1388"/>
                <a:gd name="T72" fmla="*/ 3 w 1352"/>
                <a:gd name="T73" fmla="*/ 206 h 1388"/>
                <a:gd name="T74" fmla="*/ 5 w 1352"/>
                <a:gd name="T75" fmla="*/ 189 h 1388"/>
                <a:gd name="T76" fmla="*/ 15 w 1352"/>
                <a:gd name="T77" fmla="*/ 172 h 1388"/>
                <a:gd name="T78" fmla="*/ 28 w 1352"/>
                <a:gd name="T79" fmla="*/ 162 h 1388"/>
                <a:gd name="T80" fmla="*/ 38 w 1352"/>
                <a:gd name="T81" fmla="*/ 150 h 1388"/>
                <a:gd name="T82" fmla="*/ 49 w 1352"/>
                <a:gd name="T83" fmla="*/ 131 h 1388"/>
                <a:gd name="T84" fmla="*/ 53 w 1352"/>
                <a:gd name="T85" fmla="*/ 89 h 1388"/>
                <a:gd name="T86" fmla="*/ 47 w 1352"/>
                <a:gd name="T87" fmla="*/ 72 h 1388"/>
                <a:gd name="T88" fmla="*/ 31 w 1352"/>
                <a:gd name="T89" fmla="*/ 60 h 1388"/>
                <a:gd name="T90" fmla="*/ 51 w 1352"/>
                <a:gd name="T91" fmla="*/ 42 h 1388"/>
                <a:gd name="T92" fmla="*/ 78 w 1352"/>
                <a:gd name="T93" fmla="*/ 44 h 1388"/>
                <a:gd name="T94" fmla="*/ 112 w 1352"/>
                <a:gd name="T95" fmla="*/ 60 h 1388"/>
                <a:gd name="T96" fmla="*/ 170 w 1352"/>
                <a:gd name="T97" fmla="*/ 138 h 1388"/>
                <a:gd name="T98" fmla="*/ 214 w 1352"/>
                <a:gd name="T99" fmla="*/ 109 h 1388"/>
                <a:gd name="T100" fmla="*/ 229 w 1352"/>
                <a:gd name="T101" fmla="*/ 50 h 1388"/>
                <a:gd name="T102" fmla="*/ 248 w 1352"/>
                <a:gd name="T103" fmla="*/ 26 h 1388"/>
                <a:gd name="T104" fmla="*/ 289 w 1352"/>
                <a:gd name="T105" fmla="*/ 47 h 1388"/>
                <a:gd name="T106" fmla="*/ 266 w 1352"/>
                <a:gd name="T107" fmla="*/ 82 h 1388"/>
                <a:gd name="T108" fmla="*/ 240 w 1352"/>
                <a:gd name="T109" fmla="*/ 101 h 1388"/>
                <a:gd name="T110" fmla="*/ 276 w 1352"/>
                <a:gd name="T111" fmla="*/ 122 h 1388"/>
                <a:gd name="T112" fmla="*/ 280 w 1352"/>
                <a:gd name="T113" fmla="*/ 183 h 1388"/>
                <a:gd name="T114" fmla="*/ 300 w 1352"/>
                <a:gd name="T115" fmla="*/ 216 h 1388"/>
                <a:gd name="T116" fmla="*/ 338 w 1352"/>
                <a:gd name="T117" fmla="*/ 225 h 13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52"/>
                <a:gd name="T178" fmla="*/ 0 h 1388"/>
                <a:gd name="T179" fmla="*/ 1352 w 1352"/>
                <a:gd name="T180" fmla="*/ 1388 h 13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52" h="1388">
                  <a:moveTo>
                    <a:pt x="1262" y="1026"/>
                  </a:moveTo>
                  <a:lnTo>
                    <a:pt x="1230" y="998"/>
                  </a:lnTo>
                  <a:lnTo>
                    <a:pt x="1203" y="1026"/>
                  </a:lnTo>
                  <a:lnTo>
                    <a:pt x="1197" y="1028"/>
                  </a:lnTo>
                  <a:lnTo>
                    <a:pt x="1185" y="1032"/>
                  </a:lnTo>
                  <a:lnTo>
                    <a:pt x="1171" y="1039"/>
                  </a:lnTo>
                  <a:lnTo>
                    <a:pt x="1159" y="1045"/>
                  </a:lnTo>
                  <a:lnTo>
                    <a:pt x="1154" y="1049"/>
                  </a:lnTo>
                  <a:lnTo>
                    <a:pt x="1152" y="1055"/>
                  </a:lnTo>
                  <a:lnTo>
                    <a:pt x="1150" y="1067"/>
                  </a:lnTo>
                  <a:lnTo>
                    <a:pt x="1148" y="1081"/>
                  </a:lnTo>
                  <a:lnTo>
                    <a:pt x="1144" y="1093"/>
                  </a:lnTo>
                  <a:lnTo>
                    <a:pt x="1138" y="1098"/>
                  </a:lnTo>
                  <a:lnTo>
                    <a:pt x="1130" y="1102"/>
                  </a:lnTo>
                  <a:lnTo>
                    <a:pt x="1118" y="1106"/>
                  </a:lnTo>
                  <a:lnTo>
                    <a:pt x="1104" y="1114"/>
                  </a:lnTo>
                  <a:lnTo>
                    <a:pt x="1091" y="1118"/>
                  </a:lnTo>
                  <a:lnTo>
                    <a:pt x="1079" y="1122"/>
                  </a:lnTo>
                  <a:lnTo>
                    <a:pt x="1069" y="1120"/>
                  </a:lnTo>
                  <a:lnTo>
                    <a:pt x="1059" y="1114"/>
                  </a:lnTo>
                  <a:lnTo>
                    <a:pt x="1047" y="1112"/>
                  </a:lnTo>
                  <a:lnTo>
                    <a:pt x="1035" y="1112"/>
                  </a:lnTo>
                  <a:lnTo>
                    <a:pt x="1032" y="1112"/>
                  </a:lnTo>
                  <a:lnTo>
                    <a:pt x="1032" y="1116"/>
                  </a:lnTo>
                  <a:lnTo>
                    <a:pt x="1030" y="1124"/>
                  </a:lnTo>
                  <a:lnTo>
                    <a:pt x="1026" y="1136"/>
                  </a:lnTo>
                  <a:lnTo>
                    <a:pt x="1020" y="1144"/>
                  </a:lnTo>
                  <a:lnTo>
                    <a:pt x="1012" y="1148"/>
                  </a:lnTo>
                  <a:lnTo>
                    <a:pt x="1004" y="1146"/>
                  </a:lnTo>
                  <a:lnTo>
                    <a:pt x="992" y="1140"/>
                  </a:lnTo>
                  <a:lnTo>
                    <a:pt x="980" y="1130"/>
                  </a:lnTo>
                  <a:lnTo>
                    <a:pt x="969" y="1122"/>
                  </a:lnTo>
                  <a:lnTo>
                    <a:pt x="963" y="1116"/>
                  </a:lnTo>
                  <a:lnTo>
                    <a:pt x="959" y="1114"/>
                  </a:lnTo>
                  <a:lnTo>
                    <a:pt x="959" y="1116"/>
                  </a:lnTo>
                  <a:lnTo>
                    <a:pt x="959" y="1118"/>
                  </a:lnTo>
                  <a:lnTo>
                    <a:pt x="957" y="1124"/>
                  </a:lnTo>
                  <a:lnTo>
                    <a:pt x="955" y="1130"/>
                  </a:lnTo>
                  <a:lnTo>
                    <a:pt x="951" y="1134"/>
                  </a:lnTo>
                  <a:lnTo>
                    <a:pt x="949" y="1140"/>
                  </a:lnTo>
                  <a:lnTo>
                    <a:pt x="945" y="1142"/>
                  </a:lnTo>
                  <a:lnTo>
                    <a:pt x="939" y="1144"/>
                  </a:lnTo>
                  <a:lnTo>
                    <a:pt x="935" y="1142"/>
                  </a:lnTo>
                  <a:lnTo>
                    <a:pt x="931" y="1140"/>
                  </a:lnTo>
                  <a:lnTo>
                    <a:pt x="925" y="1136"/>
                  </a:lnTo>
                  <a:lnTo>
                    <a:pt x="921" y="1132"/>
                  </a:lnTo>
                  <a:lnTo>
                    <a:pt x="919" y="1128"/>
                  </a:lnTo>
                  <a:lnTo>
                    <a:pt x="917" y="1126"/>
                  </a:lnTo>
                  <a:lnTo>
                    <a:pt x="915" y="1122"/>
                  </a:lnTo>
                  <a:lnTo>
                    <a:pt x="913" y="1122"/>
                  </a:lnTo>
                  <a:lnTo>
                    <a:pt x="911" y="1126"/>
                  </a:lnTo>
                  <a:lnTo>
                    <a:pt x="906" y="1132"/>
                  </a:lnTo>
                  <a:lnTo>
                    <a:pt x="896" y="1144"/>
                  </a:lnTo>
                  <a:lnTo>
                    <a:pt x="886" y="1154"/>
                  </a:lnTo>
                  <a:lnTo>
                    <a:pt x="874" y="1159"/>
                  </a:lnTo>
                  <a:lnTo>
                    <a:pt x="864" y="1163"/>
                  </a:lnTo>
                  <a:lnTo>
                    <a:pt x="852" y="1159"/>
                  </a:lnTo>
                  <a:lnTo>
                    <a:pt x="839" y="1150"/>
                  </a:lnTo>
                  <a:lnTo>
                    <a:pt x="825" y="1138"/>
                  </a:lnTo>
                  <a:lnTo>
                    <a:pt x="809" y="1128"/>
                  </a:lnTo>
                  <a:lnTo>
                    <a:pt x="797" y="1122"/>
                  </a:lnTo>
                  <a:lnTo>
                    <a:pt x="787" y="1120"/>
                  </a:lnTo>
                  <a:lnTo>
                    <a:pt x="778" y="1130"/>
                  </a:lnTo>
                  <a:lnTo>
                    <a:pt x="766" y="1144"/>
                  </a:lnTo>
                  <a:lnTo>
                    <a:pt x="754" y="1159"/>
                  </a:lnTo>
                  <a:lnTo>
                    <a:pt x="742" y="1171"/>
                  </a:lnTo>
                  <a:lnTo>
                    <a:pt x="734" y="1179"/>
                  </a:lnTo>
                  <a:lnTo>
                    <a:pt x="724" y="1177"/>
                  </a:lnTo>
                  <a:lnTo>
                    <a:pt x="711" y="1175"/>
                  </a:lnTo>
                  <a:lnTo>
                    <a:pt x="695" y="1169"/>
                  </a:lnTo>
                  <a:lnTo>
                    <a:pt x="679" y="1165"/>
                  </a:lnTo>
                  <a:lnTo>
                    <a:pt x="667" y="1165"/>
                  </a:lnTo>
                  <a:lnTo>
                    <a:pt x="659" y="1167"/>
                  </a:lnTo>
                  <a:lnTo>
                    <a:pt x="650" y="1183"/>
                  </a:lnTo>
                  <a:lnTo>
                    <a:pt x="646" y="1209"/>
                  </a:lnTo>
                  <a:lnTo>
                    <a:pt x="648" y="1234"/>
                  </a:lnTo>
                  <a:lnTo>
                    <a:pt x="656" y="1254"/>
                  </a:lnTo>
                  <a:lnTo>
                    <a:pt x="665" y="1278"/>
                  </a:lnTo>
                  <a:lnTo>
                    <a:pt x="673" y="1299"/>
                  </a:lnTo>
                  <a:lnTo>
                    <a:pt x="675" y="1317"/>
                  </a:lnTo>
                  <a:lnTo>
                    <a:pt x="673" y="1331"/>
                  </a:lnTo>
                  <a:lnTo>
                    <a:pt x="673" y="1346"/>
                  </a:lnTo>
                  <a:lnTo>
                    <a:pt x="673" y="1362"/>
                  </a:lnTo>
                  <a:lnTo>
                    <a:pt x="667" y="1374"/>
                  </a:lnTo>
                  <a:lnTo>
                    <a:pt x="658" y="1382"/>
                  </a:lnTo>
                  <a:lnTo>
                    <a:pt x="638" y="1386"/>
                  </a:lnTo>
                  <a:lnTo>
                    <a:pt x="620" y="1388"/>
                  </a:lnTo>
                  <a:lnTo>
                    <a:pt x="604" y="1386"/>
                  </a:lnTo>
                  <a:lnTo>
                    <a:pt x="591" y="1380"/>
                  </a:lnTo>
                  <a:lnTo>
                    <a:pt x="581" y="1362"/>
                  </a:lnTo>
                  <a:lnTo>
                    <a:pt x="573" y="1343"/>
                  </a:lnTo>
                  <a:lnTo>
                    <a:pt x="571" y="1321"/>
                  </a:lnTo>
                  <a:lnTo>
                    <a:pt x="569" y="1309"/>
                  </a:lnTo>
                  <a:lnTo>
                    <a:pt x="567" y="1297"/>
                  </a:lnTo>
                  <a:lnTo>
                    <a:pt x="565" y="1287"/>
                  </a:lnTo>
                  <a:lnTo>
                    <a:pt x="559" y="1282"/>
                  </a:lnTo>
                  <a:lnTo>
                    <a:pt x="553" y="1283"/>
                  </a:lnTo>
                  <a:lnTo>
                    <a:pt x="545" y="1291"/>
                  </a:lnTo>
                  <a:lnTo>
                    <a:pt x="534" y="1303"/>
                  </a:lnTo>
                  <a:lnTo>
                    <a:pt x="518" y="1317"/>
                  </a:lnTo>
                  <a:lnTo>
                    <a:pt x="504" y="1331"/>
                  </a:lnTo>
                  <a:lnTo>
                    <a:pt x="488" y="1341"/>
                  </a:lnTo>
                  <a:lnTo>
                    <a:pt x="476" y="1343"/>
                  </a:lnTo>
                  <a:lnTo>
                    <a:pt x="465" y="1343"/>
                  </a:lnTo>
                  <a:lnTo>
                    <a:pt x="451" y="1343"/>
                  </a:lnTo>
                  <a:lnTo>
                    <a:pt x="437" y="1345"/>
                  </a:lnTo>
                  <a:lnTo>
                    <a:pt x="425" y="1343"/>
                  </a:lnTo>
                  <a:lnTo>
                    <a:pt x="415" y="1337"/>
                  </a:lnTo>
                  <a:lnTo>
                    <a:pt x="404" y="1323"/>
                  </a:lnTo>
                  <a:lnTo>
                    <a:pt x="394" y="1307"/>
                  </a:lnTo>
                  <a:lnTo>
                    <a:pt x="388" y="1287"/>
                  </a:lnTo>
                  <a:lnTo>
                    <a:pt x="386" y="1272"/>
                  </a:lnTo>
                  <a:lnTo>
                    <a:pt x="382" y="1256"/>
                  </a:lnTo>
                  <a:lnTo>
                    <a:pt x="378" y="1244"/>
                  </a:lnTo>
                  <a:lnTo>
                    <a:pt x="378" y="1240"/>
                  </a:lnTo>
                  <a:lnTo>
                    <a:pt x="372" y="1240"/>
                  </a:lnTo>
                  <a:lnTo>
                    <a:pt x="358" y="1240"/>
                  </a:lnTo>
                  <a:lnTo>
                    <a:pt x="341" y="1238"/>
                  </a:lnTo>
                  <a:lnTo>
                    <a:pt x="321" y="1236"/>
                  </a:lnTo>
                  <a:lnTo>
                    <a:pt x="303" y="1232"/>
                  </a:lnTo>
                  <a:lnTo>
                    <a:pt x="291" y="1224"/>
                  </a:lnTo>
                  <a:lnTo>
                    <a:pt x="282" y="1219"/>
                  </a:lnTo>
                  <a:lnTo>
                    <a:pt x="276" y="1213"/>
                  </a:lnTo>
                  <a:lnTo>
                    <a:pt x="270" y="1209"/>
                  </a:lnTo>
                  <a:lnTo>
                    <a:pt x="268" y="1201"/>
                  </a:lnTo>
                  <a:lnTo>
                    <a:pt x="268" y="1189"/>
                  </a:lnTo>
                  <a:lnTo>
                    <a:pt x="274" y="1171"/>
                  </a:lnTo>
                  <a:lnTo>
                    <a:pt x="280" y="1150"/>
                  </a:lnTo>
                  <a:lnTo>
                    <a:pt x="284" y="1134"/>
                  </a:lnTo>
                  <a:lnTo>
                    <a:pt x="285" y="1120"/>
                  </a:lnTo>
                  <a:lnTo>
                    <a:pt x="287" y="1110"/>
                  </a:lnTo>
                  <a:lnTo>
                    <a:pt x="291" y="1100"/>
                  </a:lnTo>
                  <a:lnTo>
                    <a:pt x="299" y="1087"/>
                  </a:lnTo>
                  <a:lnTo>
                    <a:pt x="309" y="1075"/>
                  </a:lnTo>
                  <a:lnTo>
                    <a:pt x="315" y="1065"/>
                  </a:lnTo>
                  <a:lnTo>
                    <a:pt x="311" y="1057"/>
                  </a:lnTo>
                  <a:lnTo>
                    <a:pt x="303" y="1053"/>
                  </a:lnTo>
                  <a:lnTo>
                    <a:pt x="289" y="1053"/>
                  </a:lnTo>
                  <a:lnTo>
                    <a:pt x="272" y="1053"/>
                  </a:lnTo>
                  <a:lnTo>
                    <a:pt x="254" y="1051"/>
                  </a:lnTo>
                  <a:lnTo>
                    <a:pt x="240" y="1047"/>
                  </a:lnTo>
                  <a:lnTo>
                    <a:pt x="230" y="1039"/>
                  </a:lnTo>
                  <a:lnTo>
                    <a:pt x="221" y="1020"/>
                  </a:lnTo>
                  <a:lnTo>
                    <a:pt x="217" y="1000"/>
                  </a:lnTo>
                  <a:lnTo>
                    <a:pt x="211" y="980"/>
                  </a:lnTo>
                  <a:lnTo>
                    <a:pt x="207" y="959"/>
                  </a:lnTo>
                  <a:lnTo>
                    <a:pt x="205" y="943"/>
                  </a:lnTo>
                  <a:lnTo>
                    <a:pt x="199" y="931"/>
                  </a:lnTo>
                  <a:lnTo>
                    <a:pt x="191" y="919"/>
                  </a:lnTo>
                  <a:lnTo>
                    <a:pt x="187" y="908"/>
                  </a:lnTo>
                  <a:lnTo>
                    <a:pt x="189" y="894"/>
                  </a:lnTo>
                  <a:lnTo>
                    <a:pt x="191" y="888"/>
                  </a:lnTo>
                  <a:lnTo>
                    <a:pt x="197" y="884"/>
                  </a:lnTo>
                  <a:lnTo>
                    <a:pt x="201" y="878"/>
                  </a:lnTo>
                  <a:lnTo>
                    <a:pt x="205" y="874"/>
                  </a:lnTo>
                  <a:lnTo>
                    <a:pt x="209" y="870"/>
                  </a:lnTo>
                  <a:lnTo>
                    <a:pt x="211" y="868"/>
                  </a:lnTo>
                  <a:lnTo>
                    <a:pt x="213" y="868"/>
                  </a:lnTo>
                  <a:lnTo>
                    <a:pt x="207" y="868"/>
                  </a:lnTo>
                  <a:lnTo>
                    <a:pt x="193" y="868"/>
                  </a:lnTo>
                  <a:lnTo>
                    <a:pt x="173" y="870"/>
                  </a:lnTo>
                  <a:lnTo>
                    <a:pt x="152" y="870"/>
                  </a:lnTo>
                  <a:lnTo>
                    <a:pt x="130" y="872"/>
                  </a:lnTo>
                  <a:lnTo>
                    <a:pt x="112" y="876"/>
                  </a:lnTo>
                  <a:lnTo>
                    <a:pt x="97" y="882"/>
                  </a:lnTo>
                  <a:lnTo>
                    <a:pt x="81" y="892"/>
                  </a:lnTo>
                  <a:lnTo>
                    <a:pt x="67" y="902"/>
                  </a:lnTo>
                  <a:lnTo>
                    <a:pt x="53" y="912"/>
                  </a:lnTo>
                  <a:lnTo>
                    <a:pt x="43" y="915"/>
                  </a:lnTo>
                  <a:lnTo>
                    <a:pt x="34" y="915"/>
                  </a:lnTo>
                  <a:lnTo>
                    <a:pt x="28" y="912"/>
                  </a:lnTo>
                  <a:lnTo>
                    <a:pt x="22" y="908"/>
                  </a:lnTo>
                  <a:lnTo>
                    <a:pt x="18" y="906"/>
                  </a:lnTo>
                  <a:lnTo>
                    <a:pt x="14" y="902"/>
                  </a:lnTo>
                  <a:lnTo>
                    <a:pt x="10" y="896"/>
                  </a:lnTo>
                  <a:lnTo>
                    <a:pt x="10" y="892"/>
                  </a:lnTo>
                  <a:lnTo>
                    <a:pt x="10" y="884"/>
                  </a:lnTo>
                  <a:lnTo>
                    <a:pt x="16" y="876"/>
                  </a:lnTo>
                  <a:lnTo>
                    <a:pt x="24" y="868"/>
                  </a:lnTo>
                  <a:lnTo>
                    <a:pt x="32" y="862"/>
                  </a:lnTo>
                  <a:lnTo>
                    <a:pt x="37" y="854"/>
                  </a:lnTo>
                  <a:lnTo>
                    <a:pt x="37" y="843"/>
                  </a:lnTo>
                  <a:lnTo>
                    <a:pt x="34" y="835"/>
                  </a:lnTo>
                  <a:lnTo>
                    <a:pt x="24" y="829"/>
                  </a:lnTo>
                  <a:lnTo>
                    <a:pt x="14" y="823"/>
                  </a:lnTo>
                  <a:lnTo>
                    <a:pt x="6" y="817"/>
                  </a:lnTo>
                  <a:lnTo>
                    <a:pt x="0" y="811"/>
                  </a:lnTo>
                  <a:lnTo>
                    <a:pt x="2" y="799"/>
                  </a:lnTo>
                  <a:lnTo>
                    <a:pt x="12" y="776"/>
                  </a:lnTo>
                  <a:lnTo>
                    <a:pt x="22" y="758"/>
                  </a:lnTo>
                  <a:lnTo>
                    <a:pt x="34" y="744"/>
                  </a:lnTo>
                  <a:lnTo>
                    <a:pt x="41" y="734"/>
                  </a:lnTo>
                  <a:lnTo>
                    <a:pt x="47" y="719"/>
                  </a:lnTo>
                  <a:lnTo>
                    <a:pt x="55" y="701"/>
                  </a:lnTo>
                  <a:lnTo>
                    <a:pt x="61" y="685"/>
                  </a:lnTo>
                  <a:lnTo>
                    <a:pt x="67" y="675"/>
                  </a:lnTo>
                  <a:lnTo>
                    <a:pt x="75" y="669"/>
                  </a:lnTo>
                  <a:lnTo>
                    <a:pt x="89" y="665"/>
                  </a:lnTo>
                  <a:lnTo>
                    <a:pt x="102" y="660"/>
                  </a:lnTo>
                  <a:lnTo>
                    <a:pt x="114" y="646"/>
                  </a:lnTo>
                  <a:lnTo>
                    <a:pt x="122" y="632"/>
                  </a:lnTo>
                  <a:lnTo>
                    <a:pt x="126" y="620"/>
                  </a:lnTo>
                  <a:lnTo>
                    <a:pt x="130" y="614"/>
                  </a:lnTo>
                  <a:lnTo>
                    <a:pt x="142" y="604"/>
                  </a:lnTo>
                  <a:lnTo>
                    <a:pt x="152" y="599"/>
                  </a:lnTo>
                  <a:lnTo>
                    <a:pt x="161" y="595"/>
                  </a:lnTo>
                  <a:lnTo>
                    <a:pt x="167" y="591"/>
                  </a:lnTo>
                  <a:lnTo>
                    <a:pt x="175" y="581"/>
                  </a:lnTo>
                  <a:lnTo>
                    <a:pt x="187" y="553"/>
                  </a:lnTo>
                  <a:lnTo>
                    <a:pt x="197" y="522"/>
                  </a:lnTo>
                  <a:lnTo>
                    <a:pt x="205" y="488"/>
                  </a:lnTo>
                  <a:lnTo>
                    <a:pt x="213" y="445"/>
                  </a:lnTo>
                  <a:lnTo>
                    <a:pt x="215" y="404"/>
                  </a:lnTo>
                  <a:lnTo>
                    <a:pt x="213" y="384"/>
                  </a:lnTo>
                  <a:lnTo>
                    <a:pt x="213" y="358"/>
                  </a:lnTo>
                  <a:lnTo>
                    <a:pt x="213" y="333"/>
                  </a:lnTo>
                  <a:lnTo>
                    <a:pt x="211" y="309"/>
                  </a:lnTo>
                  <a:lnTo>
                    <a:pt x="209" y="295"/>
                  </a:lnTo>
                  <a:lnTo>
                    <a:pt x="201" y="288"/>
                  </a:lnTo>
                  <a:lnTo>
                    <a:pt x="189" y="286"/>
                  </a:lnTo>
                  <a:lnTo>
                    <a:pt x="173" y="284"/>
                  </a:lnTo>
                  <a:lnTo>
                    <a:pt x="159" y="280"/>
                  </a:lnTo>
                  <a:lnTo>
                    <a:pt x="146" y="274"/>
                  </a:lnTo>
                  <a:lnTo>
                    <a:pt x="134" y="260"/>
                  </a:lnTo>
                  <a:lnTo>
                    <a:pt x="126" y="242"/>
                  </a:lnTo>
                  <a:lnTo>
                    <a:pt x="122" y="225"/>
                  </a:lnTo>
                  <a:lnTo>
                    <a:pt x="124" y="181"/>
                  </a:lnTo>
                  <a:lnTo>
                    <a:pt x="144" y="162"/>
                  </a:lnTo>
                  <a:lnTo>
                    <a:pt x="169" y="183"/>
                  </a:lnTo>
                  <a:lnTo>
                    <a:pt x="203" y="168"/>
                  </a:lnTo>
                  <a:lnTo>
                    <a:pt x="199" y="114"/>
                  </a:lnTo>
                  <a:lnTo>
                    <a:pt x="228" y="20"/>
                  </a:lnTo>
                  <a:lnTo>
                    <a:pt x="266" y="0"/>
                  </a:lnTo>
                  <a:lnTo>
                    <a:pt x="278" y="116"/>
                  </a:lnTo>
                  <a:lnTo>
                    <a:pt x="311" y="177"/>
                  </a:lnTo>
                  <a:lnTo>
                    <a:pt x="354" y="170"/>
                  </a:lnTo>
                  <a:lnTo>
                    <a:pt x="400" y="118"/>
                  </a:lnTo>
                  <a:lnTo>
                    <a:pt x="429" y="156"/>
                  </a:lnTo>
                  <a:lnTo>
                    <a:pt x="411" y="191"/>
                  </a:lnTo>
                  <a:lnTo>
                    <a:pt x="447" y="242"/>
                  </a:lnTo>
                  <a:lnTo>
                    <a:pt x="496" y="244"/>
                  </a:lnTo>
                  <a:lnTo>
                    <a:pt x="551" y="329"/>
                  </a:lnTo>
                  <a:lnTo>
                    <a:pt x="614" y="439"/>
                  </a:lnTo>
                  <a:lnTo>
                    <a:pt x="646" y="516"/>
                  </a:lnTo>
                  <a:lnTo>
                    <a:pt x="681" y="551"/>
                  </a:lnTo>
                  <a:lnTo>
                    <a:pt x="721" y="543"/>
                  </a:lnTo>
                  <a:lnTo>
                    <a:pt x="793" y="494"/>
                  </a:lnTo>
                  <a:lnTo>
                    <a:pt x="803" y="518"/>
                  </a:lnTo>
                  <a:lnTo>
                    <a:pt x="852" y="492"/>
                  </a:lnTo>
                  <a:lnTo>
                    <a:pt x="856" y="435"/>
                  </a:lnTo>
                  <a:lnTo>
                    <a:pt x="831" y="402"/>
                  </a:lnTo>
                  <a:lnTo>
                    <a:pt x="831" y="335"/>
                  </a:lnTo>
                  <a:lnTo>
                    <a:pt x="868" y="315"/>
                  </a:lnTo>
                  <a:lnTo>
                    <a:pt x="925" y="244"/>
                  </a:lnTo>
                  <a:lnTo>
                    <a:pt x="917" y="199"/>
                  </a:lnTo>
                  <a:lnTo>
                    <a:pt x="941" y="171"/>
                  </a:lnTo>
                  <a:lnTo>
                    <a:pt x="976" y="171"/>
                  </a:lnTo>
                  <a:lnTo>
                    <a:pt x="980" y="148"/>
                  </a:lnTo>
                  <a:lnTo>
                    <a:pt x="967" y="120"/>
                  </a:lnTo>
                  <a:lnTo>
                    <a:pt x="994" y="103"/>
                  </a:lnTo>
                  <a:lnTo>
                    <a:pt x="1043" y="108"/>
                  </a:lnTo>
                  <a:lnTo>
                    <a:pt x="1043" y="162"/>
                  </a:lnTo>
                  <a:lnTo>
                    <a:pt x="1065" y="232"/>
                  </a:lnTo>
                  <a:lnTo>
                    <a:pt x="1128" y="227"/>
                  </a:lnTo>
                  <a:lnTo>
                    <a:pt x="1154" y="189"/>
                  </a:lnTo>
                  <a:lnTo>
                    <a:pt x="1187" y="211"/>
                  </a:lnTo>
                  <a:lnTo>
                    <a:pt x="1193" y="252"/>
                  </a:lnTo>
                  <a:lnTo>
                    <a:pt x="1177" y="315"/>
                  </a:lnTo>
                  <a:lnTo>
                    <a:pt x="1126" y="329"/>
                  </a:lnTo>
                  <a:lnTo>
                    <a:pt x="1061" y="327"/>
                  </a:lnTo>
                  <a:lnTo>
                    <a:pt x="1047" y="311"/>
                  </a:lnTo>
                  <a:lnTo>
                    <a:pt x="1024" y="337"/>
                  </a:lnTo>
                  <a:lnTo>
                    <a:pt x="994" y="315"/>
                  </a:lnTo>
                  <a:lnTo>
                    <a:pt x="939" y="376"/>
                  </a:lnTo>
                  <a:lnTo>
                    <a:pt x="961" y="404"/>
                  </a:lnTo>
                  <a:lnTo>
                    <a:pt x="965" y="459"/>
                  </a:lnTo>
                  <a:lnTo>
                    <a:pt x="1006" y="471"/>
                  </a:lnTo>
                  <a:lnTo>
                    <a:pt x="1051" y="449"/>
                  </a:lnTo>
                  <a:lnTo>
                    <a:pt x="1069" y="445"/>
                  </a:lnTo>
                  <a:lnTo>
                    <a:pt x="1104" y="490"/>
                  </a:lnTo>
                  <a:lnTo>
                    <a:pt x="1075" y="561"/>
                  </a:lnTo>
                  <a:lnTo>
                    <a:pt x="1053" y="614"/>
                  </a:lnTo>
                  <a:lnTo>
                    <a:pt x="1075" y="658"/>
                  </a:lnTo>
                  <a:lnTo>
                    <a:pt x="1116" y="677"/>
                  </a:lnTo>
                  <a:lnTo>
                    <a:pt x="1118" y="732"/>
                  </a:lnTo>
                  <a:lnTo>
                    <a:pt x="1081" y="782"/>
                  </a:lnTo>
                  <a:lnTo>
                    <a:pt x="1112" y="837"/>
                  </a:lnTo>
                  <a:lnTo>
                    <a:pt x="1138" y="819"/>
                  </a:lnTo>
                  <a:lnTo>
                    <a:pt x="1187" y="823"/>
                  </a:lnTo>
                  <a:lnTo>
                    <a:pt x="1197" y="864"/>
                  </a:lnTo>
                  <a:lnTo>
                    <a:pt x="1228" y="884"/>
                  </a:lnTo>
                  <a:lnTo>
                    <a:pt x="1262" y="864"/>
                  </a:lnTo>
                  <a:lnTo>
                    <a:pt x="1293" y="888"/>
                  </a:lnTo>
                  <a:lnTo>
                    <a:pt x="1329" y="872"/>
                  </a:lnTo>
                  <a:lnTo>
                    <a:pt x="1352" y="900"/>
                  </a:lnTo>
                  <a:lnTo>
                    <a:pt x="1343" y="973"/>
                  </a:lnTo>
                  <a:lnTo>
                    <a:pt x="1291" y="986"/>
                  </a:lnTo>
                  <a:lnTo>
                    <a:pt x="1262" y="1026"/>
                  </a:lnTo>
                </a:path>
              </a:pathLst>
            </a:custGeom>
            <a:grpFill/>
            <a:ln w="6350">
              <a:solidFill>
                <a:schemeClr val="tx1">
                  <a:lumMod val="85000"/>
                  <a:lumOff val="15000"/>
                </a:schemeClr>
              </a:solidFill>
              <a:prstDash val="solid"/>
              <a:round/>
            </a:ln>
          </p:spPr>
          <p:txBody>
            <a:bodyPr/>
            <a:lstStyle/>
            <a:p>
              <a:endParaRPr lang="zh-CN" altLang="en-US" sz="2400"/>
            </a:p>
          </p:txBody>
        </p:sp>
        <p:sp>
          <p:nvSpPr>
            <p:cNvPr id="29" name="Freeform 73"/>
            <p:cNvSpPr/>
            <p:nvPr/>
          </p:nvSpPr>
          <p:spPr bwMode="gray">
            <a:xfrm>
              <a:off x="2755" y="3269"/>
              <a:ext cx="596" cy="432"/>
            </a:xfrm>
            <a:custGeom>
              <a:avLst/>
              <a:gdLst>
                <a:gd name="T0" fmla="*/ 209 w 1191"/>
                <a:gd name="T1" fmla="*/ 213 h 864"/>
                <a:gd name="T2" fmla="*/ 202 w 1191"/>
                <a:gd name="T3" fmla="*/ 215 h 864"/>
                <a:gd name="T4" fmla="*/ 195 w 1191"/>
                <a:gd name="T5" fmla="*/ 214 h 864"/>
                <a:gd name="T6" fmla="*/ 186 w 1191"/>
                <a:gd name="T7" fmla="*/ 210 h 864"/>
                <a:gd name="T8" fmla="*/ 180 w 1191"/>
                <a:gd name="T9" fmla="*/ 210 h 864"/>
                <a:gd name="T10" fmla="*/ 174 w 1191"/>
                <a:gd name="T11" fmla="*/ 203 h 864"/>
                <a:gd name="T12" fmla="*/ 169 w 1191"/>
                <a:gd name="T13" fmla="*/ 200 h 864"/>
                <a:gd name="T14" fmla="*/ 163 w 1191"/>
                <a:gd name="T15" fmla="*/ 210 h 864"/>
                <a:gd name="T16" fmla="*/ 155 w 1191"/>
                <a:gd name="T17" fmla="*/ 214 h 864"/>
                <a:gd name="T18" fmla="*/ 146 w 1191"/>
                <a:gd name="T19" fmla="*/ 216 h 864"/>
                <a:gd name="T20" fmla="*/ 140 w 1191"/>
                <a:gd name="T21" fmla="*/ 211 h 864"/>
                <a:gd name="T22" fmla="*/ 133 w 1191"/>
                <a:gd name="T23" fmla="*/ 213 h 864"/>
                <a:gd name="T24" fmla="*/ 123 w 1191"/>
                <a:gd name="T25" fmla="*/ 213 h 864"/>
                <a:gd name="T26" fmla="*/ 112 w 1191"/>
                <a:gd name="T27" fmla="*/ 206 h 864"/>
                <a:gd name="T28" fmla="*/ 101 w 1191"/>
                <a:gd name="T29" fmla="*/ 198 h 864"/>
                <a:gd name="T30" fmla="*/ 93 w 1191"/>
                <a:gd name="T31" fmla="*/ 189 h 864"/>
                <a:gd name="T32" fmla="*/ 88 w 1191"/>
                <a:gd name="T33" fmla="*/ 176 h 864"/>
                <a:gd name="T34" fmla="*/ 91 w 1191"/>
                <a:gd name="T35" fmla="*/ 171 h 864"/>
                <a:gd name="T36" fmla="*/ 94 w 1191"/>
                <a:gd name="T37" fmla="*/ 170 h 864"/>
                <a:gd name="T38" fmla="*/ 96 w 1191"/>
                <a:gd name="T39" fmla="*/ 167 h 864"/>
                <a:gd name="T40" fmla="*/ 87 w 1191"/>
                <a:gd name="T41" fmla="*/ 160 h 864"/>
                <a:gd name="T42" fmla="*/ 79 w 1191"/>
                <a:gd name="T43" fmla="*/ 161 h 864"/>
                <a:gd name="T44" fmla="*/ 74 w 1191"/>
                <a:gd name="T45" fmla="*/ 163 h 864"/>
                <a:gd name="T46" fmla="*/ 66 w 1191"/>
                <a:gd name="T47" fmla="*/ 158 h 864"/>
                <a:gd name="T48" fmla="*/ 60 w 1191"/>
                <a:gd name="T49" fmla="*/ 161 h 864"/>
                <a:gd name="T50" fmla="*/ 52 w 1191"/>
                <a:gd name="T51" fmla="*/ 156 h 864"/>
                <a:gd name="T52" fmla="*/ 46 w 1191"/>
                <a:gd name="T53" fmla="*/ 152 h 864"/>
                <a:gd name="T54" fmla="*/ 66 w 1191"/>
                <a:gd name="T55" fmla="*/ 135 h 864"/>
                <a:gd name="T56" fmla="*/ 53 w 1191"/>
                <a:gd name="T57" fmla="*/ 114 h 864"/>
                <a:gd name="T58" fmla="*/ 29 w 1191"/>
                <a:gd name="T59" fmla="*/ 108 h 864"/>
                <a:gd name="T60" fmla="*/ 8 w 1191"/>
                <a:gd name="T61" fmla="*/ 101 h 864"/>
                <a:gd name="T62" fmla="*/ 26 w 1191"/>
                <a:gd name="T63" fmla="*/ 74 h 864"/>
                <a:gd name="T64" fmla="*/ 63 w 1191"/>
                <a:gd name="T65" fmla="*/ 84 h 864"/>
                <a:gd name="T66" fmla="*/ 77 w 1191"/>
                <a:gd name="T67" fmla="*/ 70 h 864"/>
                <a:gd name="T68" fmla="*/ 100 w 1191"/>
                <a:gd name="T69" fmla="*/ 52 h 864"/>
                <a:gd name="T70" fmla="*/ 124 w 1191"/>
                <a:gd name="T71" fmla="*/ 56 h 864"/>
                <a:gd name="T72" fmla="*/ 144 w 1191"/>
                <a:gd name="T73" fmla="*/ 48 h 864"/>
                <a:gd name="T74" fmla="*/ 165 w 1191"/>
                <a:gd name="T75" fmla="*/ 40 h 864"/>
                <a:gd name="T76" fmla="*/ 182 w 1191"/>
                <a:gd name="T77" fmla="*/ 27 h 864"/>
                <a:gd name="T78" fmla="*/ 200 w 1191"/>
                <a:gd name="T79" fmla="*/ 19 h 864"/>
                <a:gd name="T80" fmla="*/ 217 w 1191"/>
                <a:gd name="T81" fmla="*/ 9 h 864"/>
                <a:gd name="T82" fmla="*/ 244 w 1191"/>
                <a:gd name="T83" fmla="*/ 5 h 864"/>
                <a:gd name="T84" fmla="*/ 260 w 1191"/>
                <a:gd name="T85" fmla="*/ 18 h 864"/>
                <a:gd name="T86" fmla="*/ 252 w 1191"/>
                <a:gd name="T87" fmla="*/ 54 h 864"/>
                <a:gd name="T88" fmla="*/ 274 w 1191"/>
                <a:gd name="T89" fmla="*/ 71 h 864"/>
                <a:gd name="T90" fmla="*/ 298 w 1191"/>
                <a:gd name="T91" fmla="*/ 81 h 864"/>
                <a:gd name="T92" fmla="*/ 282 w 1191"/>
                <a:gd name="T93" fmla="*/ 108 h 864"/>
                <a:gd name="T94" fmla="*/ 260 w 1191"/>
                <a:gd name="T95" fmla="*/ 161 h 864"/>
                <a:gd name="T96" fmla="*/ 248 w 1191"/>
                <a:gd name="T97" fmla="*/ 182 h 864"/>
                <a:gd name="T98" fmla="*/ 225 w 1191"/>
                <a:gd name="T99" fmla="*/ 197 h 86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91"/>
                <a:gd name="T151" fmla="*/ 0 h 864"/>
                <a:gd name="T152" fmla="*/ 1191 w 1191"/>
                <a:gd name="T153" fmla="*/ 864 h 86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91" h="864">
                  <a:moveTo>
                    <a:pt x="866" y="835"/>
                  </a:moveTo>
                  <a:lnTo>
                    <a:pt x="834" y="815"/>
                  </a:lnTo>
                  <a:lnTo>
                    <a:pt x="836" y="852"/>
                  </a:lnTo>
                  <a:lnTo>
                    <a:pt x="832" y="852"/>
                  </a:lnTo>
                  <a:lnTo>
                    <a:pt x="821" y="856"/>
                  </a:lnTo>
                  <a:lnTo>
                    <a:pt x="807" y="860"/>
                  </a:lnTo>
                  <a:lnTo>
                    <a:pt x="793" y="864"/>
                  </a:lnTo>
                  <a:lnTo>
                    <a:pt x="783" y="862"/>
                  </a:lnTo>
                  <a:lnTo>
                    <a:pt x="777" y="856"/>
                  </a:lnTo>
                  <a:lnTo>
                    <a:pt x="767" y="849"/>
                  </a:lnTo>
                  <a:lnTo>
                    <a:pt x="758" y="841"/>
                  </a:lnTo>
                  <a:lnTo>
                    <a:pt x="744" y="837"/>
                  </a:lnTo>
                  <a:lnTo>
                    <a:pt x="734" y="837"/>
                  </a:lnTo>
                  <a:lnTo>
                    <a:pt x="726" y="837"/>
                  </a:lnTo>
                  <a:lnTo>
                    <a:pt x="718" y="837"/>
                  </a:lnTo>
                  <a:lnTo>
                    <a:pt x="708" y="831"/>
                  </a:lnTo>
                  <a:lnTo>
                    <a:pt x="701" y="821"/>
                  </a:lnTo>
                  <a:lnTo>
                    <a:pt x="693" y="811"/>
                  </a:lnTo>
                  <a:lnTo>
                    <a:pt x="687" y="801"/>
                  </a:lnTo>
                  <a:lnTo>
                    <a:pt x="681" y="797"/>
                  </a:lnTo>
                  <a:lnTo>
                    <a:pt x="673" y="799"/>
                  </a:lnTo>
                  <a:lnTo>
                    <a:pt x="665" y="811"/>
                  </a:lnTo>
                  <a:lnTo>
                    <a:pt x="657" y="825"/>
                  </a:lnTo>
                  <a:lnTo>
                    <a:pt x="651" y="839"/>
                  </a:lnTo>
                  <a:lnTo>
                    <a:pt x="641" y="847"/>
                  </a:lnTo>
                  <a:lnTo>
                    <a:pt x="632" y="850"/>
                  </a:lnTo>
                  <a:lnTo>
                    <a:pt x="620" y="856"/>
                  </a:lnTo>
                  <a:lnTo>
                    <a:pt x="606" y="860"/>
                  </a:lnTo>
                  <a:lnTo>
                    <a:pt x="592" y="862"/>
                  </a:lnTo>
                  <a:lnTo>
                    <a:pt x="582" y="862"/>
                  </a:lnTo>
                  <a:lnTo>
                    <a:pt x="575" y="854"/>
                  </a:lnTo>
                  <a:lnTo>
                    <a:pt x="569" y="849"/>
                  </a:lnTo>
                  <a:lnTo>
                    <a:pt x="559" y="843"/>
                  </a:lnTo>
                  <a:lnTo>
                    <a:pt x="549" y="843"/>
                  </a:lnTo>
                  <a:lnTo>
                    <a:pt x="539" y="845"/>
                  </a:lnTo>
                  <a:lnTo>
                    <a:pt x="529" y="850"/>
                  </a:lnTo>
                  <a:lnTo>
                    <a:pt x="519" y="854"/>
                  </a:lnTo>
                  <a:lnTo>
                    <a:pt x="508" y="854"/>
                  </a:lnTo>
                  <a:lnTo>
                    <a:pt x="492" y="849"/>
                  </a:lnTo>
                  <a:lnTo>
                    <a:pt x="474" y="837"/>
                  </a:lnTo>
                  <a:lnTo>
                    <a:pt x="458" y="829"/>
                  </a:lnTo>
                  <a:lnTo>
                    <a:pt x="445" y="821"/>
                  </a:lnTo>
                  <a:lnTo>
                    <a:pt x="431" y="811"/>
                  </a:lnTo>
                  <a:lnTo>
                    <a:pt x="417" y="799"/>
                  </a:lnTo>
                  <a:lnTo>
                    <a:pt x="403" y="791"/>
                  </a:lnTo>
                  <a:lnTo>
                    <a:pt x="389" y="784"/>
                  </a:lnTo>
                  <a:lnTo>
                    <a:pt x="382" y="776"/>
                  </a:lnTo>
                  <a:lnTo>
                    <a:pt x="370" y="754"/>
                  </a:lnTo>
                  <a:lnTo>
                    <a:pt x="358" y="732"/>
                  </a:lnTo>
                  <a:lnTo>
                    <a:pt x="352" y="717"/>
                  </a:lnTo>
                  <a:lnTo>
                    <a:pt x="350" y="703"/>
                  </a:lnTo>
                  <a:lnTo>
                    <a:pt x="354" y="691"/>
                  </a:lnTo>
                  <a:lnTo>
                    <a:pt x="358" y="685"/>
                  </a:lnTo>
                  <a:lnTo>
                    <a:pt x="364" y="683"/>
                  </a:lnTo>
                  <a:lnTo>
                    <a:pt x="368" y="681"/>
                  </a:lnTo>
                  <a:lnTo>
                    <a:pt x="372" y="679"/>
                  </a:lnTo>
                  <a:lnTo>
                    <a:pt x="376" y="677"/>
                  </a:lnTo>
                  <a:lnTo>
                    <a:pt x="380" y="673"/>
                  </a:lnTo>
                  <a:lnTo>
                    <a:pt x="382" y="671"/>
                  </a:lnTo>
                  <a:lnTo>
                    <a:pt x="382" y="665"/>
                  </a:lnTo>
                  <a:lnTo>
                    <a:pt x="376" y="654"/>
                  </a:lnTo>
                  <a:lnTo>
                    <a:pt x="364" y="646"/>
                  </a:lnTo>
                  <a:lnTo>
                    <a:pt x="348" y="638"/>
                  </a:lnTo>
                  <a:lnTo>
                    <a:pt x="332" y="636"/>
                  </a:lnTo>
                  <a:lnTo>
                    <a:pt x="323" y="638"/>
                  </a:lnTo>
                  <a:lnTo>
                    <a:pt x="315" y="644"/>
                  </a:lnTo>
                  <a:lnTo>
                    <a:pt x="307" y="650"/>
                  </a:lnTo>
                  <a:lnTo>
                    <a:pt x="301" y="652"/>
                  </a:lnTo>
                  <a:lnTo>
                    <a:pt x="295" y="650"/>
                  </a:lnTo>
                  <a:lnTo>
                    <a:pt x="283" y="636"/>
                  </a:lnTo>
                  <a:lnTo>
                    <a:pt x="273" y="630"/>
                  </a:lnTo>
                  <a:lnTo>
                    <a:pt x="262" y="630"/>
                  </a:lnTo>
                  <a:lnTo>
                    <a:pt x="254" y="636"/>
                  </a:lnTo>
                  <a:lnTo>
                    <a:pt x="246" y="642"/>
                  </a:lnTo>
                  <a:lnTo>
                    <a:pt x="238" y="644"/>
                  </a:lnTo>
                  <a:lnTo>
                    <a:pt x="230" y="640"/>
                  </a:lnTo>
                  <a:lnTo>
                    <a:pt x="220" y="632"/>
                  </a:lnTo>
                  <a:lnTo>
                    <a:pt x="208" y="624"/>
                  </a:lnTo>
                  <a:lnTo>
                    <a:pt x="195" y="614"/>
                  </a:lnTo>
                  <a:lnTo>
                    <a:pt x="185" y="608"/>
                  </a:lnTo>
                  <a:lnTo>
                    <a:pt x="181" y="606"/>
                  </a:lnTo>
                  <a:lnTo>
                    <a:pt x="181" y="593"/>
                  </a:lnTo>
                  <a:lnTo>
                    <a:pt x="210" y="553"/>
                  </a:lnTo>
                  <a:lnTo>
                    <a:pt x="262" y="540"/>
                  </a:lnTo>
                  <a:lnTo>
                    <a:pt x="271" y="467"/>
                  </a:lnTo>
                  <a:lnTo>
                    <a:pt x="248" y="439"/>
                  </a:lnTo>
                  <a:lnTo>
                    <a:pt x="212" y="455"/>
                  </a:lnTo>
                  <a:lnTo>
                    <a:pt x="179" y="435"/>
                  </a:lnTo>
                  <a:lnTo>
                    <a:pt x="147" y="451"/>
                  </a:lnTo>
                  <a:lnTo>
                    <a:pt x="116" y="431"/>
                  </a:lnTo>
                  <a:lnTo>
                    <a:pt x="106" y="390"/>
                  </a:lnTo>
                  <a:lnTo>
                    <a:pt x="57" y="386"/>
                  </a:lnTo>
                  <a:lnTo>
                    <a:pt x="31" y="404"/>
                  </a:lnTo>
                  <a:lnTo>
                    <a:pt x="0" y="349"/>
                  </a:lnTo>
                  <a:lnTo>
                    <a:pt x="51" y="347"/>
                  </a:lnTo>
                  <a:lnTo>
                    <a:pt x="104" y="295"/>
                  </a:lnTo>
                  <a:lnTo>
                    <a:pt x="139" y="292"/>
                  </a:lnTo>
                  <a:lnTo>
                    <a:pt x="195" y="327"/>
                  </a:lnTo>
                  <a:lnTo>
                    <a:pt x="250" y="335"/>
                  </a:lnTo>
                  <a:lnTo>
                    <a:pt x="275" y="309"/>
                  </a:lnTo>
                  <a:lnTo>
                    <a:pt x="279" y="288"/>
                  </a:lnTo>
                  <a:lnTo>
                    <a:pt x="307" y="278"/>
                  </a:lnTo>
                  <a:lnTo>
                    <a:pt x="338" y="248"/>
                  </a:lnTo>
                  <a:lnTo>
                    <a:pt x="386" y="238"/>
                  </a:lnTo>
                  <a:lnTo>
                    <a:pt x="397" y="207"/>
                  </a:lnTo>
                  <a:lnTo>
                    <a:pt x="437" y="181"/>
                  </a:lnTo>
                  <a:lnTo>
                    <a:pt x="458" y="223"/>
                  </a:lnTo>
                  <a:lnTo>
                    <a:pt x="496" y="225"/>
                  </a:lnTo>
                  <a:lnTo>
                    <a:pt x="521" y="248"/>
                  </a:lnTo>
                  <a:lnTo>
                    <a:pt x="567" y="227"/>
                  </a:lnTo>
                  <a:lnTo>
                    <a:pt x="575" y="189"/>
                  </a:lnTo>
                  <a:lnTo>
                    <a:pt x="604" y="173"/>
                  </a:lnTo>
                  <a:lnTo>
                    <a:pt x="641" y="193"/>
                  </a:lnTo>
                  <a:lnTo>
                    <a:pt x="659" y="160"/>
                  </a:lnTo>
                  <a:lnTo>
                    <a:pt x="695" y="160"/>
                  </a:lnTo>
                  <a:lnTo>
                    <a:pt x="693" y="120"/>
                  </a:lnTo>
                  <a:lnTo>
                    <a:pt x="728" y="108"/>
                  </a:lnTo>
                  <a:lnTo>
                    <a:pt x="740" y="122"/>
                  </a:lnTo>
                  <a:lnTo>
                    <a:pt x="765" y="71"/>
                  </a:lnTo>
                  <a:lnTo>
                    <a:pt x="797" y="73"/>
                  </a:lnTo>
                  <a:lnTo>
                    <a:pt x="825" y="77"/>
                  </a:lnTo>
                  <a:lnTo>
                    <a:pt x="840" y="30"/>
                  </a:lnTo>
                  <a:lnTo>
                    <a:pt x="868" y="36"/>
                  </a:lnTo>
                  <a:lnTo>
                    <a:pt x="891" y="63"/>
                  </a:lnTo>
                  <a:lnTo>
                    <a:pt x="933" y="6"/>
                  </a:lnTo>
                  <a:lnTo>
                    <a:pt x="974" y="18"/>
                  </a:lnTo>
                  <a:lnTo>
                    <a:pt x="1006" y="0"/>
                  </a:lnTo>
                  <a:lnTo>
                    <a:pt x="1039" y="10"/>
                  </a:lnTo>
                  <a:lnTo>
                    <a:pt x="1039" y="69"/>
                  </a:lnTo>
                  <a:lnTo>
                    <a:pt x="1065" y="89"/>
                  </a:lnTo>
                  <a:lnTo>
                    <a:pt x="1059" y="154"/>
                  </a:lnTo>
                  <a:lnTo>
                    <a:pt x="1006" y="215"/>
                  </a:lnTo>
                  <a:lnTo>
                    <a:pt x="1080" y="209"/>
                  </a:lnTo>
                  <a:lnTo>
                    <a:pt x="1096" y="234"/>
                  </a:lnTo>
                  <a:lnTo>
                    <a:pt x="1096" y="284"/>
                  </a:lnTo>
                  <a:lnTo>
                    <a:pt x="1134" y="258"/>
                  </a:lnTo>
                  <a:lnTo>
                    <a:pt x="1169" y="258"/>
                  </a:lnTo>
                  <a:lnTo>
                    <a:pt x="1191" y="321"/>
                  </a:lnTo>
                  <a:lnTo>
                    <a:pt x="1163" y="351"/>
                  </a:lnTo>
                  <a:lnTo>
                    <a:pt x="1167" y="408"/>
                  </a:lnTo>
                  <a:lnTo>
                    <a:pt x="1128" y="431"/>
                  </a:lnTo>
                  <a:lnTo>
                    <a:pt x="1104" y="504"/>
                  </a:lnTo>
                  <a:lnTo>
                    <a:pt x="1110" y="579"/>
                  </a:lnTo>
                  <a:lnTo>
                    <a:pt x="1039" y="642"/>
                  </a:lnTo>
                  <a:lnTo>
                    <a:pt x="1013" y="654"/>
                  </a:lnTo>
                  <a:lnTo>
                    <a:pt x="1013" y="713"/>
                  </a:lnTo>
                  <a:lnTo>
                    <a:pt x="990" y="728"/>
                  </a:lnTo>
                  <a:lnTo>
                    <a:pt x="943" y="738"/>
                  </a:lnTo>
                  <a:lnTo>
                    <a:pt x="937" y="776"/>
                  </a:lnTo>
                  <a:lnTo>
                    <a:pt x="899" y="788"/>
                  </a:lnTo>
                  <a:lnTo>
                    <a:pt x="866" y="83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0" name="Freeform 74"/>
            <p:cNvSpPr/>
            <p:nvPr/>
          </p:nvSpPr>
          <p:spPr bwMode="gray">
            <a:xfrm>
              <a:off x="2755" y="3269"/>
              <a:ext cx="596" cy="432"/>
            </a:xfrm>
            <a:custGeom>
              <a:avLst/>
              <a:gdLst>
                <a:gd name="T0" fmla="*/ 209 w 1191"/>
                <a:gd name="T1" fmla="*/ 213 h 864"/>
                <a:gd name="T2" fmla="*/ 202 w 1191"/>
                <a:gd name="T3" fmla="*/ 215 h 864"/>
                <a:gd name="T4" fmla="*/ 195 w 1191"/>
                <a:gd name="T5" fmla="*/ 214 h 864"/>
                <a:gd name="T6" fmla="*/ 186 w 1191"/>
                <a:gd name="T7" fmla="*/ 210 h 864"/>
                <a:gd name="T8" fmla="*/ 180 w 1191"/>
                <a:gd name="T9" fmla="*/ 210 h 864"/>
                <a:gd name="T10" fmla="*/ 174 w 1191"/>
                <a:gd name="T11" fmla="*/ 203 h 864"/>
                <a:gd name="T12" fmla="*/ 169 w 1191"/>
                <a:gd name="T13" fmla="*/ 200 h 864"/>
                <a:gd name="T14" fmla="*/ 163 w 1191"/>
                <a:gd name="T15" fmla="*/ 210 h 864"/>
                <a:gd name="T16" fmla="*/ 155 w 1191"/>
                <a:gd name="T17" fmla="*/ 214 h 864"/>
                <a:gd name="T18" fmla="*/ 146 w 1191"/>
                <a:gd name="T19" fmla="*/ 216 h 864"/>
                <a:gd name="T20" fmla="*/ 140 w 1191"/>
                <a:gd name="T21" fmla="*/ 211 h 864"/>
                <a:gd name="T22" fmla="*/ 133 w 1191"/>
                <a:gd name="T23" fmla="*/ 213 h 864"/>
                <a:gd name="T24" fmla="*/ 123 w 1191"/>
                <a:gd name="T25" fmla="*/ 213 h 864"/>
                <a:gd name="T26" fmla="*/ 112 w 1191"/>
                <a:gd name="T27" fmla="*/ 206 h 864"/>
                <a:gd name="T28" fmla="*/ 101 w 1191"/>
                <a:gd name="T29" fmla="*/ 198 h 864"/>
                <a:gd name="T30" fmla="*/ 93 w 1191"/>
                <a:gd name="T31" fmla="*/ 189 h 864"/>
                <a:gd name="T32" fmla="*/ 88 w 1191"/>
                <a:gd name="T33" fmla="*/ 176 h 864"/>
                <a:gd name="T34" fmla="*/ 91 w 1191"/>
                <a:gd name="T35" fmla="*/ 171 h 864"/>
                <a:gd name="T36" fmla="*/ 94 w 1191"/>
                <a:gd name="T37" fmla="*/ 170 h 864"/>
                <a:gd name="T38" fmla="*/ 96 w 1191"/>
                <a:gd name="T39" fmla="*/ 167 h 864"/>
                <a:gd name="T40" fmla="*/ 87 w 1191"/>
                <a:gd name="T41" fmla="*/ 160 h 864"/>
                <a:gd name="T42" fmla="*/ 79 w 1191"/>
                <a:gd name="T43" fmla="*/ 161 h 864"/>
                <a:gd name="T44" fmla="*/ 74 w 1191"/>
                <a:gd name="T45" fmla="*/ 163 h 864"/>
                <a:gd name="T46" fmla="*/ 66 w 1191"/>
                <a:gd name="T47" fmla="*/ 158 h 864"/>
                <a:gd name="T48" fmla="*/ 60 w 1191"/>
                <a:gd name="T49" fmla="*/ 161 h 864"/>
                <a:gd name="T50" fmla="*/ 52 w 1191"/>
                <a:gd name="T51" fmla="*/ 156 h 864"/>
                <a:gd name="T52" fmla="*/ 46 w 1191"/>
                <a:gd name="T53" fmla="*/ 152 h 864"/>
                <a:gd name="T54" fmla="*/ 66 w 1191"/>
                <a:gd name="T55" fmla="*/ 135 h 864"/>
                <a:gd name="T56" fmla="*/ 53 w 1191"/>
                <a:gd name="T57" fmla="*/ 114 h 864"/>
                <a:gd name="T58" fmla="*/ 29 w 1191"/>
                <a:gd name="T59" fmla="*/ 108 h 864"/>
                <a:gd name="T60" fmla="*/ 8 w 1191"/>
                <a:gd name="T61" fmla="*/ 101 h 864"/>
                <a:gd name="T62" fmla="*/ 26 w 1191"/>
                <a:gd name="T63" fmla="*/ 74 h 864"/>
                <a:gd name="T64" fmla="*/ 63 w 1191"/>
                <a:gd name="T65" fmla="*/ 84 h 864"/>
                <a:gd name="T66" fmla="*/ 77 w 1191"/>
                <a:gd name="T67" fmla="*/ 70 h 864"/>
                <a:gd name="T68" fmla="*/ 100 w 1191"/>
                <a:gd name="T69" fmla="*/ 52 h 864"/>
                <a:gd name="T70" fmla="*/ 124 w 1191"/>
                <a:gd name="T71" fmla="*/ 56 h 864"/>
                <a:gd name="T72" fmla="*/ 144 w 1191"/>
                <a:gd name="T73" fmla="*/ 48 h 864"/>
                <a:gd name="T74" fmla="*/ 165 w 1191"/>
                <a:gd name="T75" fmla="*/ 40 h 864"/>
                <a:gd name="T76" fmla="*/ 182 w 1191"/>
                <a:gd name="T77" fmla="*/ 27 h 864"/>
                <a:gd name="T78" fmla="*/ 200 w 1191"/>
                <a:gd name="T79" fmla="*/ 19 h 864"/>
                <a:gd name="T80" fmla="*/ 217 w 1191"/>
                <a:gd name="T81" fmla="*/ 9 h 864"/>
                <a:gd name="T82" fmla="*/ 244 w 1191"/>
                <a:gd name="T83" fmla="*/ 5 h 864"/>
                <a:gd name="T84" fmla="*/ 260 w 1191"/>
                <a:gd name="T85" fmla="*/ 18 h 864"/>
                <a:gd name="T86" fmla="*/ 252 w 1191"/>
                <a:gd name="T87" fmla="*/ 54 h 864"/>
                <a:gd name="T88" fmla="*/ 274 w 1191"/>
                <a:gd name="T89" fmla="*/ 71 h 864"/>
                <a:gd name="T90" fmla="*/ 298 w 1191"/>
                <a:gd name="T91" fmla="*/ 81 h 864"/>
                <a:gd name="T92" fmla="*/ 282 w 1191"/>
                <a:gd name="T93" fmla="*/ 108 h 864"/>
                <a:gd name="T94" fmla="*/ 260 w 1191"/>
                <a:gd name="T95" fmla="*/ 161 h 864"/>
                <a:gd name="T96" fmla="*/ 248 w 1191"/>
                <a:gd name="T97" fmla="*/ 182 h 864"/>
                <a:gd name="T98" fmla="*/ 225 w 1191"/>
                <a:gd name="T99" fmla="*/ 197 h 86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91"/>
                <a:gd name="T151" fmla="*/ 0 h 864"/>
                <a:gd name="T152" fmla="*/ 1191 w 1191"/>
                <a:gd name="T153" fmla="*/ 864 h 86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91" h="864">
                  <a:moveTo>
                    <a:pt x="866" y="835"/>
                  </a:moveTo>
                  <a:lnTo>
                    <a:pt x="834" y="815"/>
                  </a:lnTo>
                  <a:lnTo>
                    <a:pt x="836" y="852"/>
                  </a:lnTo>
                  <a:lnTo>
                    <a:pt x="832" y="852"/>
                  </a:lnTo>
                  <a:lnTo>
                    <a:pt x="821" y="856"/>
                  </a:lnTo>
                  <a:lnTo>
                    <a:pt x="807" y="860"/>
                  </a:lnTo>
                  <a:lnTo>
                    <a:pt x="793" y="864"/>
                  </a:lnTo>
                  <a:lnTo>
                    <a:pt x="783" y="862"/>
                  </a:lnTo>
                  <a:lnTo>
                    <a:pt x="777" y="856"/>
                  </a:lnTo>
                  <a:lnTo>
                    <a:pt x="767" y="849"/>
                  </a:lnTo>
                  <a:lnTo>
                    <a:pt x="758" y="841"/>
                  </a:lnTo>
                  <a:lnTo>
                    <a:pt x="744" y="837"/>
                  </a:lnTo>
                  <a:lnTo>
                    <a:pt x="734" y="837"/>
                  </a:lnTo>
                  <a:lnTo>
                    <a:pt x="726" y="837"/>
                  </a:lnTo>
                  <a:lnTo>
                    <a:pt x="718" y="837"/>
                  </a:lnTo>
                  <a:lnTo>
                    <a:pt x="708" y="831"/>
                  </a:lnTo>
                  <a:lnTo>
                    <a:pt x="701" y="821"/>
                  </a:lnTo>
                  <a:lnTo>
                    <a:pt x="693" y="811"/>
                  </a:lnTo>
                  <a:lnTo>
                    <a:pt x="687" y="801"/>
                  </a:lnTo>
                  <a:lnTo>
                    <a:pt x="681" y="797"/>
                  </a:lnTo>
                  <a:lnTo>
                    <a:pt x="673" y="799"/>
                  </a:lnTo>
                  <a:lnTo>
                    <a:pt x="665" y="811"/>
                  </a:lnTo>
                  <a:lnTo>
                    <a:pt x="657" y="825"/>
                  </a:lnTo>
                  <a:lnTo>
                    <a:pt x="651" y="839"/>
                  </a:lnTo>
                  <a:lnTo>
                    <a:pt x="641" y="847"/>
                  </a:lnTo>
                  <a:lnTo>
                    <a:pt x="632" y="850"/>
                  </a:lnTo>
                  <a:lnTo>
                    <a:pt x="620" y="856"/>
                  </a:lnTo>
                  <a:lnTo>
                    <a:pt x="606" y="860"/>
                  </a:lnTo>
                  <a:lnTo>
                    <a:pt x="592" y="862"/>
                  </a:lnTo>
                  <a:lnTo>
                    <a:pt x="582" y="862"/>
                  </a:lnTo>
                  <a:lnTo>
                    <a:pt x="575" y="854"/>
                  </a:lnTo>
                  <a:lnTo>
                    <a:pt x="569" y="849"/>
                  </a:lnTo>
                  <a:lnTo>
                    <a:pt x="559" y="843"/>
                  </a:lnTo>
                  <a:lnTo>
                    <a:pt x="549" y="843"/>
                  </a:lnTo>
                  <a:lnTo>
                    <a:pt x="539" y="845"/>
                  </a:lnTo>
                  <a:lnTo>
                    <a:pt x="529" y="850"/>
                  </a:lnTo>
                  <a:lnTo>
                    <a:pt x="519" y="854"/>
                  </a:lnTo>
                  <a:lnTo>
                    <a:pt x="508" y="854"/>
                  </a:lnTo>
                  <a:lnTo>
                    <a:pt x="492" y="849"/>
                  </a:lnTo>
                  <a:lnTo>
                    <a:pt x="474" y="837"/>
                  </a:lnTo>
                  <a:lnTo>
                    <a:pt x="458" y="829"/>
                  </a:lnTo>
                  <a:lnTo>
                    <a:pt x="445" y="821"/>
                  </a:lnTo>
                  <a:lnTo>
                    <a:pt x="431" y="811"/>
                  </a:lnTo>
                  <a:lnTo>
                    <a:pt x="417" y="799"/>
                  </a:lnTo>
                  <a:lnTo>
                    <a:pt x="403" y="791"/>
                  </a:lnTo>
                  <a:lnTo>
                    <a:pt x="389" y="784"/>
                  </a:lnTo>
                  <a:lnTo>
                    <a:pt x="382" y="776"/>
                  </a:lnTo>
                  <a:lnTo>
                    <a:pt x="370" y="754"/>
                  </a:lnTo>
                  <a:lnTo>
                    <a:pt x="358" y="732"/>
                  </a:lnTo>
                  <a:lnTo>
                    <a:pt x="352" y="717"/>
                  </a:lnTo>
                  <a:lnTo>
                    <a:pt x="350" y="703"/>
                  </a:lnTo>
                  <a:lnTo>
                    <a:pt x="354" y="691"/>
                  </a:lnTo>
                  <a:lnTo>
                    <a:pt x="358" y="685"/>
                  </a:lnTo>
                  <a:lnTo>
                    <a:pt x="364" y="683"/>
                  </a:lnTo>
                  <a:lnTo>
                    <a:pt x="368" y="681"/>
                  </a:lnTo>
                  <a:lnTo>
                    <a:pt x="372" y="679"/>
                  </a:lnTo>
                  <a:lnTo>
                    <a:pt x="376" y="677"/>
                  </a:lnTo>
                  <a:lnTo>
                    <a:pt x="380" y="673"/>
                  </a:lnTo>
                  <a:lnTo>
                    <a:pt x="382" y="671"/>
                  </a:lnTo>
                  <a:lnTo>
                    <a:pt x="382" y="665"/>
                  </a:lnTo>
                  <a:lnTo>
                    <a:pt x="376" y="654"/>
                  </a:lnTo>
                  <a:lnTo>
                    <a:pt x="364" y="646"/>
                  </a:lnTo>
                  <a:lnTo>
                    <a:pt x="348" y="638"/>
                  </a:lnTo>
                  <a:lnTo>
                    <a:pt x="332" y="636"/>
                  </a:lnTo>
                  <a:lnTo>
                    <a:pt x="323" y="638"/>
                  </a:lnTo>
                  <a:lnTo>
                    <a:pt x="315" y="644"/>
                  </a:lnTo>
                  <a:lnTo>
                    <a:pt x="307" y="650"/>
                  </a:lnTo>
                  <a:lnTo>
                    <a:pt x="301" y="652"/>
                  </a:lnTo>
                  <a:lnTo>
                    <a:pt x="295" y="650"/>
                  </a:lnTo>
                  <a:lnTo>
                    <a:pt x="283" y="636"/>
                  </a:lnTo>
                  <a:lnTo>
                    <a:pt x="273" y="630"/>
                  </a:lnTo>
                  <a:lnTo>
                    <a:pt x="262" y="630"/>
                  </a:lnTo>
                  <a:lnTo>
                    <a:pt x="254" y="636"/>
                  </a:lnTo>
                  <a:lnTo>
                    <a:pt x="246" y="642"/>
                  </a:lnTo>
                  <a:lnTo>
                    <a:pt x="238" y="644"/>
                  </a:lnTo>
                  <a:lnTo>
                    <a:pt x="230" y="640"/>
                  </a:lnTo>
                  <a:lnTo>
                    <a:pt x="220" y="632"/>
                  </a:lnTo>
                  <a:lnTo>
                    <a:pt x="208" y="624"/>
                  </a:lnTo>
                  <a:lnTo>
                    <a:pt x="195" y="614"/>
                  </a:lnTo>
                  <a:lnTo>
                    <a:pt x="185" y="608"/>
                  </a:lnTo>
                  <a:lnTo>
                    <a:pt x="181" y="606"/>
                  </a:lnTo>
                  <a:lnTo>
                    <a:pt x="181" y="593"/>
                  </a:lnTo>
                  <a:lnTo>
                    <a:pt x="210" y="553"/>
                  </a:lnTo>
                  <a:lnTo>
                    <a:pt x="262" y="540"/>
                  </a:lnTo>
                  <a:lnTo>
                    <a:pt x="271" y="467"/>
                  </a:lnTo>
                  <a:lnTo>
                    <a:pt x="248" y="439"/>
                  </a:lnTo>
                  <a:lnTo>
                    <a:pt x="212" y="455"/>
                  </a:lnTo>
                  <a:lnTo>
                    <a:pt x="179" y="435"/>
                  </a:lnTo>
                  <a:lnTo>
                    <a:pt x="147" y="451"/>
                  </a:lnTo>
                  <a:lnTo>
                    <a:pt x="116" y="431"/>
                  </a:lnTo>
                  <a:lnTo>
                    <a:pt x="106" y="390"/>
                  </a:lnTo>
                  <a:lnTo>
                    <a:pt x="57" y="386"/>
                  </a:lnTo>
                  <a:lnTo>
                    <a:pt x="31" y="404"/>
                  </a:lnTo>
                  <a:lnTo>
                    <a:pt x="0" y="349"/>
                  </a:lnTo>
                  <a:lnTo>
                    <a:pt x="51" y="347"/>
                  </a:lnTo>
                  <a:lnTo>
                    <a:pt x="104" y="295"/>
                  </a:lnTo>
                  <a:lnTo>
                    <a:pt x="139" y="292"/>
                  </a:lnTo>
                  <a:lnTo>
                    <a:pt x="195" y="327"/>
                  </a:lnTo>
                  <a:lnTo>
                    <a:pt x="250" y="335"/>
                  </a:lnTo>
                  <a:lnTo>
                    <a:pt x="275" y="309"/>
                  </a:lnTo>
                  <a:lnTo>
                    <a:pt x="279" y="288"/>
                  </a:lnTo>
                  <a:lnTo>
                    <a:pt x="307" y="278"/>
                  </a:lnTo>
                  <a:lnTo>
                    <a:pt x="338" y="248"/>
                  </a:lnTo>
                  <a:lnTo>
                    <a:pt x="386" y="238"/>
                  </a:lnTo>
                  <a:lnTo>
                    <a:pt x="397" y="207"/>
                  </a:lnTo>
                  <a:lnTo>
                    <a:pt x="437" y="181"/>
                  </a:lnTo>
                  <a:lnTo>
                    <a:pt x="458" y="223"/>
                  </a:lnTo>
                  <a:lnTo>
                    <a:pt x="496" y="225"/>
                  </a:lnTo>
                  <a:lnTo>
                    <a:pt x="521" y="248"/>
                  </a:lnTo>
                  <a:lnTo>
                    <a:pt x="567" y="227"/>
                  </a:lnTo>
                  <a:lnTo>
                    <a:pt x="575" y="189"/>
                  </a:lnTo>
                  <a:lnTo>
                    <a:pt x="604" y="173"/>
                  </a:lnTo>
                  <a:lnTo>
                    <a:pt x="641" y="193"/>
                  </a:lnTo>
                  <a:lnTo>
                    <a:pt x="659" y="160"/>
                  </a:lnTo>
                  <a:lnTo>
                    <a:pt x="695" y="160"/>
                  </a:lnTo>
                  <a:lnTo>
                    <a:pt x="693" y="120"/>
                  </a:lnTo>
                  <a:lnTo>
                    <a:pt x="728" y="108"/>
                  </a:lnTo>
                  <a:lnTo>
                    <a:pt x="740" y="122"/>
                  </a:lnTo>
                  <a:lnTo>
                    <a:pt x="765" y="71"/>
                  </a:lnTo>
                  <a:lnTo>
                    <a:pt x="797" y="73"/>
                  </a:lnTo>
                  <a:lnTo>
                    <a:pt x="825" y="77"/>
                  </a:lnTo>
                  <a:lnTo>
                    <a:pt x="840" y="30"/>
                  </a:lnTo>
                  <a:lnTo>
                    <a:pt x="868" y="36"/>
                  </a:lnTo>
                  <a:lnTo>
                    <a:pt x="891" y="63"/>
                  </a:lnTo>
                  <a:lnTo>
                    <a:pt x="933" y="6"/>
                  </a:lnTo>
                  <a:lnTo>
                    <a:pt x="974" y="18"/>
                  </a:lnTo>
                  <a:lnTo>
                    <a:pt x="1006" y="0"/>
                  </a:lnTo>
                  <a:lnTo>
                    <a:pt x="1039" y="10"/>
                  </a:lnTo>
                  <a:lnTo>
                    <a:pt x="1039" y="69"/>
                  </a:lnTo>
                  <a:lnTo>
                    <a:pt x="1065" y="89"/>
                  </a:lnTo>
                  <a:lnTo>
                    <a:pt x="1059" y="154"/>
                  </a:lnTo>
                  <a:lnTo>
                    <a:pt x="1006" y="215"/>
                  </a:lnTo>
                  <a:lnTo>
                    <a:pt x="1080" y="209"/>
                  </a:lnTo>
                  <a:lnTo>
                    <a:pt x="1096" y="234"/>
                  </a:lnTo>
                  <a:lnTo>
                    <a:pt x="1096" y="284"/>
                  </a:lnTo>
                  <a:lnTo>
                    <a:pt x="1134" y="258"/>
                  </a:lnTo>
                  <a:lnTo>
                    <a:pt x="1169" y="258"/>
                  </a:lnTo>
                  <a:lnTo>
                    <a:pt x="1191" y="321"/>
                  </a:lnTo>
                  <a:lnTo>
                    <a:pt x="1163" y="351"/>
                  </a:lnTo>
                  <a:lnTo>
                    <a:pt x="1167" y="408"/>
                  </a:lnTo>
                  <a:lnTo>
                    <a:pt x="1128" y="431"/>
                  </a:lnTo>
                  <a:lnTo>
                    <a:pt x="1104" y="504"/>
                  </a:lnTo>
                  <a:lnTo>
                    <a:pt x="1110" y="579"/>
                  </a:lnTo>
                  <a:lnTo>
                    <a:pt x="1039" y="642"/>
                  </a:lnTo>
                  <a:lnTo>
                    <a:pt x="1013" y="654"/>
                  </a:lnTo>
                  <a:lnTo>
                    <a:pt x="1013" y="713"/>
                  </a:lnTo>
                  <a:lnTo>
                    <a:pt x="990" y="728"/>
                  </a:lnTo>
                  <a:lnTo>
                    <a:pt x="943" y="738"/>
                  </a:lnTo>
                  <a:lnTo>
                    <a:pt x="937" y="776"/>
                  </a:lnTo>
                  <a:lnTo>
                    <a:pt x="899" y="788"/>
                  </a:lnTo>
                  <a:lnTo>
                    <a:pt x="866" y="835"/>
                  </a:lnTo>
                </a:path>
              </a:pathLst>
            </a:custGeom>
            <a:grpFill/>
            <a:ln w="6350">
              <a:solidFill>
                <a:schemeClr val="tx1">
                  <a:lumMod val="85000"/>
                  <a:lumOff val="15000"/>
                </a:schemeClr>
              </a:solidFill>
              <a:prstDash val="solid"/>
              <a:round/>
            </a:ln>
          </p:spPr>
          <p:txBody>
            <a:bodyPr/>
            <a:lstStyle/>
            <a:p>
              <a:endParaRPr lang="zh-CN" altLang="en-US" sz="2400"/>
            </a:p>
          </p:txBody>
        </p:sp>
        <p:sp>
          <p:nvSpPr>
            <p:cNvPr id="31" name="Freeform 75"/>
            <p:cNvSpPr/>
            <p:nvPr/>
          </p:nvSpPr>
          <p:spPr bwMode="gray">
            <a:xfrm>
              <a:off x="3116" y="3813"/>
              <a:ext cx="195" cy="172"/>
            </a:xfrm>
            <a:custGeom>
              <a:avLst/>
              <a:gdLst>
                <a:gd name="T0" fmla="*/ 20 w 392"/>
                <a:gd name="T1" fmla="*/ 19 h 344"/>
                <a:gd name="T2" fmla="*/ 17 w 392"/>
                <a:gd name="T3" fmla="*/ 21 h 344"/>
                <a:gd name="T4" fmla="*/ 11 w 392"/>
                <a:gd name="T5" fmla="*/ 27 h 344"/>
                <a:gd name="T6" fmla="*/ 5 w 392"/>
                <a:gd name="T7" fmla="*/ 35 h 344"/>
                <a:gd name="T8" fmla="*/ 1 w 392"/>
                <a:gd name="T9" fmla="*/ 40 h 344"/>
                <a:gd name="T10" fmla="*/ 0 w 392"/>
                <a:gd name="T11" fmla="*/ 50 h 344"/>
                <a:gd name="T12" fmla="*/ 1 w 392"/>
                <a:gd name="T13" fmla="*/ 63 h 344"/>
                <a:gd name="T14" fmla="*/ 5 w 392"/>
                <a:gd name="T15" fmla="*/ 72 h 344"/>
                <a:gd name="T16" fmla="*/ 12 w 392"/>
                <a:gd name="T17" fmla="*/ 78 h 344"/>
                <a:gd name="T18" fmla="*/ 22 w 392"/>
                <a:gd name="T19" fmla="*/ 80 h 344"/>
                <a:gd name="T20" fmla="*/ 28 w 392"/>
                <a:gd name="T21" fmla="*/ 80 h 344"/>
                <a:gd name="T22" fmla="*/ 33 w 392"/>
                <a:gd name="T23" fmla="*/ 81 h 344"/>
                <a:gd name="T24" fmla="*/ 41 w 392"/>
                <a:gd name="T25" fmla="*/ 86 h 344"/>
                <a:gd name="T26" fmla="*/ 46 w 392"/>
                <a:gd name="T27" fmla="*/ 85 h 344"/>
                <a:gd name="T28" fmla="*/ 49 w 392"/>
                <a:gd name="T29" fmla="*/ 80 h 344"/>
                <a:gd name="T30" fmla="*/ 53 w 392"/>
                <a:gd name="T31" fmla="*/ 74 h 344"/>
                <a:gd name="T32" fmla="*/ 59 w 392"/>
                <a:gd name="T33" fmla="*/ 73 h 344"/>
                <a:gd name="T34" fmla="*/ 64 w 392"/>
                <a:gd name="T35" fmla="*/ 69 h 344"/>
                <a:gd name="T36" fmla="*/ 69 w 392"/>
                <a:gd name="T37" fmla="*/ 63 h 344"/>
                <a:gd name="T38" fmla="*/ 76 w 392"/>
                <a:gd name="T39" fmla="*/ 59 h 344"/>
                <a:gd name="T40" fmla="*/ 79 w 392"/>
                <a:gd name="T41" fmla="*/ 52 h 344"/>
                <a:gd name="T42" fmla="*/ 80 w 392"/>
                <a:gd name="T43" fmla="*/ 43 h 344"/>
                <a:gd name="T44" fmla="*/ 85 w 392"/>
                <a:gd name="T45" fmla="*/ 28 h 344"/>
                <a:gd name="T46" fmla="*/ 90 w 392"/>
                <a:gd name="T47" fmla="*/ 21 h 344"/>
                <a:gd name="T48" fmla="*/ 94 w 392"/>
                <a:gd name="T49" fmla="*/ 19 h 344"/>
                <a:gd name="T50" fmla="*/ 97 w 392"/>
                <a:gd name="T51" fmla="*/ 15 h 344"/>
                <a:gd name="T52" fmla="*/ 97 w 392"/>
                <a:gd name="T53" fmla="*/ 9 h 344"/>
                <a:gd name="T54" fmla="*/ 95 w 392"/>
                <a:gd name="T55" fmla="*/ 3 h 344"/>
                <a:gd name="T56" fmla="*/ 88 w 392"/>
                <a:gd name="T57" fmla="*/ 1 h 344"/>
                <a:gd name="T58" fmla="*/ 75 w 392"/>
                <a:gd name="T59" fmla="*/ 1 h 344"/>
                <a:gd name="T60" fmla="*/ 64 w 392"/>
                <a:gd name="T61" fmla="*/ 3 h 344"/>
                <a:gd name="T62" fmla="*/ 55 w 392"/>
                <a:gd name="T63" fmla="*/ 5 h 344"/>
                <a:gd name="T64" fmla="*/ 45 w 392"/>
                <a:gd name="T65" fmla="*/ 7 h 344"/>
                <a:gd name="T66" fmla="*/ 38 w 392"/>
                <a:gd name="T67" fmla="*/ 8 h 344"/>
                <a:gd name="T68" fmla="*/ 33 w 392"/>
                <a:gd name="T69" fmla="*/ 11 h 344"/>
                <a:gd name="T70" fmla="*/ 28 w 392"/>
                <a:gd name="T71" fmla="*/ 12 h 344"/>
                <a:gd name="T72" fmla="*/ 23 w 392"/>
                <a:gd name="T73" fmla="*/ 12 h 3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92"/>
                <a:gd name="T112" fmla="*/ 0 h 344"/>
                <a:gd name="T113" fmla="*/ 392 w 392"/>
                <a:gd name="T114" fmla="*/ 344 h 3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92" h="344">
                  <a:moveTo>
                    <a:pt x="87" y="51"/>
                  </a:moveTo>
                  <a:lnTo>
                    <a:pt x="83" y="74"/>
                  </a:lnTo>
                  <a:lnTo>
                    <a:pt x="79" y="76"/>
                  </a:lnTo>
                  <a:lnTo>
                    <a:pt x="71" y="84"/>
                  </a:lnTo>
                  <a:lnTo>
                    <a:pt x="59" y="96"/>
                  </a:lnTo>
                  <a:lnTo>
                    <a:pt x="45" y="108"/>
                  </a:lnTo>
                  <a:lnTo>
                    <a:pt x="32" y="124"/>
                  </a:lnTo>
                  <a:lnTo>
                    <a:pt x="20" y="137"/>
                  </a:lnTo>
                  <a:lnTo>
                    <a:pt x="10" y="149"/>
                  </a:lnTo>
                  <a:lnTo>
                    <a:pt x="4" y="159"/>
                  </a:lnTo>
                  <a:lnTo>
                    <a:pt x="0" y="175"/>
                  </a:lnTo>
                  <a:lnTo>
                    <a:pt x="0" y="200"/>
                  </a:lnTo>
                  <a:lnTo>
                    <a:pt x="2" y="228"/>
                  </a:lnTo>
                  <a:lnTo>
                    <a:pt x="6" y="254"/>
                  </a:lnTo>
                  <a:lnTo>
                    <a:pt x="12" y="271"/>
                  </a:lnTo>
                  <a:lnTo>
                    <a:pt x="22" y="287"/>
                  </a:lnTo>
                  <a:lnTo>
                    <a:pt x="36" y="299"/>
                  </a:lnTo>
                  <a:lnTo>
                    <a:pt x="51" y="309"/>
                  </a:lnTo>
                  <a:lnTo>
                    <a:pt x="73" y="317"/>
                  </a:lnTo>
                  <a:lnTo>
                    <a:pt x="91" y="318"/>
                  </a:lnTo>
                  <a:lnTo>
                    <a:pt x="103" y="318"/>
                  </a:lnTo>
                  <a:lnTo>
                    <a:pt x="112" y="318"/>
                  </a:lnTo>
                  <a:lnTo>
                    <a:pt x="122" y="318"/>
                  </a:lnTo>
                  <a:lnTo>
                    <a:pt x="134" y="324"/>
                  </a:lnTo>
                  <a:lnTo>
                    <a:pt x="152" y="334"/>
                  </a:lnTo>
                  <a:lnTo>
                    <a:pt x="164" y="342"/>
                  </a:lnTo>
                  <a:lnTo>
                    <a:pt x="175" y="344"/>
                  </a:lnTo>
                  <a:lnTo>
                    <a:pt x="185" y="338"/>
                  </a:lnTo>
                  <a:lnTo>
                    <a:pt x="193" y="328"/>
                  </a:lnTo>
                  <a:lnTo>
                    <a:pt x="199" y="317"/>
                  </a:lnTo>
                  <a:lnTo>
                    <a:pt x="205" y="305"/>
                  </a:lnTo>
                  <a:lnTo>
                    <a:pt x="213" y="295"/>
                  </a:lnTo>
                  <a:lnTo>
                    <a:pt x="225" y="293"/>
                  </a:lnTo>
                  <a:lnTo>
                    <a:pt x="240" y="289"/>
                  </a:lnTo>
                  <a:lnTo>
                    <a:pt x="252" y="283"/>
                  </a:lnTo>
                  <a:lnTo>
                    <a:pt x="260" y="275"/>
                  </a:lnTo>
                  <a:lnTo>
                    <a:pt x="268" y="263"/>
                  </a:lnTo>
                  <a:lnTo>
                    <a:pt x="280" y="252"/>
                  </a:lnTo>
                  <a:lnTo>
                    <a:pt x="292" y="246"/>
                  </a:lnTo>
                  <a:lnTo>
                    <a:pt x="305" y="238"/>
                  </a:lnTo>
                  <a:lnTo>
                    <a:pt x="315" y="224"/>
                  </a:lnTo>
                  <a:lnTo>
                    <a:pt x="319" y="208"/>
                  </a:lnTo>
                  <a:lnTo>
                    <a:pt x="321" y="189"/>
                  </a:lnTo>
                  <a:lnTo>
                    <a:pt x="323" y="169"/>
                  </a:lnTo>
                  <a:lnTo>
                    <a:pt x="331" y="139"/>
                  </a:lnTo>
                  <a:lnTo>
                    <a:pt x="343" y="112"/>
                  </a:lnTo>
                  <a:lnTo>
                    <a:pt x="355" y="92"/>
                  </a:lnTo>
                  <a:lnTo>
                    <a:pt x="362" y="84"/>
                  </a:lnTo>
                  <a:lnTo>
                    <a:pt x="372" y="80"/>
                  </a:lnTo>
                  <a:lnTo>
                    <a:pt x="380" y="76"/>
                  </a:lnTo>
                  <a:lnTo>
                    <a:pt x="388" y="70"/>
                  </a:lnTo>
                  <a:lnTo>
                    <a:pt x="392" y="61"/>
                  </a:lnTo>
                  <a:lnTo>
                    <a:pt x="392" y="51"/>
                  </a:lnTo>
                  <a:lnTo>
                    <a:pt x="390" y="35"/>
                  </a:lnTo>
                  <a:lnTo>
                    <a:pt x="390" y="23"/>
                  </a:lnTo>
                  <a:lnTo>
                    <a:pt x="384" y="13"/>
                  </a:lnTo>
                  <a:lnTo>
                    <a:pt x="374" y="8"/>
                  </a:lnTo>
                  <a:lnTo>
                    <a:pt x="356" y="2"/>
                  </a:lnTo>
                  <a:lnTo>
                    <a:pt x="327" y="0"/>
                  </a:lnTo>
                  <a:lnTo>
                    <a:pt x="301" y="4"/>
                  </a:lnTo>
                  <a:lnTo>
                    <a:pt x="280" y="9"/>
                  </a:lnTo>
                  <a:lnTo>
                    <a:pt x="260" y="13"/>
                  </a:lnTo>
                  <a:lnTo>
                    <a:pt x="240" y="15"/>
                  </a:lnTo>
                  <a:lnTo>
                    <a:pt x="221" y="21"/>
                  </a:lnTo>
                  <a:lnTo>
                    <a:pt x="201" y="27"/>
                  </a:lnTo>
                  <a:lnTo>
                    <a:pt x="181" y="27"/>
                  </a:lnTo>
                  <a:lnTo>
                    <a:pt x="166" y="27"/>
                  </a:lnTo>
                  <a:lnTo>
                    <a:pt x="154" y="31"/>
                  </a:lnTo>
                  <a:lnTo>
                    <a:pt x="142" y="39"/>
                  </a:lnTo>
                  <a:lnTo>
                    <a:pt x="134" y="45"/>
                  </a:lnTo>
                  <a:lnTo>
                    <a:pt x="126" y="49"/>
                  </a:lnTo>
                  <a:lnTo>
                    <a:pt x="114" y="49"/>
                  </a:lnTo>
                  <a:lnTo>
                    <a:pt x="103" y="49"/>
                  </a:lnTo>
                  <a:lnTo>
                    <a:pt x="93" y="49"/>
                  </a:lnTo>
                  <a:lnTo>
                    <a:pt x="87" y="51"/>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2" name="Freeform 76"/>
            <p:cNvSpPr/>
            <p:nvPr/>
          </p:nvSpPr>
          <p:spPr bwMode="gray">
            <a:xfrm>
              <a:off x="3116" y="3813"/>
              <a:ext cx="195" cy="172"/>
            </a:xfrm>
            <a:custGeom>
              <a:avLst/>
              <a:gdLst>
                <a:gd name="T0" fmla="*/ 20 w 392"/>
                <a:gd name="T1" fmla="*/ 19 h 344"/>
                <a:gd name="T2" fmla="*/ 17 w 392"/>
                <a:gd name="T3" fmla="*/ 21 h 344"/>
                <a:gd name="T4" fmla="*/ 11 w 392"/>
                <a:gd name="T5" fmla="*/ 27 h 344"/>
                <a:gd name="T6" fmla="*/ 5 w 392"/>
                <a:gd name="T7" fmla="*/ 35 h 344"/>
                <a:gd name="T8" fmla="*/ 1 w 392"/>
                <a:gd name="T9" fmla="*/ 40 h 344"/>
                <a:gd name="T10" fmla="*/ 0 w 392"/>
                <a:gd name="T11" fmla="*/ 50 h 344"/>
                <a:gd name="T12" fmla="*/ 1 w 392"/>
                <a:gd name="T13" fmla="*/ 63 h 344"/>
                <a:gd name="T14" fmla="*/ 5 w 392"/>
                <a:gd name="T15" fmla="*/ 72 h 344"/>
                <a:gd name="T16" fmla="*/ 12 w 392"/>
                <a:gd name="T17" fmla="*/ 78 h 344"/>
                <a:gd name="T18" fmla="*/ 22 w 392"/>
                <a:gd name="T19" fmla="*/ 80 h 344"/>
                <a:gd name="T20" fmla="*/ 28 w 392"/>
                <a:gd name="T21" fmla="*/ 80 h 344"/>
                <a:gd name="T22" fmla="*/ 33 w 392"/>
                <a:gd name="T23" fmla="*/ 81 h 344"/>
                <a:gd name="T24" fmla="*/ 41 w 392"/>
                <a:gd name="T25" fmla="*/ 86 h 344"/>
                <a:gd name="T26" fmla="*/ 46 w 392"/>
                <a:gd name="T27" fmla="*/ 85 h 344"/>
                <a:gd name="T28" fmla="*/ 49 w 392"/>
                <a:gd name="T29" fmla="*/ 80 h 344"/>
                <a:gd name="T30" fmla="*/ 53 w 392"/>
                <a:gd name="T31" fmla="*/ 74 h 344"/>
                <a:gd name="T32" fmla="*/ 59 w 392"/>
                <a:gd name="T33" fmla="*/ 73 h 344"/>
                <a:gd name="T34" fmla="*/ 64 w 392"/>
                <a:gd name="T35" fmla="*/ 69 h 344"/>
                <a:gd name="T36" fmla="*/ 69 w 392"/>
                <a:gd name="T37" fmla="*/ 63 h 344"/>
                <a:gd name="T38" fmla="*/ 76 w 392"/>
                <a:gd name="T39" fmla="*/ 59 h 344"/>
                <a:gd name="T40" fmla="*/ 79 w 392"/>
                <a:gd name="T41" fmla="*/ 52 h 344"/>
                <a:gd name="T42" fmla="*/ 80 w 392"/>
                <a:gd name="T43" fmla="*/ 43 h 344"/>
                <a:gd name="T44" fmla="*/ 85 w 392"/>
                <a:gd name="T45" fmla="*/ 28 h 344"/>
                <a:gd name="T46" fmla="*/ 90 w 392"/>
                <a:gd name="T47" fmla="*/ 21 h 344"/>
                <a:gd name="T48" fmla="*/ 94 w 392"/>
                <a:gd name="T49" fmla="*/ 19 h 344"/>
                <a:gd name="T50" fmla="*/ 97 w 392"/>
                <a:gd name="T51" fmla="*/ 15 h 344"/>
                <a:gd name="T52" fmla="*/ 97 w 392"/>
                <a:gd name="T53" fmla="*/ 9 h 344"/>
                <a:gd name="T54" fmla="*/ 95 w 392"/>
                <a:gd name="T55" fmla="*/ 3 h 344"/>
                <a:gd name="T56" fmla="*/ 88 w 392"/>
                <a:gd name="T57" fmla="*/ 1 h 344"/>
                <a:gd name="T58" fmla="*/ 75 w 392"/>
                <a:gd name="T59" fmla="*/ 1 h 344"/>
                <a:gd name="T60" fmla="*/ 64 w 392"/>
                <a:gd name="T61" fmla="*/ 3 h 344"/>
                <a:gd name="T62" fmla="*/ 55 w 392"/>
                <a:gd name="T63" fmla="*/ 5 h 344"/>
                <a:gd name="T64" fmla="*/ 45 w 392"/>
                <a:gd name="T65" fmla="*/ 7 h 344"/>
                <a:gd name="T66" fmla="*/ 38 w 392"/>
                <a:gd name="T67" fmla="*/ 8 h 344"/>
                <a:gd name="T68" fmla="*/ 33 w 392"/>
                <a:gd name="T69" fmla="*/ 11 h 344"/>
                <a:gd name="T70" fmla="*/ 28 w 392"/>
                <a:gd name="T71" fmla="*/ 12 h 344"/>
                <a:gd name="T72" fmla="*/ 23 w 392"/>
                <a:gd name="T73" fmla="*/ 12 h 3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92"/>
                <a:gd name="T112" fmla="*/ 0 h 344"/>
                <a:gd name="T113" fmla="*/ 392 w 392"/>
                <a:gd name="T114" fmla="*/ 344 h 3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92" h="344">
                  <a:moveTo>
                    <a:pt x="87" y="51"/>
                  </a:moveTo>
                  <a:lnTo>
                    <a:pt x="83" y="74"/>
                  </a:lnTo>
                  <a:lnTo>
                    <a:pt x="79" y="76"/>
                  </a:lnTo>
                  <a:lnTo>
                    <a:pt x="71" y="84"/>
                  </a:lnTo>
                  <a:lnTo>
                    <a:pt x="59" y="96"/>
                  </a:lnTo>
                  <a:lnTo>
                    <a:pt x="45" y="108"/>
                  </a:lnTo>
                  <a:lnTo>
                    <a:pt x="32" y="124"/>
                  </a:lnTo>
                  <a:lnTo>
                    <a:pt x="20" y="137"/>
                  </a:lnTo>
                  <a:lnTo>
                    <a:pt x="10" y="149"/>
                  </a:lnTo>
                  <a:lnTo>
                    <a:pt x="4" y="159"/>
                  </a:lnTo>
                  <a:lnTo>
                    <a:pt x="0" y="175"/>
                  </a:lnTo>
                  <a:lnTo>
                    <a:pt x="0" y="200"/>
                  </a:lnTo>
                  <a:lnTo>
                    <a:pt x="2" y="228"/>
                  </a:lnTo>
                  <a:lnTo>
                    <a:pt x="6" y="254"/>
                  </a:lnTo>
                  <a:lnTo>
                    <a:pt x="12" y="271"/>
                  </a:lnTo>
                  <a:lnTo>
                    <a:pt x="22" y="287"/>
                  </a:lnTo>
                  <a:lnTo>
                    <a:pt x="36" y="299"/>
                  </a:lnTo>
                  <a:lnTo>
                    <a:pt x="51" y="309"/>
                  </a:lnTo>
                  <a:lnTo>
                    <a:pt x="73" y="317"/>
                  </a:lnTo>
                  <a:lnTo>
                    <a:pt x="91" y="318"/>
                  </a:lnTo>
                  <a:lnTo>
                    <a:pt x="103" y="318"/>
                  </a:lnTo>
                  <a:lnTo>
                    <a:pt x="112" y="318"/>
                  </a:lnTo>
                  <a:lnTo>
                    <a:pt x="122" y="318"/>
                  </a:lnTo>
                  <a:lnTo>
                    <a:pt x="134" y="324"/>
                  </a:lnTo>
                  <a:lnTo>
                    <a:pt x="152" y="334"/>
                  </a:lnTo>
                  <a:lnTo>
                    <a:pt x="164" y="342"/>
                  </a:lnTo>
                  <a:lnTo>
                    <a:pt x="175" y="344"/>
                  </a:lnTo>
                  <a:lnTo>
                    <a:pt x="185" y="338"/>
                  </a:lnTo>
                  <a:lnTo>
                    <a:pt x="193" y="328"/>
                  </a:lnTo>
                  <a:lnTo>
                    <a:pt x="199" y="317"/>
                  </a:lnTo>
                  <a:lnTo>
                    <a:pt x="205" y="305"/>
                  </a:lnTo>
                  <a:lnTo>
                    <a:pt x="213" y="295"/>
                  </a:lnTo>
                  <a:lnTo>
                    <a:pt x="225" y="293"/>
                  </a:lnTo>
                  <a:lnTo>
                    <a:pt x="240" y="289"/>
                  </a:lnTo>
                  <a:lnTo>
                    <a:pt x="252" y="283"/>
                  </a:lnTo>
                  <a:lnTo>
                    <a:pt x="260" y="275"/>
                  </a:lnTo>
                  <a:lnTo>
                    <a:pt x="268" y="263"/>
                  </a:lnTo>
                  <a:lnTo>
                    <a:pt x="280" y="252"/>
                  </a:lnTo>
                  <a:lnTo>
                    <a:pt x="292" y="246"/>
                  </a:lnTo>
                  <a:lnTo>
                    <a:pt x="305" y="238"/>
                  </a:lnTo>
                  <a:lnTo>
                    <a:pt x="315" y="224"/>
                  </a:lnTo>
                  <a:lnTo>
                    <a:pt x="319" y="208"/>
                  </a:lnTo>
                  <a:lnTo>
                    <a:pt x="321" y="189"/>
                  </a:lnTo>
                  <a:lnTo>
                    <a:pt x="323" y="169"/>
                  </a:lnTo>
                  <a:lnTo>
                    <a:pt x="331" y="139"/>
                  </a:lnTo>
                  <a:lnTo>
                    <a:pt x="343" y="112"/>
                  </a:lnTo>
                  <a:lnTo>
                    <a:pt x="355" y="92"/>
                  </a:lnTo>
                  <a:lnTo>
                    <a:pt x="362" y="84"/>
                  </a:lnTo>
                  <a:lnTo>
                    <a:pt x="372" y="80"/>
                  </a:lnTo>
                  <a:lnTo>
                    <a:pt x="380" y="76"/>
                  </a:lnTo>
                  <a:lnTo>
                    <a:pt x="388" y="70"/>
                  </a:lnTo>
                  <a:lnTo>
                    <a:pt x="392" y="61"/>
                  </a:lnTo>
                  <a:lnTo>
                    <a:pt x="392" y="51"/>
                  </a:lnTo>
                  <a:lnTo>
                    <a:pt x="390" y="35"/>
                  </a:lnTo>
                  <a:lnTo>
                    <a:pt x="390" y="23"/>
                  </a:lnTo>
                  <a:lnTo>
                    <a:pt x="384" y="13"/>
                  </a:lnTo>
                  <a:lnTo>
                    <a:pt x="374" y="8"/>
                  </a:lnTo>
                  <a:lnTo>
                    <a:pt x="356" y="2"/>
                  </a:lnTo>
                  <a:lnTo>
                    <a:pt x="327" y="0"/>
                  </a:lnTo>
                  <a:lnTo>
                    <a:pt x="301" y="4"/>
                  </a:lnTo>
                  <a:lnTo>
                    <a:pt x="280" y="9"/>
                  </a:lnTo>
                  <a:lnTo>
                    <a:pt x="260" y="13"/>
                  </a:lnTo>
                  <a:lnTo>
                    <a:pt x="240" y="15"/>
                  </a:lnTo>
                  <a:lnTo>
                    <a:pt x="221" y="21"/>
                  </a:lnTo>
                  <a:lnTo>
                    <a:pt x="201" y="27"/>
                  </a:lnTo>
                  <a:lnTo>
                    <a:pt x="181" y="27"/>
                  </a:lnTo>
                  <a:lnTo>
                    <a:pt x="166" y="27"/>
                  </a:lnTo>
                  <a:lnTo>
                    <a:pt x="154" y="31"/>
                  </a:lnTo>
                  <a:lnTo>
                    <a:pt x="142" y="39"/>
                  </a:lnTo>
                  <a:lnTo>
                    <a:pt x="134" y="45"/>
                  </a:lnTo>
                  <a:lnTo>
                    <a:pt x="126" y="49"/>
                  </a:lnTo>
                  <a:lnTo>
                    <a:pt x="114" y="49"/>
                  </a:lnTo>
                  <a:lnTo>
                    <a:pt x="103" y="49"/>
                  </a:lnTo>
                  <a:lnTo>
                    <a:pt x="93" y="49"/>
                  </a:lnTo>
                  <a:lnTo>
                    <a:pt x="87" y="51"/>
                  </a:lnTo>
                </a:path>
              </a:pathLst>
            </a:custGeom>
            <a:grpFill/>
            <a:ln w="6350">
              <a:solidFill>
                <a:schemeClr val="tx1">
                  <a:lumMod val="85000"/>
                  <a:lumOff val="15000"/>
                </a:schemeClr>
              </a:solidFill>
              <a:prstDash val="solid"/>
              <a:round/>
            </a:ln>
          </p:spPr>
          <p:txBody>
            <a:bodyPr/>
            <a:lstStyle/>
            <a:p>
              <a:endParaRPr lang="zh-CN" altLang="en-US" sz="2400"/>
            </a:p>
          </p:txBody>
        </p:sp>
        <p:sp>
          <p:nvSpPr>
            <p:cNvPr id="33" name="Freeform 77"/>
            <p:cNvSpPr/>
            <p:nvPr/>
          </p:nvSpPr>
          <p:spPr bwMode="gray">
            <a:xfrm>
              <a:off x="3188" y="3319"/>
              <a:ext cx="564" cy="480"/>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4" name="Freeform 78"/>
            <p:cNvSpPr/>
            <p:nvPr/>
          </p:nvSpPr>
          <p:spPr bwMode="gray">
            <a:xfrm>
              <a:off x="3188" y="3319"/>
              <a:ext cx="564" cy="480"/>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path>
              </a:pathLst>
            </a:custGeom>
            <a:grpFill/>
            <a:ln w="6350">
              <a:solidFill>
                <a:schemeClr val="tx1">
                  <a:lumMod val="85000"/>
                  <a:lumOff val="15000"/>
                </a:schemeClr>
              </a:solidFill>
              <a:prstDash val="solid"/>
              <a:round/>
            </a:ln>
          </p:spPr>
          <p:txBody>
            <a:bodyPr/>
            <a:lstStyle/>
            <a:p>
              <a:endParaRPr lang="zh-CN" altLang="en-US" sz="2400"/>
            </a:p>
          </p:txBody>
        </p:sp>
        <p:sp>
          <p:nvSpPr>
            <p:cNvPr id="35" name="Freeform 79"/>
            <p:cNvSpPr/>
            <p:nvPr/>
          </p:nvSpPr>
          <p:spPr bwMode="gray">
            <a:xfrm>
              <a:off x="3636" y="3029"/>
              <a:ext cx="313" cy="413"/>
            </a:xfrm>
            <a:custGeom>
              <a:avLst/>
              <a:gdLst>
                <a:gd name="T0" fmla="*/ 156 w 626"/>
                <a:gd name="T1" fmla="*/ 31 h 825"/>
                <a:gd name="T2" fmla="*/ 154 w 626"/>
                <a:gd name="T3" fmla="*/ 37 h 825"/>
                <a:gd name="T4" fmla="*/ 152 w 626"/>
                <a:gd name="T5" fmla="*/ 44 h 825"/>
                <a:gd name="T6" fmla="*/ 146 w 626"/>
                <a:gd name="T7" fmla="*/ 52 h 825"/>
                <a:gd name="T8" fmla="*/ 138 w 626"/>
                <a:gd name="T9" fmla="*/ 57 h 825"/>
                <a:gd name="T10" fmla="*/ 131 w 626"/>
                <a:gd name="T11" fmla="*/ 61 h 825"/>
                <a:gd name="T12" fmla="*/ 130 w 626"/>
                <a:gd name="T13" fmla="*/ 62 h 825"/>
                <a:gd name="T14" fmla="*/ 132 w 626"/>
                <a:gd name="T15" fmla="*/ 68 h 825"/>
                <a:gd name="T16" fmla="*/ 135 w 626"/>
                <a:gd name="T17" fmla="*/ 75 h 825"/>
                <a:gd name="T18" fmla="*/ 136 w 626"/>
                <a:gd name="T19" fmla="*/ 81 h 825"/>
                <a:gd name="T20" fmla="*/ 136 w 626"/>
                <a:gd name="T21" fmla="*/ 89 h 825"/>
                <a:gd name="T22" fmla="*/ 137 w 626"/>
                <a:gd name="T23" fmla="*/ 95 h 825"/>
                <a:gd name="T24" fmla="*/ 138 w 626"/>
                <a:gd name="T25" fmla="*/ 104 h 825"/>
                <a:gd name="T26" fmla="*/ 131 w 626"/>
                <a:gd name="T27" fmla="*/ 112 h 825"/>
                <a:gd name="T28" fmla="*/ 122 w 626"/>
                <a:gd name="T29" fmla="*/ 120 h 825"/>
                <a:gd name="T30" fmla="*/ 117 w 626"/>
                <a:gd name="T31" fmla="*/ 131 h 825"/>
                <a:gd name="T32" fmla="*/ 115 w 626"/>
                <a:gd name="T33" fmla="*/ 142 h 825"/>
                <a:gd name="T34" fmla="*/ 110 w 626"/>
                <a:gd name="T35" fmla="*/ 151 h 825"/>
                <a:gd name="T36" fmla="*/ 103 w 626"/>
                <a:gd name="T37" fmla="*/ 156 h 825"/>
                <a:gd name="T38" fmla="*/ 94 w 626"/>
                <a:gd name="T39" fmla="*/ 158 h 825"/>
                <a:gd name="T40" fmla="*/ 86 w 626"/>
                <a:gd name="T41" fmla="*/ 161 h 825"/>
                <a:gd name="T42" fmla="*/ 85 w 626"/>
                <a:gd name="T43" fmla="*/ 165 h 825"/>
                <a:gd name="T44" fmla="*/ 89 w 626"/>
                <a:gd name="T45" fmla="*/ 171 h 825"/>
                <a:gd name="T46" fmla="*/ 90 w 626"/>
                <a:gd name="T47" fmla="*/ 176 h 825"/>
                <a:gd name="T48" fmla="*/ 86 w 626"/>
                <a:gd name="T49" fmla="*/ 182 h 825"/>
                <a:gd name="T50" fmla="*/ 80 w 626"/>
                <a:gd name="T51" fmla="*/ 189 h 825"/>
                <a:gd name="T52" fmla="*/ 76 w 626"/>
                <a:gd name="T53" fmla="*/ 193 h 825"/>
                <a:gd name="T54" fmla="*/ 69 w 626"/>
                <a:gd name="T55" fmla="*/ 199 h 825"/>
                <a:gd name="T56" fmla="*/ 61 w 626"/>
                <a:gd name="T57" fmla="*/ 204 h 825"/>
                <a:gd name="T58" fmla="*/ 58 w 626"/>
                <a:gd name="T59" fmla="*/ 207 h 825"/>
                <a:gd name="T60" fmla="*/ 48 w 626"/>
                <a:gd name="T61" fmla="*/ 185 h 825"/>
                <a:gd name="T62" fmla="*/ 22 w 626"/>
                <a:gd name="T63" fmla="*/ 161 h 825"/>
                <a:gd name="T64" fmla="*/ 0 w 626"/>
                <a:gd name="T65" fmla="*/ 146 h 825"/>
                <a:gd name="T66" fmla="*/ 15 w 626"/>
                <a:gd name="T67" fmla="*/ 107 h 825"/>
                <a:gd name="T68" fmla="*/ 20 w 626"/>
                <a:gd name="T69" fmla="*/ 88 h 825"/>
                <a:gd name="T70" fmla="*/ 18 w 626"/>
                <a:gd name="T71" fmla="*/ 67 h 825"/>
                <a:gd name="T72" fmla="*/ 34 w 626"/>
                <a:gd name="T73" fmla="*/ 43 h 825"/>
                <a:gd name="T74" fmla="*/ 42 w 626"/>
                <a:gd name="T75" fmla="*/ 24 h 825"/>
                <a:gd name="T76" fmla="*/ 63 w 626"/>
                <a:gd name="T77" fmla="*/ 17 h 825"/>
                <a:gd name="T78" fmla="*/ 75 w 626"/>
                <a:gd name="T79" fmla="*/ 1 h 825"/>
                <a:gd name="T80" fmla="*/ 92 w 626"/>
                <a:gd name="T81" fmla="*/ 14 h 825"/>
                <a:gd name="T82" fmla="*/ 114 w 626"/>
                <a:gd name="T83" fmla="*/ 32 h 825"/>
                <a:gd name="T84" fmla="*/ 135 w 626"/>
                <a:gd name="T85" fmla="*/ 32 h 825"/>
                <a:gd name="T86" fmla="*/ 151 w 626"/>
                <a:gd name="T87" fmla="*/ 25 h 82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26"/>
                <a:gd name="T133" fmla="*/ 0 h 825"/>
                <a:gd name="T134" fmla="*/ 626 w 626"/>
                <a:gd name="T135" fmla="*/ 825 h 82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26" h="825">
                  <a:moveTo>
                    <a:pt x="626" y="122"/>
                  </a:moveTo>
                  <a:lnTo>
                    <a:pt x="624" y="124"/>
                  </a:lnTo>
                  <a:lnTo>
                    <a:pt x="621" y="134"/>
                  </a:lnTo>
                  <a:lnTo>
                    <a:pt x="615" y="146"/>
                  </a:lnTo>
                  <a:lnTo>
                    <a:pt x="613" y="159"/>
                  </a:lnTo>
                  <a:lnTo>
                    <a:pt x="607" y="173"/>
                  </a:lnTo>
                  <a:lnTo>
                    <a:pt x="597" y="189"/>
                  </a:lnTo>
                  <a:lnTo>
                    <a:pt x="581" y="205"/>
                  </a:lnTo>
                  <a:lnTo>
                    <a:pt x="565" y="216"/>
                  </a:lnTo>
                  <a:lnTo>
                    <a:pt x="550" y="228"/>
                  </a:lnTo>
                  <a:lnTo>
                    <a:pt x="534" y="236"/>
                  </a:lnTo>
                  <a:lnTo>
                    <a:pt x="524" y="242"/>
                  </a:lnTo>
                  <a:lnTo>
                    <a:pt x="520" y="244"/>
                  </a:lnTo>
                  <a:lnTo>
                    <a:pt x="520" y="248"/>
                  </a:lnTo>
                  <a:lnTo>
                    <a:pt x="524" y="258"/>
                  </a:lnTo>
                  <a:lnTo>
                    <a:pt x="528" y="272"/>
                  </a:lnTo>
                  <a:lnTo>
                    <a:pt x="532" y="285"/>
                  </a:lnTo>
                  <a:lnTo>
                    <a:pt x="538" y="299"/>
                  </a:lnTo>
                  <a:lnTo>
                    <a:pt x="542" y="309"/>
                  </a:lnTo>
                  <a:lnTo>
                    <a:pt x="544" y="321"/>
                  </a:lnTo>
                  <a:lnTo>
                    <a:pt x="546" y="339"/>
                  </a:lnTo>
                  <a:lnTo>
                    <a:pt x="544" y="354"/>
                  </a:lnTo>
                  <a:lnTo>
                    <a:pt x="544" y="368"/>
                  </a:lnTo>
                  <a:lnTo>
                    <a:pt x="548" y="380"/>
                  </a:lnTo>
                  <a:lnTo>
                    <a:pt x="550" y="396"/>
                  </a:lnTo>
                  <a:lnTo>
                    <a:pt x="550" y="413"/>
                  </a:lnTo>
                  <a:lnTo>
                    <a:pt x="540" y="429"/>
                  </a:lnTo>
                  <a:lnTo>
                    <a:pt x="522" y="447"/>
                  </a:lnTo>
                  <a:lnTo>
                    <a:pt x="504" y="462"/>
                  </a:lnTo>
                  <a:lnTo>
                    <a:pt x="489" y="480"/>
                  </a:lnTo>
                  <a:lnTo>
                    <a:pt x="479" y="494"/>
                  </a:lnTo>
                  <a:lnTo>
                    <a:pt x="469" y="522"/>
                  </a:lnTo>
                  <a:lnTo>
                    <a:pt x="463" y="549"/>
                  </a:lnTo>
                  <a:lnTo>
                    <a:pt x="459" y="565"/>
                  </a:lnTo>
                  <a:lnTo>
                    <a:pt x="451" y="585"/>
                  </a:lnTo>
                  <a:lnTo>
                    <a:pt x="441" y="602"/>
                  </a:lnTo>
                  <a:lnTo>
                    <a:pt x="428" y="618"/>
                  </a:lnTo>
                  <a:lnTo>
                    <a:pt x="414" y="624"/>
                  </a:lnTo>
                  <a:lnTo>
                    <a:pt x="396" y="630"/>
                  </a:lnTo>
                  <a:lnTo>
                    <a:pt x="376" y="632"/>
                  </a:lnTo>
                  <a:lnTo>
                    <a:pt x="359" y="636"/>
                  </a:lnTo>
                  <a:lnTo>
                    <a:pt x="345" y="642"/>
                  </a:lnTo>
                  <a:lnTo>
                    <a:pt x="337" y="648"/>
                  </a:lnTo>
                  <a:lnTo>
                    <a:pt x="339" y="659"/>
                  </a:lnTo>
                  <a:lnTo>
                    <a:pt x="347" y="669"/>
                  </a:lnTo>
                  <a:lnTo>
                    <a:pt x="357" y="681"/>
                  </a:lnTo>
                  <a:lnTo>
                    <a:pt x="363" y="691"/>
                  </a:lnTo>
                  <a:lnTo>
                    <a:pt x="361" y="701"/>
                  </a:lnTo>
                  <a:lnTo>
                    <a:pt x="353" y="710"/>
                  </a:lnTo>
                  <a:lnTo>
                    <a:pt x="343" y="726"/>
                  </a:lnTo>
                  <a:lnTo>
                    <a:pt x="331" y="742"/>
                  </a:lnTo>
                  <a:lnTo>
                    <a:pt x="319" y="756"/>
                  </a:lnTo>
                  <a:lnTo>
                    <a:pt x="312" y="766"/>
                  </a:lnTo>
                  <a:lnTo>
                    <a:pt x="302" y="771"/>
                  </a:lnTo>
                  <a:lnTo>
                    <a:pt x="290" y="781"/>
                  </a:lnTo>
                  <a:lnTo>
                    <a:pt x="274" y="793"/>
                  </a:lnTo>
                  <a:lnTo>
                    <a:pt x="258" y="805"/>
                  </a:lnTo>
                  <a:lnTo>
                    <a:pt x="245" y="815"/>
                  </a:lnTo>
                  <a:lnTo>
                    <a:pt x="235" y="821"/>
                  </a:lnTo>
                  <a:lnTo>
                    <a:pt x="231" y="825"/>
                  </a:lnTo>
                  <a:lnTo>
                    <a:pt x="215" y="795"/>
                  </a:lnTo>
                  <a:lnTo>
                    <a:pt x="191" y="740"/>
                  </a:lnTo>
                  <a:lnTo>
                    <a:pt x="158" y="675"/>
                  </a:lnTo>
                  <a:lnTo>
                    <a:pt x="89" y="642"/>
                  </a:lnTo>
                  <a:lnTo>
                    <a:pt x="2" y="640"/>
                  </a:lnTo>
                  <a:lnTo>
                    <a:pt x="0" y="581"/>
                  </a:lnTo>
                  <a:lnTo>
                    <a:pt x="28" y="476"/>
                  </a:lnTo>
                  <a:lnTo>
                    <a:pt x="60" y="425"/>
                  </a:lnTo>
                  <a:lnTo>
                    <a:pt x="58" y="376"/>
                  </a:lnTo>
                  <a:lnTo>
                    <a:pt x="77" y="352"/>
                  </a:lnTo>
                  <a:lnTo>
                    <a:pt x="63" y="317"/>
                  </a:lnTo>
                  <a:lnTo>
                    <a:pt x="69" y="266"/>
                  </a:lnTo>
                  <a:lnTo>
                    <a:pt x="126" y="244"/>
                  </a:lnTo>
                  <a:lnTo>
                    <a:pt x="136" y="171"/>
                  </a:lnTo>
                  <a:lnTo>
                    <a:pt x="140" y="116"/>
                  </a:lnTo>
                  <a:lnTo>
                    <a:pt x="170" y="94"/>
                  </a:lnTo>
                  <a:lnTo>
                    <a:pt x="203" y="94"/>
                  </a:lnTo>
                  <a:lnTo>
                    <a:pt x="254" y="65"/>
                  </a:lnTo>
                  <a:lnTo>
                    <a:pt x="298" y="45"/>
                  </a:lnTo>
                  <a:lnTo>
                    <a:pt x="298" y="4"/>
                  </a:lnTo>
                  <a:lnTo>
                    <a:pt x="363" y="0"/>
                  </a:lnTo>
                  <a:lnTo>
                    <a:pt x="367" y="53"/>
                  </a:lnTo>
                  <a:lnTo>
                    <a:pt x="406" y="110"/>
                  </a:lnTo>
                  <a:lnTo>
                    <a:pt x="455" y="126"/>
                  </a:lnTo>
                  <a:lnTo>
                    <a:pt x="495" y="83"/>
                  </a:lnTo>
                  <a:lnTo>
                    <a:pt x="538" y="126"/>
                  </a:lnTo>
                  <a:lnTo>
                    <a:pt x="571" y="122"/>
                  </a:lnTo>
                  <a:lnTo>
                    <a:pt x="603" y="98"/>
                  </a:lnTo>
                  <a:lnTo>
                    <a:pt x="626" y="122"/>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6" name="Freeform 80"/>
            <p:cNvSpPr/>
            <p:nvPr/>
          </p:nvSpPr>
          <p:spPr bwMode="gray">
            <a:xfrm>
              <a:off x="3636" y="3029"/>
              <a:ext cx="313" cy="413"/>
            </a:xfrm>
            <a:custGeom>
              <a:avLst/>
              <a:gdLst>
                <a:gd name="T0" fmla="*/ 156 w 626"/>
                <a:gd name="T1" fmla="*/ 31 h 825"/>
                <a:gd name="T2" fmla="*/ 154 w 626"/>
                <a:gd name="T3" fmla="*/ 37 h 825"/>
                <a:gd name="T4" fmla="*/ 152 w 626"/>
                <a:gd name="T5" fmla="*/ 44 h 825"/>
                <a:gd name="T6" fmla="*/ 146 w 626"/>
                <a:gd name="T7" fmla="*/ 52 h 825"/>
                <a:gd name="T8" fmla="*/ 138 w 626"/>
                <a:gd name="T9" fmla="*/ 57 h 825"/>
                <a:gd name="T10" fmla="*/ 131 w 626"/>
                <a:gd name="T11" fmla="*/ 61 h 825"/>
                <a:gd name="T12" fmla="*/ 130 w 626"/>
                <a:gd name="T13" fmla="*/ 62 h 825"/>
                <a:gd name="T14" fmla="*/ 132 w 626"/>
                <a:gd name="T15" fmla="*/ 68 h 825"/>
                <a:gd name="T16" fmla="*/ 135 w 626"/>
                <a:gd name="T17" fmla="*/ 75 h 825"/>
                <a:gd name="T18" fmla="*/ 136 w 626"/>
                <a:gd name="T19" fmla="*/ 81 h 825"/>
                <a:gd name="T20" fmla="*/ 136 w 626"/>
                <a:gd name="T21" fmla="*/ 89 h 825"/>
                <a:gd name="T22" fmla="*/ 137 w 626"/>
                <a:gd name="T23" fmla="*/ 95 h 825"/>
                <a:gd name="T24" fmla="*/ 138 w 626"/>
                <a:gd name="T25" fmla="*/ 104 h 825"/>
                <a:gd name="T26" fmla="*/ 131 w 626"/>
                <a:gd name="T27" fmla="*/ 112 h 825"/>
                <a:gd name="T28" fmla="*/ 122 w 626"/>
                <a:gd name="T29" fmla="*/ 120 h 825"/>
                <a:gd name="T30" fmla="*/ 117 w 626"/>
                <a:gd name="T31" fmla="*/ 131 h 825"/>
                <a:gd name="T32" fmla="*/ 115 w 626"/>
                <a:gd name="T33" fmla="*/ 142 h 825"/>
                <a:gd name="T34" fmla="*/ 110 w 626"/>
                <a:gd name="T35" fmla="*/ 151 h 825"/>
                <a:gd name="T36" fmla="*/ 103 w 626"/>
                <a:gd name="T37" fmla="*/ 156 h 825"/>
                <a:gd name="T38" fmla="*/ 94 w 626"/>
                <a:gd name="T39" fmla="*/ 158 h 825"/>
                <a:gd name="T40" fmla="*/ 86 w 626"/>
                <a:gd name="T41" fmla="*/ 161 h 825"/>
                <a:gd name="T42" fmla="*/ 85 w 626"/>
                <a:gd name="T43" fmla="*/ 165 h 825"/>
                <a:gd name="T44" fmla="*/ 89 w 626"/>
                <a:gd name="T45" fmla="*/ 171 h 825"/>
                <a:gd name="T46" fmla="*/ 90 w 626"/>
                <a:gd name="T47" fmla="*/ 176 h 825"/>
                <a:gd name="T48" fmla="*/ 86 w 626"/>
                <a:gd name="T49" fmla="*/ 182 h 825"/>
                <a:gd name="T50" fmla="*/ 80 w 626"/>
                <a:gd name="T51" fmla="*/ 189 h 825"/>
                <a:gd name="T52" fmla="*/ 76 w 626"/>
                <a:gd name="T53" fmla="*/ 193 h 825"/>
                <a:gd name="T54" fmla="*/ 69 w 626"/>
                <a:gd name="T55" fmla="*/ 199 h 825"/>
                <a:gd name="T56" fmla="*/ 61 w 626"/>
                <a:gd name="T57" fmla="*/ 204 h 825"/>
                <a:gd name="T58" fmla="*/ 58 w 626"/>
                <a:gd name="T59" fmla="*/ 207 h 825"/>
                <a:gd name="T60" fmla="*/ 48 w 626"/>
                <a:gd name="T61" fmla="*/ 185 h 825"/>
                <a:gd name="T62" fmla="*/ 22 w 626"/>
                <a:gd name="T63" fmla="*/ 161 h 825"/>
                <a:gd name="T64" fmla="*/ 0 w 626"/>
                <a:gd name="T65" fmla="*/ 146 h 825"/>
                <a:gd name="T66" fmla="*/ 15 w 626"/>
                <a:gd name="T67" fmla="*/ 107 h 825"/>
                <a:gd name="T68" fmla="*/ 20 w 626"/>
                <a:gd name="T69" fmla="*/ 88 h 825"/>
                <a:gd name="T70" fmla="*/ 18 w 626"/>
                <a:gd name="T71" fmla="*/ 67 h 825"/>
                <a:gd name="T72" fmla="*/ 34 w 626"/>
                <a:gd name="T73" fmla="*/ 43 h 825"/>
                <a:gd name="T74" fmla="*/ 42 w 626"/>
                <a:gd name="T75" fmla="*/ 24 h 825"/>
                <a:gd name="T76" fmla="*/ 63 w 626"/>
                <a:gd name="T77" fmla="*/ 17 h 825"/>
                <a:gd name="T78" fmla="*/ 75 w 626"/>
                <a:gd name="T79" fmla="*/ 1 h 825"/>
                <a:gd name="T80" fmla="*/ 92 w 626"/>
                <a:gd name="T81" fmla="*/ 14 h 825"/>
                <a:gd name="T82" fmla="*/ 114 w 626"/>
                <a:gd name="T83" fmla="*/ 32 h 825"/>
                <a:gd name="T84" fmla="*/ 135 w 626"/>
                <a:gd name="T85" fmla="*/ 32 h 825"/>
                <a:gd name="T86" fmla="*/ 151 w 626"/>
                <a:gd name="T87" fmla="*/ 25 h 82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26"/>
                <a:gd name="T133" fmla="*/ 0 h 825"/>
                <a:gd name="T134" fmla="*/ 626 w 626"/>
                <a:gd name="T135" fmla="*/ 825 h 82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26" h="825">
                  <a:moveTo>
                    <a:pt x="626" y="122"/>
                  </a:moveTo>
                  <a:lnTo>
                    <a:pt x="624" y="124"/>
                  </a:lnTo>
                  <a:lnTo>
                    <a:pt x="621" y="134"/>
                  </a:lnTo>
                  <a:lnTo>
                    <a:pt x="615" y="146"/>
                  </a:lnTo>
                  <a:lnTo>
                    <a:pt x="613" y="159"/>
                  </a:lnTo>
                  <a:lnTo>
                    <a:pt x="607" y="173"/>
                  </a:lnTo>
                  <a:lnTo>
                    <a:pt x="597" y="189"/>
                  </a:lnTo>
                  <a:lnTo>
                    <a:pt x="581" y="205"/>
                  </a:lnTo>
                  <a:lnTo>
                    <a:pt x="565" y="216"/>
                  </a:lnTo>
                  <a:lnTo>
                    <a:pt x="550" y="228"/>
                  </a:lnTo>
                  <a:lnTo>
                    <a:pt x="534" y="236"/>
                  </a:lnTo>
                  <a:lnTo>
                    <a:pt x="524" y="242"/>
                  </a:lnTo>
                  <a:lnTo>
                    <a:pt x="520" y="244"/>
                  </a:lnTo>
                  <a:lnTo>
                    <a:pt x="520" y="248"/>
                  </a:lnTo>
                  <a:lnTo>
                    <a:pt x="524" y="258"/>
                  </a:lnTo>
                  <a:lnTo>
                    <a:pt x="528" y="272"/>
                  </a:lnTo>
                  <a:lnTo>
                    <a:pt x="532" y="285"/>
                  </a:lnTo>
                  <a:lnTo>
                    <a:pt x="538" y="299"/>
                  </a:lnTo>
                  <a:lnTo>
                    <a:pt x="542" y="309"/>
                  </a:lnTo>
                  <a:lnTo>
                    <a:pt x="544" y="321"/>
                  </a:lnTo>
                  <a:lnTo>
                    <a:pt x="546" y="339"/>
                  </a:lnTo>
                  <a:lnTo>
                    <a:pt x="544" y="354"/>
                  </a:lnTo>
                  <a:lnTo>
                    <a:pt x="544" y="368"/>
                  </a:lnTo>
                  <a:lnTo>
                    <a:pt x="548" y="380"/>
                  </a:lnTo>
                  <a:lnTo>
                    <a:pt x="550" y="396"/>
                  </a:lnTo>
                  <a:lnTo>
                    <a:pt x="550" y="413"/>
                  </a:lnTo>
                  <a:lnTo>
                    <a:pt x="540" y="429"/>
                  </a:lnTo>
                  <a:lnTo>
                    <a:pt x="522" y="447"/>
                  </a:lnTo>
                  <a:lnTo>
                    <a:pt x="504" y="462"/>
                  </a:lnTo>
                  <a:lnTo>
                    <a:pt x="489" y="480"/>
                  </a:lnTo>
                  <a:lnTo>
                    <a:pt x="479" y="494"/>
                  </a:lnTo>
                  <a:lnTo>
                    <a:pt x="469" y="522"/>
                  </a:lnTo>
                  <a:lnTo>
                    <a:pt x="463" y="549"/>
                  </a:lnTo>
                  <a:lnTo>
                    <a:pt x="459" y="565"/>
                  </a:lnTo>
                  <a:lnTo>
                    <a:pt x="451" y="585"/>
                  </a:lnTo>
                  <a:lnTo>
                    <a:pt x="441" y="602"/>
                  </a:lnTo>
                  <a:lnTo>
                    <a:pt x="428" y="618"/>
                  </a:lnTo>
                  <a:lnTo>
                    <a:pt x="414" y="624"/>
                  </a:lnTo>
                  <a:lnTo>
                    <a:pt x="396" y="630"/>
                  </a:lnTo>
                  <a:lnTo>
                    <a:pt x="376" y="632"/>
                  </a:lnTo>
                  <a:lnTo>
                    <a:pt x="359" y="636"/>
                  </a:lnTo>
                  <a:lnTo>
                    <a:pt x="345" y="642"/>
                  </a:lnTo>
                  <a:lnTo>
                    <a:pt x="337" y="648"/>
                  </a:lnTo>
                  <a:lnTo>
                    <a:pt x="339" y="659"/>
                  </a:lnTo>
                  <a:lnTo>
                    <a:pt x="347" y="669"/>
                  </a:lnTo>
                  <a:lnTo>
                    <a:pt x="357" y="681"/>
                  </a:lnTo>
                  <a:lnTo>
                    <a:pt x="363" y="691"/>
                  </a:lnTo>
                  <a:lnTo>
                    <a:pt x="361" y="701"/>
                  </a:lnTo>
                  <a:lnTo>
                    <a:pt x="353" y="710"/>
                  </a:lnTo>
                  <a:lnTo>
                    <a:pt x="343" y="726"/>
                  </a:lnTo>
                  <a:lnTo>
                    <a:pt x="331" y="742"/>
                  </a:lnTo>
                  <a:lnTo>
                    <a:pt x="319" y="756"/>
                  </a:lnTo>
                  <a:lnTo>
                    <a:pt x="312" y="766"/>
                  </a:lnTo>
                  <a:lnTo>
                    <a:pt x="302" y="771"/>
                  </a:lnTo>
                  <a:lnTo>
                    <a:pt x="290" y="781"/>
                  </a:lnTo>
                  <a:lnTo>
                    <a:pt x="274" y="793"/>
                  </a:lnTo>
                  <a:lnTo>
                    <a:pt x="258" y="805"/>
                  </a:lnTo>
                  <a:lnTo>
                    <a:pt x="245" y="815"/>
                  </a:lnTo>
                  <a:lnTo>
                    <a:pt x="235" y="821"/>
                  </a:lnTo>
                  <a:lnTo>
                    <a:pt x="231" y="825"/>
                  </a:lnTo>
                  <a:lnTo>
                    <a:pt x="215" y="795"/>
                  </a:lnTo>
                  <a:lnTo>
                    <a:pt x="191" y="740"/>
                  </a:lnTo>
                  <a:lnTo>
                    <a:pt x="158" y="675"/>
                  </a:lnTo>
                  <a:lnTo>
                    <a:pt x="89" y="642"/>
                  </a:lnTo>
                  <a:lnTo>
                    <a:pt x="2" y="640"/>
                  </a:lnTo>
                  <a:lnTo>
                    <a:pt x="0" y="581"/>
                  </a:lnTo>
                  <a:lnTo>
                    <a:pt x="28" y="476"/>
                  </a:lnTo>
                  <a:lnTo>
                    <a:pt x="60" y="425"/>
                  </a:lnTo>
                  <a:lnTo>
                    <a:pt x="58" y="376"/>
                  </a:lnTo>
                  <a:lnTo>
                    <a:pt x="77" y="352"/>
                  </a:lnTo>
                  <a:lnTo>
                    <a:pt x="63" y="317"/>
                  </a:lnTo>
                  <a:lnTo>
                    <a:pt x="69" y="266"/>
                  </a:lnTo>
                  <a:lnTo>
                    <a:pt x="126" y="244"/>
                  </a:lnTo>
                  <a:lnTo>
                    <a:pt x="136" y="171"/>
                  </a:lnTo>
                  <a:lnTo>
                    <a:pt x="140" y="116"/>
                  </a:lnTo>
                  <a:lnTo>
                    <a:pt x="170" y="94"/>
                  </a:lnTo>
                  <a:lnTo>
                    <a:pt x="203" y="94"/>
                  </a:lnTo>
                  <a:lnTo>
                    <a:pt x="254" y="65"/>
                  </a:lnTo>
                  <a:lnTo>
                    <a:pt x="298" y="45"/>
                  </a:lnTo>
                  <a:lnTo>
                    <a:pt x="298" y="4"/>
                  </a:lnTo>
                  <a:lnTo>
                    <a:pt x="363" y="0"/>
                  </a:lnTo>
                  <a:lnTo>
                    <a:pt x="367" y="53"/>
                  </a:lnTo>
                  <a:lnTo>
                    <a:pt x="406" y="110"/>
                  </a:lnTo>
                  <a:lnTo>
                    <a:pt x="455" y="126"/>
                  </a:lnTo>
                  <a:lnTo>
                    <a:pt x="495" y="83"/>
                  </a:lnTo>
                  <a:lnTo>
                    <a:pt x="538" y="126"/>
                  </a:lnTo>
                  <a:lnTo>
                    <a:pt x="571" y="122"/>
                  </a:lnTo>
                  <a:lnTo>
                    <a:pt x="603" y="98"/>
                  </a:lnTo>
                  <a:lnTo>
                    <a:pt x="626" y="122"/>
                  </a:lnTo>
                </a:path>
              </a:pathLst>
            </a:custGeom>
            <a:grpFill/>
            <a:ln w="6350">
              <a:solidFill>
                <a:schemeClr val="tx1">
                  <a:lumMod val="85000"/>
                  <a:lumOff val="15000"/>
                </a:schemeClr>
              </a:solidFill>
              <a:prstDash val="solid"/>
              <a:round/>
            </a:ln>
          </p:spPr>
          <p:txBody>
            <a:bodyPr/>
            <a:lstStyle/>
            <a:p>
              <a:endParaRPr lang="zh-CN" altLang="en-US" sz="2400"/>
            </a:p>
          </p:txBody>
        </p:sp>
        <p:sp>
          <p:nvSpPr>
            <p:cNvPr id="37" name="Freeform 81"/>
            <p:cNvSpPr/>
            <p:nvPr/>
          </p:nvSpPr>
          <p:spPr bwMode="gray">
            <a:xfrm>
              <a:off x="3746" y="2774"/>
              <a:ext cx="283" cy="318"/>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38" name="Freeform 82"/>
            <p:cNvSpPr/>
            <p:nvPr/>
          </p:nvSpPr>
          <p:spPr bwMode="gray">
            <a:xfrm>
              <a:off x="3746" y="2774"/>
              <a:ext cx="283" cy="318"/>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path>
              </a:pathLst>
            </a:custGeom>
            <a:grpFill/>
            <a:ln w="6350">
              <a:solidFill>
                <a:schemeClr val="tx1">
                  <a:lumMod val="85000"/>
                  <a:lumOff val="15000"/>
                </a:schemeClr>
              </a:solidFill>
              <a:prstDash val="solid"/>
              <a:round/>
            </a:ln>
          </p:spPr>
          <p:txBody>
            <a:bodyPr/>
            <a:lstStyle/>
            <a:p>
              <a:endParaRPr lang="zh-CN" altLang="en-US" sz="2400"/>
            </a:p>
          </p:txBody>
        </p:sp>
        <p:sp>
          <p:nvSpPr>
            <p:cNvPr id="39" name="Freeform 83"/>
            <p:cNvSpPr/>
            <p:nvPr/>
          </p:nvSpPr>
          <p:spPr bwMode="gray">
            <a:xfrm>
              <a:off x="3622" y="2455"/>
              <a:ext cx="383" cy="340"/>
            </a:xfrm>
            <a:custGeom>
              <a:avLst/>
              <a:gdLst>
                <a:gd name="T0" fmla="*/ 67 w 766"/>
                <a:gd name="T1" fmla="*/ 11 h 681"/>
                <a:gd name="T2" fmla="*/ 71 w 766"/>
                <a:gd name="T3" fmla="*/ 13 h 681"/>
                <a:gd name="T4" fmla="*/ 79 w 766"/>
                <a:gd name="T5" fmla="*/ 17 h 681"/>
                <a:gd name="T6" fmla="*/ 85 w 766"/>
                <a:gd name="T7" fmla="*/ 22 h 681"/>
                <a:gd name="T8" fmla="*/ 96 w 766"/>
                <a:gd name="T9" fmla="*/ 25 h 681"/>
                <a:gd name="T10" fmla="*/ 105 w 766"/>
                <a:gd name="T11" fmla="*/ 28 h 681"/>
                <a:gd name="T12" fmla="*/ 110 w 766"/>
                <a:gd name="T13" fmla="*/ 34 h 681"/>
                <a:gd name="T14" fmla="*/ 114 w 766"/>
                <a:gd name="T15" fmla="*/ 41 h 681"/>
                <a:gd name="T16" fmla="*/ 120 w 766"/>
                <a:gd name="T17" fmla="*/ 51 h 681"/>
                <a:gd name="T18" fmla="*/ 126 w 766"/>
                <a:gd name="T19" fmla="*/ 59 h 681"/>
                <a:gd name="T20" fmla="*/ 133 w 766"/>
                <a:gd name="T21" fmla="*/ 69 h 681"/>
                <a:gd name="T22" fmla="*/ 138 w 766"/>
                <a:gd name="T23" fmla="*/ 79 h 681"/>
                <a:gd name="T24" fmla="*/ 138 w 766"/>
                <a:gd name="T25" fmla="*/ 85 h 681"/>
                <a:gd name="T26" fmla="*/ 141 w 766"/>
                <a:gd name="T27" fmla="*/ 92 h 681"/>
                <a:gd name="T28" fmla="*/ 152 w 766"/>
                <a:gd name="T29" fmla="*/ 96 h 681"/>
                <a:gd name="T30" fmla="*/ 162 w 766"/>
                <a:gd name="T31" fmla="*/ 99 h 681"/>
                <a:gd name="T32" fmla="*/ 168 w 766"/>
                <a:gd name="T33" fmla="*/ 106 h 681"/>
                <a:gd name="T34" fmla="*/ 174 w 766"/>
                <a:gd name="T35" fmla="*/ 112 h 681"/>
                <a:gd name="T36" fmla="*/ 179 w 766"/>
                <a:gd name="T37" fmla="*/ 116 h 681"/>
                <a:gd name="T38" fmla="*/ 183 w 766"/>
                <a:gd name="T39" fmla="*/ 121 h 681"/>
                <a:gd name="T40" fmla="*/ 181 w 766"/>
                <a:gd name="T41" fmla="*/ 124 h 681"/>
                <a:gd name="T42" fmla="*/ 173 w 766"/>
                <a:gd name="T43" fmla="*/ 125 h 681"/>
                <a:gd name="T44" fmla="*/ 161 w 766"/>
                <a:gd name="T45" fmla="*/ 124 h 681"/>
                <a:gd name="T46" fmla="*/ 153 w 766"/>
                <a:gd name="T47" fmla="*/ 124 h 681"/>
                <a:gd name="T48" fmla="*/ 153 w 766"/>
                <a:gd name="T49" fmla="*/ 124 h 681"/>
                <a:gd name="T50" fmla="*/ 158 w 766"/>
                <a:gd name="T51" fmla="*/ 126 h 681"/>
                <a:gd name="T52" fmla="*/ 165 w 766"/>
                <a:gd name="T53" fmla="*/ 130 h 681"/>
                <a:gd name="T54" fmla="*/ 168 w 766"/>
                <a:gd name="T55" fmla="*/ 134 h 681"/>
                <a:gd name="T56" fmla="*/ 177 w 766"/>
                <a:gd name="T57" fmla="*/ 139 h 681"/>
                <a:gd name="T58" fmla="*/ 184 w 766"/>
                <a:gd name="T59" fmla="*/ 144 h 681"/>
                <a:gd name="T60" fmla="*/ 189 w 766"/>
                <a:gd name="T61" fmla="*/ 150 h 681"/>
                <a:gd name="T62" fmla="*/ 192 w 766"/>
                <a:gd name="T63" fmla="*/ 155 h 681"/>
                <a:gd name="T64" fmla="*/ 190 w 766"/>
                <a:gd name="T65" fmla="*/ 157 h 681"/>
                <a:gd name="T66" fmla="*/ 183 w 766"/>
                <a:gd name="T67" fmla="*/ 161 h 681"/>
                <a:gd name="T68" fmla="*/ 177 w 766"/>
                <a:gd name="T69" fmla="*/ 164 h 681"/>
                <a:gd name="T70" fmla="*/ 175 w 766"/>
                <a:gd name="T71" fmla="*/ 166 h 681"/>
                <a:gd name="T72" fmla="*/ 173 w 766"/>
                <a:gd name="T73" fmla="*/ 168 h 681"/>
                <a:gd name="T74" fmla="*/ 171 w 766"/>
                <a:gd name="T75" fmla="*/ 169 h 681"/>
                <a:gd name="T76" fmla="*/ 170 w 766"/>
                <a:gd name="T77" fmla="*/ 170 h 681"/>
                <a:gd name="T78" fmla="*/ 158 w 766"/>
                <a:gd name="T79" fmla="*/ 160 h 681"/>
                <a:gd name="T80" fmla="*/ 125 w 766"/>
                <a:gd name="T81" fmla="*/ 167 h 681"/>
                <a:gd name="T82" fmla="*/ 108 w 766"/>
                <a:gd name="T83" fmla="*/ 161 h 681"/>
                <a:gd name="T84" fmla="*/ 89 w 766"/>
                <a:gd name="T85" fmla="*/ 158 h 681"/>
                <a:gd name="T86" fmla="*/ 75 w 766"/>
                <a:gd name="T87" fmla="*/ 148 h 681"/>
                <a:gd name="T88" fmla="*/ 57 w 766"/>
                <a:gd name="T89" fmla="*/ 128 h 681"/>
                <a:gd name="T90" fmla="*/ 49 w 766"/>
                <a:gd name="T91" fmla="*/ 101 h 681"/>
                <a:gd name="T92" fmla="*/ 36 w 766"/>
                <a:gd name="T93" fmla="*/ 67 h 681"/>
                <a:gd name="T94" fmla="*/ 21 w 766"/>
                <a:gd name="T95" fmla="*/ 64 h 681"/>
                <a:gd name="T96" fmla="*/ 0 w 766"/>
                <a:gd name="T97" fmla="*/ 55 h 681"/>
                <a:gd name="T98" fmla="*/ 18 w 766"/>
                <a:gd name="T99" fmla="*/ 31 h 681"/>
                <a:gd name="T100" fmla="*/ 30 w 766"/>
                <a:gd name="T101" fmla="*/ 25 h 681"/>
                <a:gd name="T102" fmla="*/ 51 w 766"/>
                <a:gd name="T103" fmla="*/ 19 h 681"/>
                <a:gd name="T104" fmla="*/ 66 w 766"/>
                <a:gd name="T105" fmla="*/ 0 h 68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66"/>
                <a:gd name="T160" fmla="*/ 0 h 681"/>
                <a:gd name="T161" fmla="*/ 766 w 766"/>
                <a:gd name="T162" fmla="*/ 681 h 68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66" h="681">
                  <a:moveTo>
                    <a:pt x="262" y="0"/>
                  </a:moveTo>
                  <a:lnTo>
                    <a:pt x="266" y="45"/>
                  </a:lnTo>
                  <a:lnTo>
                    <a:pt x="270" y="49"/>
                  </a:lnTo>
                  <a:lnTo>
                    <a:pt x="281" y="55"/>
                  </a:lnTo>
                  <a:lnTo>
                    <a:pt x="297" y="63"/>
                  </a:lnTo>
                  <a:lnTo>
                    <a:pt x="313" y="70"/>
                  </a:lnTo>
                  <a:lnTo>
                    <a:pt x="325" y="78"/>
                  </a:lnTo>
                  <a:lnTo>
                    <a:pt x="340" y="88"/>
                  </a:lnTo>
                  <a:lnTo>
                    <a:pt x="362" y="94"/>
                  </a:lnTo>
                  <a:lnTo>
                    <a:pt x="384" y="100"/>
                  </a:lnTo>
                  <a:lnTo>
                    <a:pt x="402" y="104"/>
                  </a:lnTo>
                  <a:lnTo>
                    <a:pt x="419" y="114"/>
                  </a:lnTo>
                  <a:lnTo>
                    <a:pt x="433" y="124"/>
                  </a:lnTo>
                  <a:lnTo>
                    <a:pt x="441" y="137"/>
                  </a:lnTo>
                  <a:lnTo>
                    <a:pt x="447" y="149"/>
                  </a:lnTo>
                  <a:lnTo>
                    <a:pt x="457" y="165"/>
                  </a:lnTo>
                  <a:lnTo>
                    <a:pt x="470" y="185"/>
                  </a:lnTo>
                  <a:lnTo>
                    <a:pt x="482" y="204"/>
                  </a:lnTo>
                  <a:lnTo>
                    <a:pt x="496" y="222"/>
                  </a:lnTo>
                  <a:lnTo>
                    <a:pt x="506" y="236"/>
                  </a:lnTo>
                  <a:lnTo>
                    <a:pt x="518" y="253"/>
                  </a:lnTo>
                  <a:lnTo>
                    <a:pt x="531" y="277"/>
                  </a:lnTo>
                  <a:lnTo>
                    <a:pt x="543" y="299"/>
                  </a:lnTo>
                  <a:lnTo>
                    <a:pt x="549" y="316"/>
                  </a:lnTo>
                  <a:lnTo>
                    <a:pt x="551" y="330"/>
                  </a:lnTo>
                  <a:lnTo>
                    <a:pt x="551" y="342"/>
                  </a:lnTo>
                  <a:lnTo>
                    <a:pt x="553" y="354"/>
                  </a:lnTo>
                  <a:lnTo>
                    <a:pt x="563" y="368"/>
                  </a:lnTo>
                  <a:lnTo>
                    <a:pt x="583" y="379"/>
                  </a:lnTo>
                  <a:lnTo>
                    <a:pt x="606" y="385"/>
                  </a:lnTo>
                  <a:lnTo>
                    <a:pt x="628" y="391"/>
                  </a:lnTo>
                  <a:lnTo>
                    <a:pt x="646" y="399"/>
                  </a:lnTo>
                  <a:lnTo>
                    <a:pt x="659" y="411"/>
                  </a:lnTo>
                  <a:lnTo>
                    <a:pt x="671" y="427"/>
                  </a:lnTo>
                  <a:lnTo>
                    <a:pt x="681" y="440"/>
                  </a:lnTo>
                  <a:lnTo>
                    <a:pt x="693" y="448"/>
                  </a:lnTo>
                  <a:lnTo>
                    <a:pt x="705" y="454"/>
                  </a:lnTo>
                  <a:lnTo>
                    <a:pt x="716" y="464"/>
                  </a:lnTo>
                  <a:lnTo>
                    <a:pt x="726" y="474"/>
                  </a:lnTo>
                  <a:lnTo>
                    <a:pt x="732" y="486"/>
                  </a:lnTo>
                  <a:lnTo>
                    <a:pt x="732" y="496"/>
                  </a:lnTo>
                  <a:lnTo>
                    <a:pt x="724" y="499"/>
                  </a:lnTo>
                  <a:lnTo>
                    <a:pt x="711" y="501"/>
                  </a:lnTo>
                  <a:lnTo>
                    <a:pt x="689" y="503"/>
                  </a:lnTo>
                  <a:lnTo>
                    <a:pt x="667" y="501"/>
                  </a:lnTo>
                  <a:lnTo>
                    <a:pt x="644" y="499"/>
                  </a:lnTo>
                  <a:lnTo>
                    <a:pt x="624" y="498"/>
                  </a:lnTo>
                  <a:lnTo>
                    <a:pt x="610" y="496"/>
                  </a:lnTo>
                  <a:lnTo>
                    <a:pt x="606" y="496"/>
                  </a:lnTo>
                  <a:lnTo>
                    <a:pt x="610" y="498"/>
                  </a:lnTo>
                  <a:lnTo>
                    <a:pt x="620" y="501"/>
                  </a:lnTo>
                  <a:lnTo>
                    <a:pt x="632" y="507"/>
                  </a:lnTo>
                  <a:lnTo>
                    <a:pt x="646" y="515"/>
                  </a:lnTo>
                  <a:lnTo>
                    <a:pt x="657" y="523"/>
                  </a:lnTo>
                  <a:lnTo>
                    <a:pt x="663" y="531"/>
                  </a:lnTo>
                  <a:lnTo>
                    <a:pt x="671" y="539"/>
                  </a:lnTo>
                  <a:lnTo>
                    <a:pt x="687" y="549"/>
                  </a:lnTo>
                  <a:lnTo>
                    <a:pt x="707" y="559"/>
                  </a:lnTo>
                  <a:lnTo>
                    <a:pt x="724" y="568"/>
                  </a:lnTo>
                  <a:lnTo>
                    <a:pt x="736" y="578"/>
                  </a:lnTo>
                  <a:lnTo>
                    <a:pt x="746" y="590"/>
                  </a:lnTo>
                  <a:lnTo>
                    <a:pt x="754" y="602"/>
                  </a:lnTo>
                  <a:lnTo>
                    <a:pt x="762" y="612"/>
                  </a:lnTo>
                  <a:lnTo>
                    <a:pt x="766" y="622"/>
                  </a:lnTo>
                  <a:lnTo>
                    <a:pt x="766" y="627"/>
                  </a:lnTo>
                  <a:lnTo>
                    <a:pt x="758" y="631"/>
                  </a:lnTo>
                  <a:lnTo>
                    <a:pt x="746" y="639"/>
                  </a:lnTo>
                  <a:lnTo>
                    <a:pt x="730" y="647"/>
                  </a:lnTo>
                  <a:lnTo>
                    <a:pt x="716" y="653"/>
                  </a:lnTo>
                  <a:lnTo>
                    <a:pt x="705" y="659"/>
                  </a:lnTo>
                  <a:lnTo>
                    <a:pt x="699" y="663"/>
                  </a:lnTo>
                  <a:lnTo>
                    <a:pt x="697" y="665"/>
                  </a:lnTo>
                  <a:lnTo>
                    <a:pt x="693" y="669"/>
                  </a:lnTo>
                  <a:lnTo>
                    <a:pt x="689" y="673"/>
                  </a:lnTo>
                  <a:lnTo>
                    <a:pt x="685" y="675"/>
                  </a:lnTo>
                  <a:lnTo>
                    <a:pt x="681" y="677"/>
                  </a:lnTo>
                  <a:lnTo>
                    <a:pt x="679" y="679"/>
                  </a:lnTo>
                  <a:lnTo>
                    <a:pt x="679" y="681"/>
                  </a:lnTo>
                  <a:lnTo>
                    <a:pt x="665" y="663"/>
                  </a:lnTo>
                  <a:lnTo>
                    <a:pt x="632" y="641"/>
                  </a:lnTo>
                  <a:lnTo>
                    <a:pt x="592" y="657"/>
                  </a:lnTo>
                  <a:lnTo>
                    <a:pt x="500" y="671"/>
                  </a:lnTo>
                  <a:lnTo>
                    <a:pt x="472" y="637"/>
                  </a:lnTo>
                  <a:lnTo>
                    <a:pt x="431" y="645"/>
                  </a:lnTo>
                  <a:lnTo>
                    <a:pt x="398" y="651"/>
                  </a:lnTo>
                  <a:lnTo>
                    <a:pt x="356" y="633"/>
                  </a:lnTo>
                  <a:lnTo>
                    <a:pt x="303" y="651"/>
                  </a:lnTo>
                  <a:lnTo>
                    <a:pt x="297" y="592"/>
                  </a:lnTo>
                  <a:lnTo>
                    <a:pt x="242" y="566"/>
                  </a:lnTo>
                  <a:lnTo>
                    <a:pt x="230" y="513"/>
                  </a:lnTo>
                  <a:lnTo>
                    <a:pt x="258" y="470"/>
                  </a:lnTo>
                  <a:lnTo>
                    <a:pt x="197" y="407"/>
                  </a:lnTo>
                  <a:lnTo>
                    <a:pt x="140" y="336"/>
                  </a:lnTo>
                  <a:lnTo>
                    <a:pt x="144" y="269"/>
                  </a:lnTo>
                  <a:lnTo>
                    <a:pt x="112" y="250"/>
                  </a:lnTo>
                  <a:lnTo>
                    <a:pt x="83" y="257"/>
                  </a:lnTo>
                  <a:lnTo>
                    <a:pt x="69" y="222"/>
                  </a:lnTo>
                  <a:lnTo>
                    <a:pt x="0" y="220"/>
                  </a:lnTo>
                  <a:lnTo>
                    <a:pt x="14" y="131"/>
                  </a:lnTo>
                  <a:lnTo>
                    <a:pt x="69" y="124"/>
                  </a:lnTo>
                  <a:lnTo>
                    <a:pt x="81" y="98"/>
                  </a:lnTo>
                  <a:lnTo>
                    <a:pt x="122" y="100"/>
                  </a:lnTo>
                  <a:lnTo>
                    <a:pt x="175" y="76"/>
                  </a:lnTo>
                  <a:lnTo>
                    <a:pt x="203" y="76"/>
                  </a:lnTo>
                  <a:lnTo>
                    <a:pt x="215" y="15"/>
                  </a:lnTo>
                  <a:lnTo>
                    <a:pt x="262" y="0"/>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0" name="Freeform 84"/>
            <p:cNvSpPr/>
            <p:nvPr/>
          </p:nvSpPr>
          <p:spPr bwMode="gray">
            <a:xfrm>
              <a:off x="3622" y="2455"/>
              <a:ext cx="383" cy="340"/>
            </a:xfrm>
            <a:custGeom>
              <a:avLst/>
              <a:gdLst>
                <a:gd name="T0" fmla="*/ 67 w 766"/>
                <a:gd name="T1" fmla="*/ 11 h 681"/>
                <a:gd name="T2" fmla="*/ 71 w 766"/>
                <a:gd name="T3" fmla="*/ 13 h 681"/>
                <a:gd name="T4" fmla="*/ 79 w 766"/>
                <a:gd name="T5" fmla="*/ 17 h 681"/>
                <a:gd name="T6" fmla="*/ 85 w 766"/>
                <a:gd name="T7" fmla="*/ 22 h 681"/>
                <a:gd name="T8" fmla="*/ 96 w 766"/>
                <a:gd name="T9" fmla="*/ 25 h 681"/>
                <a:gd name="T10" fmla="*/ 105 w 766"/>
                <a:gd name="T11" fmla="*/ 28 h 681"/>
                <a:gd name="T12" fmla="*/ 110 w 766"/>
                <a:gd name="T13" fmla="*/ 34 h 681"/>
                <a:gd name="T14" fmla="*/ 114 w 766"/>
                <a:gd name="T15" fmla="*/ 41 h 681"/>
                <a:gd name="T16" fmla="*/ 120 w 766"/>
                <a:gd name="T17" fmla="*/ 51 h 681"/>
                <a:gd name="T18" fmla="*/ 126 w 766"/>
                <a:gd name="T19" fmla="*/ 59 h 681"/>
                <a:gd name="T20" fmla="*/ 133 w 766"/>
                <a:gd name="T21" fmla="*/ 69 h 681"/>
                <a:gd name="T22" fmla="*/ 138 w 766"/>
                <a:gd name="T23" fmla="*/ 79 h 681"/>
                <a:gd name="T24" fmla="*/ 138 w 766"/>
                <a:gd name="T25" fmla="*/ 85 h 681"/>
                <a:gd name="T26" fmla="*/ 141 w 766"/>
                <a:gd name="T27" fmla="*/ 92 h 681"/>
                <a:gd name="T28" fmla="*/ 152 w 766"/>
                <a:gd name="T29" fmla="*/ 96 h 681"/>
                <a:gd name="T30" fmla="*/ 162 w 766"/>
                <a:gd name="T31" fmla="*/ 99 h 681"/>
                <a:gd name="T32" fmla="*/ 168 w 766"/>
                <a:gd name="T33" fmla="*/ 106 h 681"/>
                <a:gd name="T34" fmla="*/ 174 w 766"/>
                <a:gd name="T35" fmla="*/ 112 h 681"/>
                <a:gd name="T36" fmla="*/ 179 w 766"/>
                <a:gd name="T37" fmla="*/ 116 h 681"/>
                <a:gd name="T38" fmla="*/ 183 w 766"/>
                <a:gd name="T39" fmla="*/ 121 h 681"/>
                <a:gd name="T40" fmla="*/ 181 w 766"/>
                <a:gd name="T41" fmla="*/ 124 h 681"/>
                <a:gd name="T42" fmla="*/ 173 w 766"/>
                <a:gd name="T43" fmla="*/ 125 h 681"/>
                <a:gd name="T44" fmla="*/ 161 w 766"/>
                <a:gd name="T45" fmla="*/ 124 h 681"/>
                <a:gd name="T46" fmla="*/ 153 w 766"/>
                <a:gd name="T47" fmla="*/ 124 h 681"/>
                <a:gd name="T48" fmla="*/ 153 w 766"/>
                <a:gd name="T49" fmla="*/ 124 h 681"/>
                <a:gd name="T50" fmla="*/ 158 w 766"/>
                <a:gd name="T51" fmla="*/ 126 h 681"/>
                <a:gd name="T52" fmla="*/ 165 w 766"/>
                <a:gd name="T53" fmla="*/ 130 h 681"/>
                <a:gd name="T54" fmla="*/ 168 w 766"/>
                <a:gd name="T55" fmla="*/ 134 h 681"/>
                <a:gd name="T56" fmla="*/ 177 w 766"/>
                <a:gd name="T57" fmla="*/ 139 h 681"/>
                <a:gd name="T58" fmla="*/ 184 w 766"/>
                <a:gd name="T59" fmla="*/ 144 h 681"/>
                <a:gd name="T60" fmla="*/ 189 w 766"/>
                <a:gd name="T61" fmla="*/ 150 h 681"/>
                <a:gd name="T62" fmla="*/ 192 w 766"/>
                <a:gd name="T63" fmla="*/ 155 h 681"/>
                <a:gd name="T64" fmla="*/ 190 w 766"/>
                <a:gd name="T65" fmla="*/ 157 h 681"/>
                <a:gd name="T66" fmla="*/ 183 w 766"/>
                <a:gd name="T67" fmla="*/ 161 h 681"/>
                <a:gd name="T68" fmla="*/ 177 w 766"/>
                <a:gd name="T69" fmla="*/ 164 h 681"/>
                <a:gd name="T70" fmla="*/ 175 w 766"/>
                <a:gd name="T71" fmla="*/ 166 h 681"/>
                <a:gd name="T72" fmla="*/ 173 w 766"/>
                <a:gd name="T73" fmla="*/ 168 h 681"/>
                <a:gd name="T74" fmla="*/ 171 w 766"/>
                <a:gd name="T75" fmla="*/ 169 h 681"/>
                <a:gd name="T76" fmla="*/ 170 w 766"/>
                <a:gd name="T77" fmla="*/ 170 h 681"/>
                <a:gd name="T78" fmla="*/ 158 w 766"/>
                <a:gd name="T79" fmla="*/ 160 h 681"/>
                <a:gd name="T80" fmla="*/ 125 w 766"/>
                <a:gd name="T81" fmla="*/ 167 h 681"/>
                <a:gd name="T82" fmla="*/ 108 w 766"/>
                <a:gd name="T83" fmla="*/ 161 h 681"/>
                <a:gd name="T84" fmla="*/ 89 w 766"/>
                <a:gd name="T85" fmla="*/ 158 h 681"/>
                <a:gd name="T86" fmla="*/ 75 w 766"/>
                <a:gd name="T87" fmla="*/ 148 h 681"/>
                <a:gd name="T88" fmla="*/ 57 w 766"/>
                <a:gd name="T89" fmla="*/ 128 h 681"/>
                <a:gd name="T90" fmla="*/ 49 w 766"/>
                <a:gd name="T91" fmla="*/ 101 h 681"/>
                <a:gd name="T92" fmla="*/ 36 w 766"/>
                <a:gd name="T93" fmla="*/ 67 h 681"/>
                <a:gd name="T94" fmla="*/ 21 w 766"/>
                <a:gd name="T95" fmla="*/ 64 h 681"/>
                <a:gd name="T96" fmla="*/ 0 w 766"/>
                <a:gd name="T97" fmla="*/ 55 h 681"/>
                <a:gd name="T98" fmla="*/ 18 w 766"/>
                <a:gd name="T99" fmla="*/ 31 h 681"/>
                <a:gd name="T100" fmla="*/ 30 w 766"/>
                <a:gd name="T101" fmla="*/ 25 h 681"/>
                <a:gd name="T102" fmla="*/ 51 w 766"/>
                <a:gd name="T103" fmla="*/ 19 h 681"/>
                <a:gd name="T104" fmla="*/ 66 w 766"/>
                <a:gd name="T105" fmla="*/ 0 h 68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66"/>
                <a:gd name="T160" fmla="*/ 0 h 681"/>
                <a:gd name="T161" fmla="*/ 766 w 766"/>
                <a:gd name="T162" fmla="*/ 681 h 68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66" h="681">
                  <a:moveTo>
                    <a:pt x="262" y="0"/>
                  </a:moveTo>
                  <a:lnTo>
                    <a:pt x="266" y="45"/>
                  </a:lnTo>
                  <a:lnTo>
                    <a:pt x="270" y="49"/>
                  </a:lnTo>
                  <a:lnTo>
                    <a:pt x="281" y="55"/>
                  </a:lnTo>
                  <a:lnTo>
                    <a:pt x="297" y="63"/>
                  </a:lnTo>
                  <a:lnTo>
                    <a:pt x="313" y="70"/>
                  </a:lnTo>
                  <a:lnTo>
                    <a:pt x="325" y="78"/>
                  </a:lnTo>
                  <a:lnTo>
                    <a:pt x="340" y="88"/>
                  </a:lnTo>
                  <a:lnTo>
                    <a:pt x="362" y="94"/>
                  </a:lnTo>
                  <a:lnTo>
                    <a:pt x="384" y="100"/>
                  </a:lnTo>
                  <a:lnTo>
                    <a:pt x="402" y="104"/>
                  </a:lnTo>
                  <a:lnTo>
                    <a:pt x="419" y="114"/>
                  </a:lnTo>
                  <a:lnTo>
                    <a:pt x="433" y="124"/>
                  </a:lnTo>
                  <a:lnTo>
                    <a:pt x="441" y="137"/>
                  </a:lnTo>
                  <a:lnTo>
                    <a:pt x="447" y="149"/>
                  </a:lnTo>
                  <a:lnTo>
                    <a:pt x="457" y="165"/>
                  </a:lnTo>
                  <a:lnTo>
                    <a:pt x="470" y="185"/>
                  </a:lnTo>
                  <a:lnTo>
                    <a:pt x="482" y="204"/>
                  </a:lnTo>
                  <a:lnTo>
                    <a:pt x="496" y="222"/>
                  </a:lnTo>
                  <a:lnTo>
                    <a:pt x="506" y="236"/>
                  </a:lnTo>
                  <a:lnTo>
                    <a:pt x="518" y="253"/>
                  </a:lnTo>
                  <a:lnTo>
                    <a:pt x="531" y="277"/>
                  </a:lnTo>
                  <a:lnTo>
                    <a:pt x="543" y="299"/>
                  </a:lnTo>
                  <a:lnTo>
                    <a:pt x="549" y="316"/>
                  </a:lnTo>
                  <a:lnTo>
                    <a:pt x="551" y="330"/>
                  </a:lnTo>
                  <a:lnTo>
                    <a:pt x="551" y="342"/>
                  </a:lnTo>
                  <a:lnTo>
                    <a:pt x="553" y="354"/>
                  </a:lnTo>
                  <a:lnTo>
                    <a:pt x="563" y="368"/>
                  </a:lnTo>
                  <a:lnTo>
                    <a:pt x="583" y="379"/>
                  </a:lnTo>
                  <a:lnTo>
                    <a:pt x="606" y="385"/>
                  </a:lnTo>
                  <a:lnTo>
                    <a:pt x="628" y="391"/>
                  </a:lnTo>
                  <a:lnTo>
                    <a:pt x="646" y="399"/>
                  </a:lnTo>
                  <a:lnTo>
                    <a:pt x="659" y="411"/>
                  </a:lnTo>
                  <a:lnTo>
                    <a:pt x="671" y="427"/>
                  </a:lnTo>
                  <a:lnTo>
                    <a:pt x="681" y="440"/>
                  </a:lnTo>
                  <a:lnTo>
                    <a:pt x="693" y="448"/>
                  </a:lnTo>
                  <a:lnTo>
                    <a:pt x="705" y="454"/>
                  </a:lnTo>
                  <a:lnTo>
                    <a:pt x="716" y="464"/>
                  </a:lnTo>
                  <a:lnTo>
                    <a:pt x="726" y="474"/>
                  </a:lnTo>
                  <a:lnTo>
                    <a:pt x="732" y="486"/>
                  </a:lnTo>
                  <a:lnTo>
                    <a:pt x="732" y="496"/>
                  </a:lnTo>
                  <a:lnTo>
                    <a:pt x="724" y="499"/>
                  </a:lnTo>
                  <a:lnTo>
                    <a:pt x="711" y="501"/>
                  </a:lnTo>
                  <a:lnTo>
                    <a:pt x="689" y="503"/>
                  </a:lnTo>
                  <a:lnTo>
                    <a:pt x="667" y="501"/>
                  </a:lnTo>
                  <a:lnTo>
                    <a:pt x="644" y="499"/>
                  </a:lnTo>
                  <a:lnTo>
                    <a:pt x="624" y="498"/>
                  </a:lnTo>
                  <a:lnTo>
                    <a:pt x="610" y="496"/>
                  </a:lnTo>
                  <a:lnTo>
                    <a:pt x="606" y="496"/>
                  </a:lnTo>
                  <a:lnTo>
                    <a:pt x="610" y="498"/>
                  </a:lnTo>
                  <a:lnTo>
                    <a:pt x="620" y="501"/>
                  </a:lnTo>
                  <a:lnTo>
                    <a:pt x="632" y="507"/>
                  </a:lnTo>
                  <a:lnTo>
                    <a:pt x="646" y="515"/>
                  </a:lnTo>
                  <a:lnTo>
                    <a:pt x="657" y="523"/>
                  </a:lnTo>
                  <a:lnTo>
                    <a:pt x="663" y="531"/>
                  </a:lnTo>
                  <a:lnTo>
                    <a:pt x="671" y="539"/>
                  </a:lnTo>
                  <a:lnTo>
                    <a:pt x="687" y="549"/>
                  </a:lnTo>
                  <a:lnTo>
                    <a:pt x="707" y="559"/>
                  </a:lnTo>
                  <a:lnTo>
                    <a:pt x="724" y="568"/>
                  </a:lnTo>
                  <a:lnTo>
                    <a:pt x="736" y="578"/>
                  </a:lnTo>
                  <a:lnTo>
                    <a:pt x="746" y="590"/>
                  </a:lnTo>
                  <a:lnTo>
                    <a:pt x="754" y="602"/>
                  </a:lnTo>
                  <a:lnTo>
                    <a:pt x="762" y="612"/>
                  </a:lnTo>
                  <a:lnTo>
                    <a:pt x="766" y="622"/>
                  </a:lnTo>
                  <a:lnTo>
                    <a:pt x="766" y="627"/>
                  </a:lnTo>
                  <a:lnTo>
                    <a:pt x="758" y="631"/>
                  </a:lnTo>
                  <a:lnTo>
                    <a:pt x="746" y="639"/>
                  </a:lnTo>
                  <a:lnTo>
                    <a:pt x="730" y="647"/>
                  </a:lnTo>
                  <a:lnTo>
                    <a:pt x="716" y="653"/>
                  </a:lnTo>
                  <a:lnTo>
                    <a:pt x="705" y="659"/>
                  </a:lnTo>
                  <a:lnTo>
                    <a:pt x="699" y="663"/>
                  </a:lnTo>
                  <a:lnTo>
                    <a:pt x="697" y="665"/>
                  </a:lnTo>
                  <a:lnTo>
                    <a:pt x="693" y="669"/>
                  </a:lnTo>
                  <a:lnTo>
                    <a:pt x="689" y="673"/>
                  </a:lnTo>
                  <a:lnTo>
                    <a:pt x="685" y="675"/>
                  </a:lnTo>
                  <a:lnTo>
                    <a:pt x="681" y="677"/>
                  </a:lnTo>
                  <a:lnTo>
                    <a:pt x="679" y="679"/>
                  </a:lnTo>
                  <a:lnTo>
                    <a:pt x="679" y="681"/>
                  </a:lnTo>
                  <a:lnTo>
                    <a:pt x="665" y="663"/>
                  </a:lnTo>
                  <a:lnTo>
                    <a:pt x="632" y="641"/>
                  </a:lnTo>
                  <a:lnTo>
                    <a:pt x="592" y="657"/>
                  </a:lnTo>
                  <a:lnTo>
                    <a:pt x="500" y="671"/>
                  </a:lnTo>
                  <a:lnTo>
                    <a:pt x="472" y="637"/>
                  </a:lnTo>
                  <a:lnTo>
                    <a:pt x="431" y="645"/>
                  </a:lnTo>
                  <a:lnTo>
                    <a:pt x="398" y="651"/>
                  </a:lnTo>
                  <a:lnTo>
                    <a:pt x="356" y="633"/>
                  </a:lnTo>
                  <a:lnTo>
                    <a:pt x="303" y="651"/>
                  </a:lnTo>
                  <a:lnTo>
                    <a:pt x="297" y="592"/>
                  </a:lnTo>
                  <a:lnTo>
                    <a:pt x="242" y="566"/>
                  </a:lnTo>
                  <a:lnTo>
                    <a:pt x="230" y="513"/>
                  </a:lnTo>
                  <a:lnTo>
                    <a:pt x="258" y="470"/>
                  </a:lnTo>
                  <a:lnTo>
                    <a:pt x="197" y="407"/>
                  </a:lnTo>
                  <a:lnTo>
                    <a:pt x="140" y="336"/>
                  </a:lnTo>
                  <a:lnTo>
                    <a:pt x="144" y="269"/>
                  </a:lnTo>
                  <a:lnTo>
                    <a:pt x="112" y="250"/>
                  </a:lnTo>
                  <a:lnTo>
                    <a:pt x="83" y="257"/>
                  </a:lnTo>
                  <a:lnTo>
                    <a:pt x="69" y="222"/>
                  </a:lnTo>
                  <a:lnTo>
                    <a:pt x="0" y="220"/>
                  </a:lnTo>
                  <a:lnTo>
                    <a:pt x="14" y="131"/>
                  </a:lnTo>
                  <a:lnTo>
                    <a:pt x="69" y="124"/>
                  </a:lnTo>
                  <a:lnTo>
                    <a:pt x="81" y="98"/>
                  </a:lnTo>
                  <a:lnTo>
                    <a:pt x="122" y="100"/>
                  </a:lnTo>
                  <a:lnTo>
                    <a:pt x="175" y="76"/>
                  </a:lnTo>
                  <a:lnTo>
                    <a:pt x="203" y="76"/>
                  </a:lnTo>
                  <a:lnTo>
                    <a:pt x="215" y="15"/>
                  </a:lnTo>
                  <a:lnTo>
                    <a:pt x="262" y="0"/>
                  </a:lnTo>
                </a:path>
              </a:pathLst>
            </a:custGeom>
            <a:grpFill/>
            <a:ln w="6350">
              <a:solidFill>
                <a:schemeClr val="tx1">
                  <a:lumMod val="85000"/>
                  <a:lumOff val="15000"/>
                </a:schemeClr>
              </a:solidFill>
              <a:prstDash val="solid"/>
              <a:round/>
            </a:ln>
          </p:spPr>
          <p:txBody>
            <a:bodyPr/>
            <a:lstStyle/>
            <a:p>
              <a:endParaRPr lang="zh-CN" altLang="en-US" sz="2400"/>
            </a:p>
          </p:txBody>
        </p:sp>
        <p:sp>
          <p:nvSpPr>
            <p:cNvPr id="41" name="Freeform 85"/>
            <p:cNvSpPr/>
            <p:nvPr/>
          </p:nvSpPr>
          <p:spPr bwMode="gray">
            <a:xfrm>
              <a:off x="3848" y="2705"/>
              <a:ext cx="58" cy="77"/>
            </a:xfrm>
            <a:custGeom>
              <a:avLst/>
              <a:gdLst>
                <a:gd name="T0" fmla="*/ 0 w 116"/>
                <a:gd name="T1" fmla="*/ 0 h 156"/>
                <a:gd name="T2" fmla="*/ 1 w 116"/>
                <a:gd name="T3" fmla="*/ 1 h 156"/>
                <a:gd name="T4" fmla="*/ 2 w 116"/>
                <a:gd name="T5" fmla="*/ 4 h 156"/>
                <a:gd name="T6" fmla="*/ 4 w 116"/>
                <a:gd name="T7" fmla="*/ 8 h 156"/>
                <a:gd name="T8" fmla="*/ 5 w 116"/>
                <a:gd name="T9" fmla="*/ 13 h 156"/>
                <a:gd name="T10" fmla="*/ 6 w 116"/>
                <a:gd name="T11" fmla="*/ 16 h 156"/>
                <a:gd name="T12" fmla="*/ 6 w 116"/>
                <a:gd name="T13" fmla="*/ 20 h 156"/>
                <a:gd name="T14" fmla="*/ 8 w 116"/>
                <a:gd name="T15" fmla="*/ 25 h 156"/>
                <a:gd name="T16" fmla="*/ 11 w 116"/>
                <a:gd name="T17" fmla="*/ 30 h 156"/>
                <a:gd name="T18" fmla="*/ 12 w 116"/>
                <a:gd name="T19" fmla="*/ 33 h 156"/>
                <a:gd name="T20" fmla="*/ 13 w 116"/>
                <a:gd name="T21" fmla="*/ 35 h 156"/>
                <a:gd name="T22" fmla="*/ 15 w 116"/>
                <a:gd name="T23" fmla="*/ 36 h 156"/>
                <a:gd name="T24" fmla="*/ 18 w 116"/>
                <a:gd name="T25" fmla="*/ 38 h 156"/>
                <a:gd name="T26" fmla="*/ 21 w 116"/>
                <a:gd name="T27" fmla="*/ 38 h 156"/>
                <a:gd name="T28" fmla="*/ 24 w 116"/>
                <a:gd name="T29" fmla="*/ 38 h 156"/>
                <a:gd name="T30" fmla="*/ 27 w 116"/>
                <a:gd name="T31" fmla="*/ 37 h 156"/>
                <a:gd name="T32" fmla="*/ 29 w 116"/>
                <a:gd name="T33" fmla="*/ 34 h 156"/>
                <a:gd name="T34" fmla="*/ 29 w 116"/>
                <a:gd name="T35" fmla="*/ 30 h 156"/>
                <a:gd name="T36" fmla="*/ 27 w 116"/>
                <a:gd name="T37" fmla="*/ 26 h 156"/>
                <a:gd name="T38" fmla="*/ 24 w 116"/>
                <a:gd name="T39" fmla="*/ 22 h 156"/>
                <a:gd name="T40" fmla="*/ 19 w 116"/>
                <a:gd name="T41" fmla="*/ 19 h 156"/>
                <a:gd name="T42" fmla="*/ 15 w 116"/>
                <a:gd name="T43" fmla="*/ 16 h 156"/>
                <a:gd name="T44" fmla="*/ 11 w 116"/>
                <a:gd name="T45" fmla="*/ 13 h 156"/>
                <a:gd name="T46" fmla="*/ 10 w 116"/>
                <a:gd name="T47" fmla="*/ 11 h 156"/>
                <a:gd name="T48" fmla="*/ 8 w 116"/>
                <a:gd name="T49" fmla="*/ 8 h 156"/>
                <a:gd name="T50" fmla="*/ 6 w 116"/>
                <a:gd name="T51" fmla="*/ 5 h 156"/>
                <a:gd name="T52" fmla="*/ 3 w 116"/>
                <a:gd name="T53" fmla="*/ 3 h 156"/>
                <a:gd name="T54" fmla="*/ 1 w 116"/>
                <a:gd name="T55" fmla="*/ 1 h 156"/>
                <a:gd name="T56" fmla="*/ 0 w 116"/>
                <a:gd name="T57" fmla="*/ 0 h 1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6"/>
                <a:gd name="T88" fmla="*/ 0 h 156"/>
                <a:gd name="T89" fmla="*/ 116 w 116"/>
                <a:gd name="T90" fmla="*/ 156 h 15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6" h="156">
                  <a:moveTo>
                    <a:pt x="0" y="0"/>
                  </a:moveTo>
                  <a:lnTo>
                    <a:pt x="2" y="6"/>
                  </a:lnTo>
                  <a:lnTo>
                    <a:pt x="8" y="18"/>
                  </a:lnTo>
                  <a:lnTo>
                    <a:pt x="13" y="34"/>
                  </a:lnTo>
                  <a:lnTo>
                    <a:pt x="19" y="52"/>
                  </a:lnTo>
                  <a:lnTo>
                    <a:pt x="21" y="65"/>
                  </a:lnTo>
                  <a:lnTo>
                    <a:pt x="23" y="83"/>
                  </a:lnTo>
                  <a:lnTo>
                    <a:pt x="31" y="103"/>
                  </a:lnTo>
                  <a:lnTo>
                    <a:pt x="41" y="121"/>
                  </a:lnTo>
                  <a:lnTo>
                    <a:pt x="47" y="136"/>
                  </a:lnTo>
                  <a:lnTo>
                    <a:pt x="49" y="142"/>
                  </a:lnTo>
                  <a:lnTo>
                    <a:pt x="59" y="148"/>
                  </a:lnTo>
                  <a:lnTo>
                    <a:pt x="69" y="154"/>
                  </a:lnTo>
                  <a:lnTo>
                    <a:pt x="82" y="156"/>
                  </a:lnTo>
                  <a:lnTo>
                    <a:pt x="94" y="156"/>
                  </a:lnTo>
                  <a:lnTo>
                    <a:pt x="106" y="150"/>
                  </a:lnTo>
                  <a:lnTo>
                    <a:pt x="114" y="138"/>
                  </a:lnTo>
                  <a:lnTo>
                    <a:pt x="116" y="123"/>
                  </a:lnTo>
                  <a:lnTo>
                    <a:pt x="108" y="107"/>
                  </a:lnTo>
                  <a:lnTo>
                    <a:pt x="94" y="91"/>
                  </a:lnTo>
                  <a:lnTo>
                    <a:pt x="76" y="77"/>
                  </a:lnTo>
                  <a:lnTo>
                    <a:pt x="59" y="65"/>
                  </a:lnTo>
                  <a:lnTo>
                    <a:pt x="43" y="54"/>
                  </a:lnTo>
                  <a:lnTo>
                    <a:pt x="37" y="46"/>
                  </a:lnTo>
                  <a:lnTo>
                    <a:pt x="31" y="34"/>
                  </a:lnTo>
                  <a:lnTo>
                    <a:pt x="21" y="22"/>
                  </a:lnTo>
                  <a:lnTo>
                    <a:pt x="12" y="12"/>
                  </a:lnTo>
                  <a:lnTo>
                    <a:pt x="2" y="4"/>
                  </a:lnTo>
                  <a:lnTo>
                    <a:pt x="0" y="0"/>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2" name="Freeform 86"/>
            <p:cNvSpPr/>
            <p:nvPr/>
          </p:nvSpPr>
          <p:spPr bwMode="gray">
            <a:xfrm>
              <a:off x="3848" y="2705"/>
              <a:ext cx="58" cy="77"/>
            </a:xfrm>
            <a:custGeom>
              <a:avLst/>
              <a:gdLst>
                <a:gd name="T0" fmla="*/ 0 w 116"/>
                <a:gd name="T1" fmla="*/ 0 h 156"/>
                <a:gd name="T2" fmla="*/ 1 w 116"/>
                <a:gd name="T3" fmla="*/ 1 h 156"/>
                <a:gd name="T4" fmla="*/ 2 w 116"/>
                <a:gd name="T5" fmla="*/ 4 h 156"/>
                <a:gd name="T6" fmla="*/ 4 w 116"/>
                <a:gd name="T7" fmla="*/ 8 h 156"/>
                <a:gd name="T8" fmla="*/ 5 w 116"/>
                <a:gd name="T9" fmla="*/ 13 h 156"/>
                <a:gd name="T10" fmla="*/ 6 w 116"/>
                <a:gd name="T11" fmla="*/ 16 h 156"/>
                <a:gd name="T12" fmla="*/ 6 w 116"/>
                <a:gd name="T13" fmla="*/ 20 h 156"/>
                <a:gd name="T14" fmla="*/ 8 w 116"/>
                <a:gd name="T15" fmla="*/ 25 h 156"/>
                <a:gd name="T16" fmla="*/ 11 w 116"/>
                <a:gd name="T17" fmla="*/ 30 h 156"/>
                <a:gd name="T18" fmla="*/ 12 w 116"/>
                <a:gd name="T19" fmla="*/ 33 h 156"/>
                <a:gd name="T20" fmla="*/ 13 w 116"/>
                <a:gd name="T21" fmla="*/ 35 h 156"/>
                <a:gd name="T22" fmla="*/ 15 w 116"/>
                <a:gd name="T23" fmla="*/ 36 h 156"/>
                <a:gd name="T24" fmla="*/ 18 w 116"/>
                <a:gd name="T25" fmla="*/ 38 h 156"/>
                <a:gd name="T26" fmla="*/ 21 w 116"/>
                <a:gd name="T27" fmla="*/ 38 h 156"/>
                <a:gd name="T28" fmla="*/ 24 w 116"/>
                <a:gd name="T29" fmla="*/ 38 h 156"/>
                <a:gd name="T30" fmla="*/ 27 w 116"/>
                <a:gd name="T31" fmla="*/ 37 h 156"/>
                <a:gd name="T32" fmla="*/ 29 w 116"/>
                <a:gd name="T33" fmla="*/ 34 h 156"/>
                <a:gd name="T34" fmla="*/ 29 w 116"/>
                <a:gd name="T35" fmla="*/ 30 h 156"/>
                <a:gd name="T36" fmla="*/ 27 w 116"/>
                <a:gd name="T37" fmla="*/ 26 h 156"/>
                <a:gd name="T38" fmla="*/ 24 w 116"/>
                <a:gd name="T39" fmla="*/ 22 h 156"/>
                <a:gd name="T40" fmla="*/ 19 w 116"/>
                <a:gd name="T41" fmla="*/ 19 h 156"/>
                <a:gd name="T42" fmla="*/ 15 w 116"/>
                <a:gd name="T43" fmla="*/ 16 h 156"/>
                <a:gd name="T44" fmla="*/ 11 w 116"/>
                <a:gd name="T45" fmla="*/ 13 h 156"/>
                <a:gd name="T46" fmla="*/ 10 w 116"/>
                <a:gd name="T47" fmla="*/ 11 h 156"/>
                <a:gd name="T48" fmla="*/ 8 w 116"/>
                <a:gd name="T49" fmla="*/ 8 h 156"/>
                <a:gd name="T50" fmla="*/ 6 w 116"/>
                <a:gd name="T51" fmla="*/ 5 h 156"/>
                <a:gd name="T52" fmla="*/ 3 w 116"/>
                <a:gd name="T53" fmla="*/ 3 h 156"/>
                <a:gd name="T54" fmla="*/ 1 w 116"/>
                <a:gd name="T55" fmla="*/ 1 h 156"/>
                <a:gd name="T56" fmla="*/ 0 w 116"/>
                <a:gd name="T57" fmla="*/ 0 h 1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6"/>
                <a:gd name="T88" fmla="*/ 0 h 156"/>
                <a:gd name="T89" fmla="*/ 116 w 116"/>
                <a:gd name="T90" fmla="*/ 156 h 15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6" h="156">
                  <a:moveTo>
                    <a:pt x="0" y="0"/>
                  </a:moveTo>
                  <a:lnTo>
                    <a:pt x="2" y="6"/>
                  </a:lnTo>
                  <a:lnTo>
                    <a:pt x="8" y="18"/>
                  </a:lnTo>
                  <a:lnTo>
                    <a:pt x="13" y="34"/>
                  </a:lnTo>
                  <a:lnTo>
                    <a:pt x="19" y="52"/>
                  </a:lnTo>
                  <a:lnTo>
                    <a:pt x="21" y="65"/>
                  </a:lnTo>
                  <a:lnTo>
                    <a:pt x="23" y="83"/>
                  </a:lnTo>
                  <a:lnTo>
                    <a:pt x="31" y="103"/>
                  </a:lnTo>
                  <a:lnTo>
                    <a:pt x="41" y="121"/>
                  </a:lnTo>
                  <a:lnTo>
                    <a:pt x="47" y="136"/>
                  </a:lnTo>
                  <a:lnTo>
                    <a:pt x="49" y="142"/>
                  </a:lnTo>
                  <a:lnTo>
                    <a:pt x="59" y="148"/>
                  </a:lnTo>
                  <a:lnTo>
                    <a:pt x="69" y="154"/>
                  </a:lnTo>
                  <a:lnTo>
                    <a:pt x="82" y="156"/>
                  </a:lnTo>
                  <a:lnTo>
                    <a:pt x="94" y="156"/>
                  </a:lnTo>
                  <a:lnTo>
                    <a:pt x="106" y="150"/>
                  </a:lnTo>
                  <a:lnTo>
                    <a:pt x="114" y="138"/>
                  </a:lnTo>
                  <a:lnTo>
                    <a:pt x="116" y="123"/>
                  </a:lnTo>
                  <a:lnTo>
                    <a:pt x="108" y="107"/>
                  </a:lnTo>
                  <a:lnTo>
                    <a:pt x="94" y="91"/>
                  </a:lnTo>
                  <a:lnTo>
                    <a:pt x="76" y="77"/>
                  </a:lnTo>
                  <a:lnTo>
                    <a:pt x="59" y="65"/>
                  </a:lnTo>
                  <a:lnTo>
                    <a:pt x="43" y="54"/>
                  </a:lnTo>
                  <a:lnTo>
                    <a:pt x="37" y="46"/>
                  </a:lnTo>
                  <a:lnTo>
                    <a:pt x="31" y="34"/>
                  </a:lnTo>
                  <a:lnTo>
                    <a:pt x="21" y="22"/>
                  </a:lnTo>
                  <a:lnTo>
                    <a:pt x="12" y="12"/>
                  </a:lnTo>
                  <a:lnTo>
                    <a:pt x="2" y="4"/>
                  </a:lnTo>
                  <a:lnTo>
                    <a:pt x="0" y="0"/>
                  </a:lnTo>
                </a:path>
              </a:pathLst>
            </a:custGeom>
            <a:grpFill/>
            <a:ln w="6350">
              <a:solidFill>
                <a:schemeClr val="tx1">
                  <a:lumMod val="85000"/>
                  <a:lumOff val="15000"/>
                </a:schemeClr>
              </a:solidFill>
              <a:prstDash val="solid"/>
              <a:round/>
            </a:ln>
          </p:spPr>
          <p:txBody>
            <a:bodyPr/>
            <a:lstStyle/>
            <a:p>
              <a:endParaRPr lang="zh-CN" altLang="en-US" sz="2400"/>
            </a:p>
          </p:txBody>
        </p:sp>
        <p:sp>
          <p:nvSpPr>
            <p:cNvPr id="43" name="Freeform 87"/>
            <p:cNvSpPr/>
            <p:nvPr/>
          </p:nvSpPr>
          <p:spPr bwMode="gray">
            <a:xfrm>
              <a:off x="3714" y="2597"/>
              <a:ext cx="37" cy="32"/>
            </a:xfrm>
            <a:custGeom>
              <a:avLst/>
              <a:gdLst>
                <a:gd name="T0" fmla="*/ 0 w 75"/>
                <a:gd name="T1" fmla="*/ 12 h 63"/>
                <a:gd name="T2" fmla="*/ 8 w 75"/>
                <a:gd name="T3" fmla="*/ 0 h 63"/>
                <a:gd name="T4" fmla="*/ 18 w 75"/>
                <a:gd name="T5" fmla="*/ 4 h 63"/>
                <a:gd name="T6" fmla="*/ 18 w 75"/>
                <a:gd name="T7" fmla="*/ 13 h 63"/>
                <a:gd name="T8" fmla="*/ 8 w 75"/>
                <a:gd name="T9" fmla="*/ 16 h 63"/>
                <a:gd name="T10" fmla="*/ 0 w 75"/>
                <a:gd name="T11" fmla="*/ 12 h 63"/>
                <a:gd name="T12" fmla="*/ 0 60000 65536"/>
                <a:gd name="T13" fmla="*/ 0 60000 65536"/>
                <a:gd name="T14" fmla="*/ 0 60000 65536"/>
                <a:gd name="T15" fmla="*/ 0 60000 65536"/>
                <a:gd name="T16" fmla="*/ 0 60000 65536"/>
                <a:gd name="T17" fmla="*/ 0 60000 65536"/>
                <a:gd name="T18" fmla="*/ 0 w 75"/>
                <a:gd name="T19" fmla="*/ 0 h 63"/>
                <a:gd name="T20" fmla="*/ 75 w 75"/>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75" h="63">
                  <a:moveTo>
                    <a:pt x="0" y="45"/>
                  </a:moveTo>
                  <a:lnTo>
                    <a:pt x="33" y="0"/>
                  </a:lnTo>
                  <a:lnTo>
                    <a:pt x="73" y="14"/>
                  </a:lnTo>
                  <a:lnTo>
                    <a:pt x="75" y="49"/>
                  </a:lnTo>
                  <a:lnTo>
                    <a:pt x="32" y="63"/>
                  </a:lnTo>
                  <a:lnTo>
                    <a:pt x="0" y="4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4" name="Freeform 88"/>
            <p:cNvSpPr/>
            <p:nvPr/>
          </p:nvSpPr>
          <p:spPr bwMode="gray">
            <a:xfrm>
              <a:off x="3714" y="2597"/>
              <a:ext cx="37" cy="32"/>
            </a:xfrm>
            <a:custGeom>
              <a:avLst/>
              <a:gdLst>
                <a:gd name="T0" fmla="*/ 0 w 75"/>
                <a:gd name="T1" fmla="*/ 12 h 63"/>
                <a:gd name="T2" fmla="*/ 8 w 75"/>
                <a:gd name="T3" fmla="*/ 0 h 63"/>
                <a:gd name="T4" fmla="*/ 18 w 75"/>
                <a:gd name="T5" fmla="*/ 4 h 63"/>
                <a:gd name="T6" fmla="*/ 18 w 75"/>
                <a:gd name="T7" fmla="*/ 13 h 63"/>
                <a:gd name="T8" fmla="*/ 8 w 75"/>
                <a:gd name="T9" fmla="*/ 16 h 63"/>
                <a:gd name="T10" fmla="*/ 0 w 75"/>
                <a:gd name="T11" fmla="*/ 12 h 63"/>
                <a:gd name="T12" fmla="*/ 0 60000 65536"/>
                <a:gd name="T13" fmla="*/ 0 60000 65536"/>
                <a:gd name="T14" fmla="*/ 0 60000 65536"/>
                <a:gd name="T15" fmla="*/ 0 60000 65536"/>
                <a:gd name="T16" fmla="*/ 0 60000 65536"/>
                <a:gd name="T17" fmla="*/ 0 60000 65536"/>
                <a:gd name="T18" fmla="*/ 0 w 75"/>
                <a:gd name="T19" fmla="*/ 0 h 63"/>
                <a:gd name="T20" fmla="*/ 75 w 75"/>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75" h="63">
                  <a:moveTo>
                    <a:pt x="0" y="45"/>
                  </a:moveTo>
                  <a:lnTo>
                    <a:pt x="33" y="0"/>
                  </a:lnTo>
                  <a:lnTo>
                    <a:pt x="73" y="14"/>
                  </a:lnTo>
                  <a:lnTo>
                    <a:pt x="75" y="49"/>
                  </a:lnTo>
                  <a:lnTo>
                    <a:pt x="32" y="63"/>
                  </a:lnTo>
                  <a:lnTo>
                    <a:pt x="0" y="45"/>
                  </a:lnTo>
                </a:path>
              </a:pathLst>
            </a:custGeom>
            <a:grpFill/>
            <a:ln w="6350">
              <a:solidFill>
                <a:schemeClr val="tx1">
                  <a:lumMod val="85000"/>
                  <a:lumOff val="15000"/>
                </a:schemeClr>
              </a:solidFill>
              <a:prstDash val="solid"/>
              <a:round/>
            </a:ln>
          </p:spPr>
          <p:txBody>
            <a:bodyPr/>
            <a:lstStyle/>
            <a:p>
              <a:endParaRPr lang="zh-CN" altLang="en-US" sz="2400"/>
            </a:p>
          </p:txBody>
        </p:sp>
        <p:sp>
          <p:nvSpPr>
            <p:cNvPr id="45" name="Freeform 89"/>
            <p:cNvSpPr/>
            <p:nvPr/>
          </p:nvSpPr>
          <p:spPr bwMode="gray">
            <a:xfrm>
              <a:off x="3768" y="2614"/>
              <a:ext cx="37" cy="52"/>
            </a:xfrm>
            <a:custGeom>
              <a:avLst/>
              <a:gdLst>
                <a:gd name="T0" fmla="*/ 0 w 73"/>
                <a:gd name="T1" fmla="*/ 10 h 105"/>
                <a:gd name="T2" fmla="*/ 9 w 73"/>
                <a:gd name="T3" fmla="*/ 0 h 105"/>
                <a:gd name="T4" fmla="*/ 16 w 73"/>
                <a:gd name="T5" fmla="*/ 12 h 105"/>
                <a:gd name="T6" fmla="*/ 19 w 73"/>
                <a:gd name="T7" fmla="*/ 26 h 105"/>
                <a:gd name="T8" fmla="*/ 9 w 73"/>
                <a:gd name="T9" fmla="*/ 19 h 105"/>
                <a:gd name="T10" fmla="*/ 0 w 73"/>
                <a:gd name="T11" fmla="*/ 10 h 105"/>
                <a:gd name="T12" fmla="*/ 0 60000 65536"/>
                <a:gd name="T13" fmla="*/ 0 60000 65536"/>
                <a:gd name="T14" fmla="*/ 0 60000 65536"/>
                <a:gd name="T15" fmla="*/ 0 60000 65536"/>
                <a:gd name="T16" fmla="*/ 0 60000 65536"/>
                <a:gd name="T17" fmla="*/ 0 60000 65536"/>
                <a:gd name="T18" fmla="*/ 0 w 73"/>
                <a:gd name="T19" fmla="*/ 0 h 105"/>
                <a:gd name="T20" fmla="*/ 73 w 73"/>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73" h="105">
                  <a:moveTo>
                    <a:pt x="0" y="40"/>
                  </a:moveTo>
                  <a:lnTo>
                    <a:pt x="34" y="0"/>
                  </a:lnTo>
                  <a:lnTo>
                    <a:pt x="63" y="48"/>
                  </a:lnTo>
                  <a:lnTo>
                    <a:pt x="73" y="105"/>
                  </a:lnTo>
                  <a:lnTo>
                    <a:pt x="34" y="77"/>
                  </a:lnTo>
                  <a:lnTo>
                    <a:pt x="0" y="40"/>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6" name="Freeform 90"/>
            <p:cNvSpPr/>
            <p:nvPr/>
          </p:nvSpPr>
          <p:spPr bwMode="gray">
            <a:xfrm>
              <a:off x="3768" y="2614"/>
              <a:ext cx="37" cy="52"/>
            </a:xfrm>
            <a:custGeom>
              <a:avLst/>
              <a:gdLst>
                <a:gd name="T0" fmla="*/ 0 w 73"/>
                <a:gd name="T1" fmla="*/ 10 h 105"/>
                <a:gd name="T2" fmla="*/ 9 w 73"/>
                <a:gd name="T3" fmla="*/ 0 h 105"/>
                <a:gd name="T4" fmla="*/ 16 w 73"/>
                <a:gd name="T5" fmla="*/ 12 h 105"/>
                <a:gd name="T6" fmla="*/ 19 w 73"/>
                <a:gd name="T7" fmla="*/ 26 h 105"/>
                <a:gd name="T8" fmla="*/ 9 w 73"/>
                <a:gd name="T9" fmla="*/ 19 h 105"/>
                <a:gd name="T10" fmla="*/ 0 w 73"/>
                <a:gd name="T11" fmla="*/ 10 h 105"/>
                <a:gd name="T12" fmla="*/ 0 60000 65536"/>
                <a:gd name="T13" fmla="*/ 0 60000 65536"/>
                <a:gd name="T14" fmla="*/ 0 60000 65536"/>
                <a:gd name="T15" fmla="*/ 0 60000 65536"/>
                <a:gd name="T16" fmla="*/ 0 60000 65536"/>
                <a:gd name="T17" fmla="*/ 0 60000 65536"/>
                <a:gd name="T18" fmla="*/ 0 w 73"/>
                <a:gd name="T19" fmla="*/ 0 h 105"/>
                <a:gd name="T20" fmla="*/ 73 w 73"/>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73" h="105">
                  <a:moveTo>
                    <a:pt x="0" y="40"/>
                  </a:moveTo>
                  <a:lnTo>
                    <a:pt x="34" y="0"/>
                  </a:lnTo>
                  <a:lnTo>
                    <a:pt x="63" y="48"/>
                  </a:lnTo>
                  <a:lnTo>
                    <a:pt x="73" y="105"/>
                  </a:lnTo>
                  <a:lnTo>
                    <a:pt x="34" y="77"/>
                  </a:lnTo>
                  <a:lnTo>
                    <a:pt x="0" y="40"/>
                  </a:lnTo>
                </a:path>
              </a:pathLst>
            </a:custGeom>
            <a:grpFill/>
            <a:ln w="6350">
              <a:solidFill>
                <a:schemeClr val="tx1">
                  <a:lumMod val="85000"/>
                  <a:lumOff val="15000"/>
                </a:schemeClr>
              </a:solidFill>
              <a:prstDash val="solid"/>
              <a:round/>
            </a:ln>
          </p:spPr>
          <p:txBody>
            <a:bodyPr/>
            <a:lstStyle/>
            <a:p>
              <a:endParaRPr lang="zh-CN" altLang="en-US" sz="2400"/>
            </a:p>
          </p:txBody>
        </p:sp>
        <p:sp>
          <p:nvSpPr>
            <p:cNvPr id="47" name="Freeform 91"/>
            <p:cNvSpPr/>
            <p:nvPr/>
          </p:nvSpPr>
          <p:spPr bwMode="gray">
            <a:xfrm>
              <a:off x="3451" y="2207"/>
              <a:ext cx="493" cy="331"/>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48" name="Freeform 92"/>
            <p:cNvSpPr/>
            <p:nvPr/>
          </p:nvSpPr>
          <p:spPr bwMode="gray">
            <a:xfrm>
              <a:off x="3451" y="2207"/>
              <a:ext cx="493" cy="331"/>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path>
              </a:pathLst>
            </a:custGeom>
            <a:grpFill/>
            <a:ln w="6350">
              <a:solidFill>
                <a:schemeClr val="tx1">
                  <a:lumMod val="85000"/>
                  <a:lumOff val="15000"/>
                </a:schemeClr>
              </a:solidFill>
              <a:prstDash val="solid"/>
              <a:round/>
            </a:ln>
          </p:spPr>
          <p:txBody>
            <a:bodyPr/>
            <a:lstStyle/>
            <a:p>
              <a:endParaRPr lang="zh-CN" altLang="en-US" sz="2400"/>
            </a:p>
          </p:txBody>
        </p:sp>
        <p:sp>
          <p:nvSpPr>
            <p:cNvPr id="49" name="Freeform 93"/>
            <p:cNvSpPr/>
            <p:nvPr/>
          </p:nvSpPr>
          <p:spPr bwMode="gray">
            <a:xfrm>
              <a:off x="3322" y="1838"/>
              <a:ext cx="400" cy="580"/>
            </a:xfrm>
            <a:custGeom>
              <a:avLst/>
              <a:gdLst>
                <a:gd name="T0" fmla="*/ 199 w 799"/>
                <a:gd name="T1" fmla="*/ 103 h 1161"/>
                <a:gd name="T2" fmla="*/ 194 w 799"/>
                <a:gd name="T3" fmla="*/ 108 h 1161"/>
                <a:gd name="T4" fmla="*/ 187 w 799"/>
                <a:gd name="T5" fmla="*/ 114 h 1161"/>
                <a:gd name="T6" fmla="*/ 185 w 799"/>
                <a:gd name="T7" fmla="*/ 121 h 1161"/>
                <a:gd name="T8" fmla="*/ 185 w 799"/>
                <a:gd name="T9" fmla="*/ 129 h 1161"/>
                <a:gd name="T10" fmla="*/ 182 w 799"/>
                <a:gd name="T11" fmla="*/ 137 h 1161"/>
                <a:gd name="T12" fmla="*/ 171 w 799"/>
                <a:gd name="T13" fmla="*/ 142 h 1161"/>
                <a:gd name="T14" fmla="*/ 162 w 799"/>
                <a:gd name="T15" fmla="*/ 146 h 1161"/>
                <a:gd name="T16" fmla="*/ 156 w 799"/>
                <a:gd name="T17" fmla="*/ 146 h 1161"/>
                <a:gd name="T18" fmla="*/ 149 w 799"/>
                <a:gd name="T19" fmla="*/ 145 h 1161"/>
                <a:gd name="T20" fmla="*/ 145 w 799"/>
                <a:gd name="T21" fmla="*/ 144 h 1161"/>
                <a:gd name="T22" fmla="*/ 140 w 799"/>
                <a:gd name="T23" fmla="*/ 169 h 1161"/>
                <a:gd name="T24" fmla="*/ 145 w 799"/>
                <a:gd name="T25" fmla="*/ 184 h 1161"/>
                <a:gd name="T26" fmla="*/ 115 w 799"/>
                <a:gd name="T27" fmla="*/ 206 h 1161"/>
                <a:gd name="T28" fmla="*/ 92 w 799"/>
                <a:gd name="T29" fmla="*/ 229 h 1161"/>
                <a:gd name="T30" fmla="*/ 73 w 799"/>
                <a:gd name="T31" fmla="*/ 262 h 1161"/>
                <a:gd name="T32" fmla="*/ 79 w 799"/>
                <a:gd name="T33" fmla="*/ 283 h 1161"/>
                <a:gd name="T34" fmla="*/ 61 w 799"/>
                <a:gd name="T35" fmla="*/ 290 h 1161"/>
                <a:gd name="T36" fmla="*/ 20 w 799"/>
                <a:gd name="T37" fmla="*/ 284 h 1161"/>
                <a:gd name="T38" fmla="*/ 12 w 799"/>
                <a:gd name="T39" fmla="*/ 265 h 1161"/>
                <a:gd name="T40" fmla="*/ 17 w 799"/>
                <a:gd name="T41" fmla="*/ 247 h 1161"/>
                <a:gd name="T42" fmla="*/ 21 w 799"/>
                <a:gd name="T43" fmla="*/ 214 h 1161"/>
                <a:gd name="T44" fmla="*/ 3 w 799"/>
                <a:gd name="T45" fmla="*/ 187 h 1161"/>
                <a:gd name="T46" fmla="*/ 12 w 799"/>
                <a:gd name="T47" fmla="*/ 169 h 1161"/>
                <a:gd name="T48" fmla="*/ 29 w 799"/>
                <a:gd name="T49" fmla="*/ 148 h 1161"/>
                <a:gd name="T50" fmla="*/ 13 w 799"/>
                <a:gd name="T51" fmla="*/ 132 h 1161"/>
                <a:gd name="T52" fmla="*/ 24 w 799"/>
                <a:gd name="T53" fmla="*/ 116 h 1161"/>
                <a:gd name="T54" fmla="*/ 0 w 799"/>
                <a:gd name="T55" fmla="*/ 84 h 1161"/>
                <a:gd name="T56" fmla="*/ 1 w 799"/>
                <a:gd name="T57" fmla="*/ 68 h 1161"/>
                <a:gd name="T58" fmla="*/ 11 w 799"/>
                <a:gd name="T59" fmla="*/ 45 h 1161"/>
                <a:gd name="T60" fmla="*/ 29 w 799"/>
                <a:gd name="T61" fmla="*/ 36 h 1161"/>
                <a:gd name="T62" fmla="*/ 45 w 799"/>
                <a:gd name="T63" fmla="*/ 55 h 1161"/>
                <a:gd name="T64" fmla="*/ 68 w 799"/>
                <a:gd name="T65" fmla="*/ 41 h 1161"/>
                <a:gd name="T66" fmla="*/ 81 w 799"/>
                <a:gd name="T67" fmla="*/ 35 h 1161"/>
                <a:gd name="T68" fmla="*/ 88 w 799"/>
                <a:gd name="T69" fmla="*/ 14 h 1161"/>
                <a:gd name="T70" fmla="*/ 105 w 799"/>
                <a:gd name="T71" fmla="*/ 8 h 1161"/>
                <a:gd name="T72" fmla="*/ 116 w 799"/>
                <a:gd name="T73" fmla="*/ 4 h 1161"/>
                <a:gd name="T74" fmla="*/ 124 w 799"/>
                <a:gd name="T75" fmla="*/ 16 h 1161"/>
                <a:gd name="T76" fmla="*/ 128 w 799"/>
                <a:gd name="T77" fmla="*/ 21 h 1161"/>
                <a:gd name="T78" fmla="*/ 131 w 799"/>
                <a:gd name="T79" fmla="*/ 26 h 1161"/>
                <a:gd name="T80" fmla="*/ 132 w 799"/>
                <a:gd name="T81" fmla="*/ 28 h 1161"/>
                <a:gd name="T82" fmla="*/ 133 w 799"/>
                <a:gd name="T83" fmla="*/ 34 h 1161"/>
                <a:gd name="T84" fmla="*/ 135 w 799"/>
                <a:gd name="T85" fmla="*/ 40 h 1161"/>
                <a:gd name="T86" fmla="*/ 147 w 799"/>
                <a:gd name="T87" fmla="*/ 52 h 1161"/>
                <a:gd name="T88" fmla="*/ 166 w 799"/>
                <a:gd name="T89" fmla="*/ 58 h 1161"/>
                <a:gd name="T90" fmla="*/ 174 w 799"/>
                <a:gd name="T91" fmla="*/ 77 h 1161"/>
                <a:gd name="T92" fmla="*/ 194 w 799"/>
                <a:gd name="T93" fmla="*/ 97 h 11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9"/>
                <a:gd name="T142" fmla="*/ 0 h 1161"/>
                <a:gd name="T143" fmla="*/ 799 w 799"/>
                <a:gd name="T144" fmla="*/ 1161 h 11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9" h="1161">
                  <a:moveTo>
                    <a:pt x="799" y="413"/>
                  </a:moveTo>
                  <a:lnTo>
                    <a:pt x="795" y="415"/>
                  </a:lnTo>
                  <a:lnTo>
                    <a:pt x="785" y="423"/>
                  </a:lnTo>
                  <a:lnTo>
                    <a:pt x="773" y="433"/>
                  </a:lnTo>
                  <a:lnTo>
                    <a:pt x="759" y="444"/>
                  </a:lnTo>
                  <a:lnTo>
                    <a:pt x="748" y="458"/>
                  </a:lnTo>
                  <a:lnTo>
                    <a:pt x="740" y="468"/>
                  </a:lnTo>
                  <a:lnTo>
                    <a:pt x="738" y="484"/>
                  </a:lnTo>
                  <a:lnTo>
                    <a:pt x="738" y="499"/>
                  </a:lnTo>
                  <a:lnTo>
                    <a:pt x="738" y="517"/>
                  </a:lnTo>
                  <a:lnTo>
                    <a:pt x="734" y="535"/>
                  </a:lnTo>
                  <a:lnTo>
                    <a:pt x="726" y="549"/>
                  </a:lnTo>
                  <a:lnTo>
                    <a:pt x="706" y="560"/>
                  </a:lnTo>
                  <a:lnTo>
                    <a:pt x="683" y="570"/>
                  </a:lnTo>
                  <a:lnTo>
                    <a:pt x="661" y="578"/>
                  </a:lnTo>
                  <a:lnTo>
                    <a:pt x="645" y="584"/>
                  </a:lnTo>
                  <a:lnTo>
                    <a:pt x="635" y="588"/>
                  </a:lnTo>
                  <a:lnTo>
                    <a:pt x="622" y="586"/>
                  </a:lnTo>
                  <a:lnTo>
                    <a:pt x="608" y="584"/>
                  </a:lnTo>
                  <a:lnTo>
                    <a:pt x="594" y="580"/>
                  </a:lnTo>
                  <a:lnTo>
                    <a:pt x="584" y="576"/>
                  </a:lnTo>
                  <a:lnTo>
                    <a:pt x="580" y="576"/>
                  </a:lnTo>
                  <a:lnTo>
                    <a:pt x="561" y="618"/>
                  </a:lnTo>
                  <a:lnTo>
                    <a:pt x="557" y="679"/>
                  </a:lnTo>
                  <a:lnTo>
                    <a:pt x="568" y="718"/>
                  </a:lnTo>
                  <a:lnTo>
                    <a:pt x="580" y="738"/>
                  </a:lnTo>
                  <a:lnTo>
                    <a:pt x="523" y="822"/>
                  </a:lnTo>
                  <a:lnTo>
                    <a:pt x="458" y="826"/>
                  </a:lnTo>
                  <a:lnTo>
                    <a:pt x="425" y="881"/>
                  </a:lnTo>
                  <a:lnTo>
                    <a:pt x="368" y="919"/>
                  </a:lnTo>
                  <a:lnTo>
                    <a:pt x="344" y="1003"/>
                  </a:lnTo>
                  <a:lnTo>
                    <a:pt x="289" y="1051"/>
                  </a:lnTo>
                  <a:lnTo>
                    <a:pt x="285" y="1088"/>
                  </a:lnTo>
                  <a:lnTo>
                    <a:pt x="316" y="1133"/>
                  </a:lnTo>
                  <a:lnTo>
                    <a:pt x="318" y="1147"/>
                  </a:lnTo>
                  <a:lnTo>
                    <a:pt x="244" y="1161"/>
                  </a:lnTo>
                  <a:lnTo>
                    <a:pt x="139" y="1145"/>
                  </a:lnTo>
                  <a:lnTo>
                    <a:pt x="80" y="1137"/>
                  </a:lnTo>
                  <a:lnTo>
                    <a:pt x="41" y="1100"/>
                  </a:lnTo>
                  <a:lnTo>
                    <a:pt x="45" y="1060"/>
                  </a:lnTo>
                  <a:lnTo>
                    <a:pt x="72" y="1025"/>
                  </a:lnTo>
                  <a:lnTo>
                    <a:pt x="66" y="990"/>
                  </a:lnTo>
                  <a:lnTo>
                    <a:pt x="96" y="929"/>
                  </a:lnTo>
                  <a:lnTo>
                    <a:pt x="82" y="858"/>
                  </a:lnTo>
                  <a:lnTo>
                    <a:pt x="7" y="820"/>
                  </a:lnTo>
                  <a:lnTo>
                    <a:pt x="9" y="749"/>
                  </a:lnTo>
                  <a:lnTo>
                    <a:pt x="41" y="718"/>
                  </a:lnTo>
                  <a:lnTo>
                    <a:pt x="47" y="677"/>
                  </a:lnTo>
                  <a:lnTo>
                    <a:pt x="88" y="665"/>
                  </a:lnTo>
                  <a:lnTo>
                    <a:pt x="114" y="594"/>
                  </a:lnTo>
                  <a:lnTo>
                    <a:pt x="88" y="547"/>
                  </a:lnTo>
                  <a:lnTo>
                    <a:pt x="49" y="529"/>
                  </a:lnTo>
                  <a:lnTo>
                    <a:pt x="53" y="486"/>
                  </a:lnTo>
                  <a:lnTo>
                    <a:pt x="96" y="466"/>
                  </a:lnTo>
                  <a:lnTo>
                    <a:pt x="63" y="419"/>
                  </a:lnTo>
                  <a:lnTo>
                    <a:pt x="0" y="338"/>
                  </a:lnTo>
                  <a:lnTo>
                    <a:pt x="15" y="314"/>
                  </a:lnTo>
                  <a:lnTo>
                    <a:pt x="3" y="273"/>
                  </a:lnTo>
                  <a:lnTo>
                    <a:pt x="35" y="234"/>
                  </a:lnTo>
                  <a:lnTo>
                    <a:pt x="41" y="181"/>
                  </a:lnTo>
                  <a:lnTo>
                    <a:pt x="66" y="143"/>
                  </a:lnTo>
                  <a:lnTo>
                    <a:pt x="114" y="147"/>
                  </a:lnTo>
                  <a:lnTo>
                    <a:pt x="131" y="224"/>
                  </a:lnTo>
                  <a:lnTo>
                    <a:pt x="179" y="220"/>
                  </a:lnTo>
                  <a:lnTo>
                    <a:pt x="230" y="165"/>
                  </a:lnTo>
                  <a:lnTo>
                    <a:pt x="269" y="167"/>
                  </a:lnTo>
                  <a:lnTo>
                    <a:pt x="297" y="131"/>
                  </a:lnTo>
                  <a:lnTo>
                    <a:pt x="324" y="141"/>
                  </a:lnTo>
                  <a:lnTo>
                    <a:pt x="362" y="127"/>
                  </a:lnTo>
                  <a:lnTo>
                    <a:pt x="352" y="59"/>
                  </a:lnTo>
                  <a:lnTo>
                    <a:pt x="387" y="33"/>
                  </a:lnTo>
                  <a:lnTo>
                    <a:pt x="419" y="33"/>
                  </a:lnTo>
                  <a:lnTo>
                    <a:pt x="439" y="0"/>
                  </a:lnTo>
                  <a:lnTo>
                    <a:pt x="464" y="17"/>
                  </a:lnTo>
                  <a:lnTo>
                    <a:pt x="492" y="64"/>
                  </a:lnTo>
                  <a:lnTo>
                    <a:pt x="496" y="66"/>
                  </a:lnTo>
                  <a:lnTo>
                    <a:pt x="502" y="74"/>
                  </a:lnTo>
                  <a:lnTo>
                    <a:pt x="509" y="84"/>
                  </a:lnTo>
                  <a:lnTo>
                    <a:pt x="517" y="94"/>
                  </a:lnTo>
                  <a:lnTo>
                    <a:pt x="523" y="104"/>
                  </a:lnTo>
                  <a:lnTo>
                    <a:pt x="525" y="108"/>
                  </a:lnTo>
                  <a:lnTo>
                    <a:pt x="525" y="114"/>
                  </a:lnTo>
                  <a:lnTo>
                    <a:pt x="527" y="124"/>
                  </a:lnTo>
                  <a:lnTo>
                    <a:pt x="531" y="137"/>
                  </a:lnTo>
                  <a:lnTo>
                    <a:pt x="535" y="151"/>
                  </a:lnTo>
                  <a:lnTo>
                    <a:pt x="539" y="161"/>
                  </a:lnTo>
                  <a:lnTo>
                    <a:pt x="539" y="165"/>
                  </a:lnTo>
                  <a:lnTo>
                    <a:pt x="586" y="208"/>
                  </a:lnTo>
                  <a:lnTo>
                    <a:pt x="653" y="206"/>
                  </a:lnTo>
                  <a:lnTo>
                    <a:pt x="661" y="232"/>
                  </a:lnTo>
                  <a:lnTo>
                    <a:pt x="641" y="291"/>
                  </a:lnTo>
                  <a:lnTo>
                    <a:pt x="696" y="309"/>
                  </a:lnTo>
                  <a:lnTo>
                    <a:pt x="744" y="342"/>
                  </a:lnTo>
                  <a:lnTo>
                    <a:pt x="775" y="389"/>
                  </a:lnTo>
                  <a:lnTo>
                    <a:pt x="799" y="413"/>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0" name="Freeform 94"/>
            <p:cNvSpPr/>
            <p:nvPr/>
          </p:nvSpPr>
          <p:spPr bwMode="gray">
            <a:xfrm>
              <a:off x="3322" y="1838"/>
              <a:ext cx="400" cy="580"/>
            </a:xfrm>
            <a:custGeom>
              <a:avLst/>
              <a:gdLst>
                <a:gd name="T0" fmla="*/ 199 w 799"/>
                <a:gd name="T1" fmla="*/ 103 h 1161"/>
                <a:gd name="T2" fmla="*/ 194 w 799"/>
                <a:gd name="T3" fmla="*/ 108 h 1161"/>
                <a:gd name="T4" fmla="*/ 187 w 799"/>
                <a:gd name="T5" fmla="*/ 114 h 1161"/>
                <a:gd name="T6" fmla="*/ 185 w 799"/>
                <a:gd name="T7" fmla="*/ 121 h 1161"/>
                <a:gd name="T8" fmla="*/ 185 w 799"/>
                <a:gd name="T9" fmla="*/ 129 h 1161"/>
                <a:gd name="T10" fmla="*/ 182 w 799"/>
                <a:gd name="T11" fmla="*/ 137 h 1161"/>
                <a:gd name="T12" fmla="*/ 171 w 799"/>
                <a:gd name="T13" fmla="*/ 142 h 1161"/>
                <a:gd name="T14" fmla="*/ 162 w 799"/>
                <a:gd name="T15" fmla="*/ 146 h 1161"/>
                <a:gd name="T16" fmla="*/ 156 w 799"/>
                <a:gd name="T17" fmla="*/ 146 h 1161"/>
                <a:gd name="T18" fmla="*/ 149 w 799"/>
                <a:gd name="T19" fmla="*/ 145 h 1161"/>
                <a:gd name="T20" fmla="*/ 145 w 799"/>
                <a:gd name="T21" fmla="*/ 144 h 1161"/>
                <a:gd name="T22" fmla="*/ 140 w 799"/>
                <a:gd name="T23" fmla="*/ 169 h 1161"/>
                <a:gd name="T24" fmla="*/ 145 w 799"/>
                <a:gd name="T25" fmla="*/ 184 h 1161"/>
                <a:gd name="T26" fmla="*/ 115 w 799"/>
                <a:gd name="T27" fmla="*/ 206 h 1161"/>
                <a:gd name="T28" fmla="*/ 92 w 799"/>
                <a:gd name="T29" fmla="*/ 229 h 1161"/>
                <a:gd name="T30" fmla="*/ 73 w 799"/>
                <a:gd name="T31" fmla="*/ 262 h 1161"/>
                <a:gd name="T32" fmla="*/ 79 w 799"/>
                <a:gd name="T33" fmla="*/ 283 h 1161"/>
                <a:gd name="T34" fmla="*/ 61 w 799"/>
                <a:gd name="T35" fmla="*/ 290 h 1161"/>
                <a:gd name="T36" fmla="*/ 20 w 799"/>
                <a:gd name="T37" fmla="*/ 284 h 1161"/>
                <a:gd name="T38" fmla="*/ 12 w 799"/>
                <a:gd name="T39" fmla="*/ 265 h 1161"/>
                <a:gd name="T40" fmla="*/ 17 w 799"/>
                <a:gd name="T41" fmla="*/ 247 h 1161"/>
                <a:gd name="T42" fmla="*/ 21 w 799"/>
                <a:gd name="T43" fmla="*/ 214 h 1161"/>
                <a:gd name="T44" fmla="*/ 3 w 799"/>
                <a:gd name="T45" fmla="*/ 187 h 1161"/>
                <a:gd name="T46" fmla="*/ 12 w 799"/>
                <a:gd name="T47" fmla="*/ 169 h 1161"/>
                <a:gd name="T48" fmla="*/ 29 w 799"/>
                <a:gd name="T49" fmla="*/ 148 h 1161"/>
                <a:gd name="T50" fmla="*/ 13 w 799"/>
                <a:gd name="T51" fmla="*/ 132 h 1161"/>
                <a:gd name="T52" fmla="*/ 24 w 799"/>
                <a:gd name="T53" fmla="*/ 116 h 1161"/>
                <a:gd name="T54" fmla="*/ 0 w 799"/>
                <a:gd name="T55" fmla="*/ 84 h 1161"/>
                <a:gd name="T56" fmla="*/ 1 w 799"/>
                <a:gd name="T57" fmla="*/ 68 h 1161"/>
                <a:gd name="T58" fmla="*/ 11 w 799"/>
                <a:gd name="T59" fmla="*/ 45 h 1161"/>
                <a:gd name="T60" fmla="*/ 29 w 799"/>
                <a:gd name="T61" fmla="*/ 36 h 1161"/>
                <a:gd name="T62" fmla="*/ 45 w 799"/>
                <a:gd name="T63" fmla="*/ 55 h 1161"/>
                <a:gd name="T64" fmla="*/ 68 w 799"/>
                <a:gd name="T65" fmla="*/ 41 h 1161"/>
                <a:gd name="T66" fmla="*/ 81 w 799"/>
                <a:gd name="T67" fmla="*/ 35 h 1161"/>
                <a:gd name="T68" fmla="*/ 88 w 799"/>
                <a:gd name="T69" fmla="*/ 14 h 1161"/>
                <a:gd name="T70" fmla="*/ 105 w 799"/>
                <a:gd name="T71" fmla="*/ 8 h 1161"/>
                <a:gd name="T72" fmla="*/ 116 w 799"/>
                <a:gd name="T73" fmla="*/ 4 h 1161"/>
                <a:gd name="T74" fmla="*/ 124 w 799"/>
                <a:gd name="T75" fmla="*/ 16 h 1161"/>
                <a:gd name="T76" fmla="*/ 128 w 799"/>
                <a:gd name="T77" fmla="*/ 21 h 1161"/>
                <a:gd name="T78" fmla="*/ 131 w 799"/>
                <a:gd name="T79" fmla="*/ 26 h 1161"/>
                <a:gd name="T80" fmla="*/ 132 w 799"/>
                <a:gd name="T81" fmla="*/ 28 h 1161"/>
                <a:gd name="T82" fmla="*/ 133 w 799"/>
                <a:gd name="T83" fmla="*/ 34 h 1161"/>
                <a:gd name="T84" fmla="*/ 135 w 799"/>
                <a:gd name="T85" fmla="*/ 40 h 1161"/>
                <a:gd name="T86" fmla="*/ 147 w 799"/>
                <a:gd name="T87" fmla="*/ 52 h 1161"/>
                <a:gd name="T88" fmla="*/ 166 w 799"/>
                <a:gd name="T89" fmla="*/ 58 h 1161"/>
                <a:gd name="T90" fmla="*/ 174 w 799"/>
                <a:gd name="T91" fmla="*/ 77 h 1161"/>
                <a:gd name="T92" fmla="*/ 194 w 799"/>
                <a:gd name="T93" fmla="*/ 97 h 11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9"/>
                <a:gd name="T142" fmla="*/ 0 h 1161"/>
                <a:gd name="T143" fmla="*/ 799 w 799"/>
                <a:gd name="T144" fmla="*/ 1161 h 11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9" h="1161">
                  <a:moveTo>
                    <a:pt x="799" y="413"/>
                  </a:moveTo>
                  <a:lnTo>
                    <a:pt x="795" y="415"/>
                  </a:lnTo>
                  <a:lnTo>
                    <a:pt x="785" y="423"/>
                  </a:lnTo>
                  <a:lnTo>
                    <a:pt x="773" y="433"/>
                  </a:lnTo>
                  <a:lnTo>
                    <a:pt x="759" y="444"/>
                  </a:lnTo>
                  <a:lnTo>
                    <a:pt x="748" y="458"/>
                  </a:lnTo>
                  <a:lnTo>
                    <a:pt x="740" y="468"/>
                  </a:lnTo>
                  <a:lnTo>
                    <a:pt x="738" y="484"/>
                  </a:lnTo>
                  <a:lnTo>
                    <a:pt x="738" y="499"/>
                  </a:lnTo>
                  <a:lnTo>
                    <a:pt x="738" y="517"/>
                  </a:lnTo>
                  <a:lnTo>
                    <a:pt x="734" y="535"/>
                  </a:lnTo>
                  <a:lnTo>
                    <a:pt x="726" y="549"/>
                  </a:lnTo>
                  <a:lnTo>
                    <a:pt x="706" y="560"/>
                  </a:lnTo>
                  <a:lnTo>
                    <a:pt x="683" y="570"/>
                  </a:lnTo>
                  <a:lnTo>
                    <a:pt x="661" y="578"/>
                  </a:lnTo>
                  <a:lnTo>
                    <a:pt x="645" y="584"/>
                  </a:lnTo>
                  <a:lnTo>
                    <a:pt x="635" y="588"/>
                  </a:lnTo>
                  <a:lnTo>
                    <a:pt x="622" y="586"/>
                  </a:lnTo>
                  <a:lnTo>
                    <a:pt x="608" y="584"/>
                  </a:lnTo>
                  <a:lnTo>
                    <a:pt x="594" y="580"/>
                  </a:lnTo>
                  <a:lnTo>
                    <a:pt x="584" y="576"/>
                  </a:lnTo>
                  <a:lnTo>
                    <a:pt x="580" y="576"/>
                  </a:lnTo>
                  <a:lnTo>
                    <a:pt x="561" y="618"/>
                  </a:lnTo>
                  <a:lnTo>
                    <a:pt x="557" y="679"/>
                  </a:lnTo>
                  <a:lnTo>
                    <a:pt x="568" y="718"/>
                  </a:lnTo>
                  <a:lnTo>
                    <a:pt x="580" y="738"/>
                  </a:lnTo>
                  <a:lnTo>
                    <a:pt x="523" y="822"/>
                  </a:lnTo>
                  <a:lnTo>
                    <a:pt x="458" y="826"/>
                  </a:lnTo>
                  <a:lnTo>
                    <a:pt x="425" y="881"/>
                  </a:lnTo>
                  <a:lnTo>
                    <a:pt x="368" y="919"/>
                  </a:lnTo>
                  <a:lnTo>
                    <a:pt x="344" y="1003"/>
                  </a:lnTo>
                  <a:lnTo>
                    <a:pt x="289" y="1051"/>
                  </a:lnTo>
                  <a:lnTo>
                    <a:pt x="285" y="1088"/>
                  </a:lnTo>
                  <a:lnTo>
                    <a:pt x="316" y="1133"/>
                  </a:lnTo>
                  <a:lnTo>
                    <a:pt x="318" y="1147"/>
                  </a:lnTo>
                  <a:lnTo>
                    <a:pt x="244" y="1161"/>
                  </a:lnTo>
                  <a:lnTo>
                    <a:pt x="139" y="1145"/>
                  </a:lnTo>
                  <a:lnTo>
                    <a:pt x="80" y="1137"/>
                  </a:lnTo>
                  <a:lnTo>
                    <a:pt x="41" y="1100"/>
                  </a:lnTo>
                  <a:lnTo>
                    <a:pt x="45" y="1060"/>
                  </a:lnTo>
                  <a:lnTo>
                    <a:pt x="72" y="1025"/>
                  </a:lnTo>
                  <a:lnTo>
                    <a:pt x="66" y="990"/>
                  </a:lnTo>
                  <a:lnTo>
                    <a:pt x="96" y="929"/>
                  </a:lnTo>
                  <a:lnTo>
                    <a:pt x="82" y="858"/>
                  </a:lnTo>
                  <a:lnTo>
                    <a:pt x="7" y="820"/>
                  </a:lnTo>
                  <a:lnTo>
                    <a:pt x="9" y="749"/>
                  </a:lnTo>
                  <a:lnTo>
                    <a:pt x="41" y="718"/>
                  </a:lnTo>
                  <a:lnTo>
                    <a:pt x="47" y="677"/>
                  </a:lnTo>
                  <a:lnTo>
                    <a:pt x="88" y="665"/>
                  </a:lnTo>
                  <a:lnTo>
                    <a:pt x="114" y="594"/>
                  </a:lnTo>
                  <a:lnTo>
                    <a:pt x="88" y="547"/>
                  </a:lnTo>
                  <a:lnTo>
                    <a:pt x="49" y="529"/>
                  </a:lnTo>
                  <a:lnTo>
                    <a:pt x="53" y="486"/>
                  </a:lnTo>
                  <a:lnTo>
                    <a:pt x="96" y="466"/>
                  </a:lnTo>
                  <a:lnTo>
                    <a:pt x="63" y="419"/>
                  </a:lnTo>
                  <a:lnTo>
                    <a:pt x="0" y="338"/>
                  </a:lnTo>
                  <a:lnTo>
                    <a:pt x="15" y="314"/>
                  </a:lnTo>
                  <a:lnTo>
                    <a:pt x="3" y="273"/>
                  </a:lnTo>
                  <a:lnTo>
                    <a:pt x="35" y="234"/>
                  </a:lnTo>
                  <a:lnTo>
                    <a:pt x="41" y="181"/>
                  </a:lnTo>
                  <a:lnTo>
                    <a:pt x="66" y="143"/>
                  </a:lnTo>
                  <a:lnTo>
                    <a:pt x="114" y="147"/>
                  </a:lnTo>
                  <a:lnTo>
                    <a:pt x="131" y="224"/>
                  </a:lnTo>
                  <a:lnTo>
                    <a:pt x="179" y="220"/>
                  </a:lnTo>
                  <a:lnTo>
                    <a:pt x="230" y="165"/>
                  </a:lnTo>
                  <a:lnTo>
                    <a:pt x="269" y="167"/>
                  </a:lnTo>
                  <a:lnTo>
                    <a:pt x="297" y="131"/>
                  </a:lnTo>
                  <a:lnTo>
                    <a:pt x="324" y="141"/>
                  </a:lnTo>
                  <a:lnTo>
                    <a:pt x="362" y="127"/>
                  </a:lnTo>
                  <a:lnTo>
                    <a:pt x="352" y="59"/>
                  </a:lnTo>
                  <a:lnTo>
                    <a:pt x="387" y="33"/>
                  </a:lnTo>
                  <a:lnTo>
                    <a:pt x="419" y="33"/>
                  </a:lnTo>
                  <a:lnTo>
                    <a:pt x="439" y="0"/>
                  </a:lnTo>
                  <a:lnTo>
                    <a:pt x="464" y="17"/>
                  </a:lnTo>
                  <a:lnTo>
                    <a:pt x="492" y="64"/>
                  </a:lnTo>
                  <a:lnTo>
                    <a:pt x="496" y="66"/>
                  </a:lnTo>
                  <a:lnTo>
                    <a:pt x="502" y="74"/>
                  </a:lnTo>
                  <a:lnTo>
                    <a:pt x="509" y="84"/>
                  </a:lnTo>
                  <a:lnTo>
                    <a:pt x="517" y="94"/>
                  </a:lnTo>
                  <a:lnTo>
                    <a:pt x="523" y="104"/>
                  </a:lnTo>
                  <a:lnTo>
                    <a:pt x="525" y="108"/>
                  </a:lnTo>
                  <a:lnTo>
                    <a:pt x="525" y="114"/>
                  </a:lnTo>
                  <a:lnTo>
                    <a:pt x="527" y="124"/>
                  </a:lnTo>
                  <a:lnTo>
                    <a:pt x="531" y="137"/>
                  </a:lnTo>
                  <a:lnTo>
                    <a:pt x="535" y="151"/>
                  </a:lnTo>
                  <a:lnTo>
                    <a:pt x="539" y="161"/>
                  </a:lnTo>
                  <a:lnTo>
                    <a:pt x="539" y="165"/>
                  </a:lnTo>
                  <a:lnTo>
                    <a:pt x="586" y="208"/>
                  </a:lnTo>
                  <a:lnTo>
                    <a:pt x="653" y="206"/>
                  </a:lnTo>
                  <a:lnTo>
                    <a:pt x="661" y="232"/>
                  </a:lnTo>
                  <a:lnTo>
                    <a:pt x="641" y="291"/>
                  </a:lnTo>
                  <a:lnTo>
                    <a:pt x="696" y="309"/>
                  </a:lnTo>
                  <a:lnTo>
                    <a:pt x="744" y="342"/>
                  </a:lnTo>
                  <a:lnTo>
                    <a:pt x="775" y="389"/>
                  </a:lnTo>
                  <a:lnTo>
                    <a:pt x="799" y="413"/>
                  </a:lnTo>
                </a:path>
              </a:pathLst>
            </a:custGeom>
            <a:grpFill/>
            <a:ln w="6350">
              <a:solidFill>
                <a:schemeClr val="tx1">
                  <a:lumMod val="85000"/>
                  <a:lumOff val="15000"/>
                </a:schemeClr>
              </a:solidFill>
              <a:prstDash val="solid"/>
              <a:round/>
            </a:ln>
          </p:spPr>
          <p:txBody>
            <a:bodyPr/>
            <a:lstStyle/>
            <a:p>
              <a:endParaRPr lang="zh-CN" altLang="en-US" sz="2400"/>
            </a:p>
          </p:txBody>
        </p:sp>
        <p:sp>
          <p:nvSpPr>
            <p:cNvPr id="51" name="Freeform 95"/>
            <p:cNvSpPr/>
            <p:nvPr/>
          </p:nvSpPr>
          <p:spPr bwMode="gray">
            <a:xfrm>
              <a:off x="3440" y="1985"/>
              <a:ext cx="121" cy="140"/>
            </a:xfrm>
            <a:custGeom>
              <a:avLst/>
              <a:gdLst>
                <a:gd name="T0" fmla="*/ 44 w 242"/>
                <a:gd name="T1" fmla="*/ 62 h 279"/>
                <a:gd name="T2" fmla="*/ 35 w 242"/>
                <a:gd name="T3" fmla="*/ 63 h 279"/>
                <a:gd name="T4" fmla="*/ 29 w 242"/>
                <a:gd name="T5" fmla="*/ 70 h 279"/>
                <a:gd name="T6" fmla="*/ 11 w 242"/>
                <a:gd name="T7" fmla="*/ 69 h 279"/>
                <a:gd name="T8" fmla="*/ 1 w 242"/>
                <a:gd name="T9" fmla="*/ 63 h 279"/>
                <a:gd name="T10" fmla="*/ 0 w 242"/>
                <a:gd name="T11" fmla="*/ 45 h 279"/>
                <a:gd name="T12" fmla="*/ 6 w 242"/>
                <a:gd name="T13" fmla="*/ 40 h 279"/>
                <a:gd name="T14" fmla="*/ 11 w 242"/>
                <a:gd name="T15" fmla="*/ 30 h 279"/>
                <a:gd name="T16" fmla="*/ 5 w 242"/>
                <a:gd name="T17" fmla="*/ 27 h 279"/>
                <a:gd name="T18" fmla="*/ 7 w 242"/>
                <a:gd name="T19" fmla="*/ 22 h 279"/>
                <a:gd name="T20" fmla="*/ 14 w 242"/>
                <a:gd name="T21" fmla="*/ 20 h 279"/>
                <a:gd name="T22" fmla="*/ 21 w 242"/>
                <a:gd name="T23" fmla="*/ 10 h 279"/>
                <a:gd name="T24" fmla="*/ 27 w 242"/>
                <a:gd name="T25" fmla="*/ 3 h 279"/>
                <a:gd name="T26" fmla="*/ 33 w 242"/>
                <a:gd name="T27" fmla="*/ 0 h 279"/>
                <a:gd name="T28" fmla="*/ 44 w 242"/>
                <a:gd name="T29" fmla="*/ 13 h 279"/>
                <a:gd name="T30" fmla="*/ 54 w 242"/>
                <a:gd name="T31" fmla="*/ 13 h 279"/>
                <a:gd name="T32" fmla="*/ 58 w 242"/>
                <a:gd name="T33" fmla="*/ 25 h 279"/>
                <a:gd name="T34" fmla="*/ 61 w 242"/>
                <a:gd name="T35" fmla="*/ 35 h 279"/>
                <a:gd name="T36" fmla="*/ 54 w 242"/>
                <a:gd name="T37" fmla="*/ 41 h 279"/>
                <a:gd name="T38" fmla="*/ 54 w 242"/>
                <a:gd name="T39" fmla="*/ 54 h 279"/>
                <a:gd name="T40" fmla="*/ 44 w 242"/>
                <a:gd name="T41" fmla="*/ 62 h 2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2"/>
                <a:gd name="T64" fmla="*/ 0 h 279"/>
                <a:gd name="T65" fmla="*/ 242 w 242"/>
                <a:gd name="T66" fmla="*/ 279 h 27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2" h="279">
                  <a:moveTo>
                    <a:pt x="173" y="248"/>
                  </a:moveTo>
                  <a:lnTo>
                    <a:pt x="140" y="250"/>
                  </a:lnTo>
                  <a:lnTo>
                    <a:pt x="116" y="279"/>
                  </a:lnTo>
                  <a:lnTo>
                    <a:pt x="41" y="273"/>
                  </a:lnTo>
                  <a:lnTo>
                    <a:pt x="2" y="250"/>
                  </a:lnTo>
                  <a:lnTo>
                    <a:pt x="0" y="179"/>
                  </a:lnTo>
                  <a:lnTo>
                    <a:pt x="21" y="159"/>
                  </a:lnTo>
                  <a:lnTo>
                    <a:pt x="41" y="118"/>
                  </a:lnTo>
                  <a:lnTo>
                    <a:pt x="17" y="106"/>
                  </a:lnTo>
                  <a:lnTo>
                    <a:pt x="25" y="86"/>
                  </a:lnTo>
                  <a:lnTo>
                    <a:pt x="53" y="80"/>
                  </a:lnTo>
                  <a:lnTo>
                    <a:pt x="82" y="39"/>
                  </a:lnTo>
                  <a:lnTo>
                    <a:pt x="106" y="12"/>
                  </a:lnTo>
                  <a:lnTo>
                    <a:pt x="132" y="0"/>
                  </a:lnTo>
                  <a:lnTo>
                    <a:pt x="175" y="49"/>
                  </a:lnTo>
                  <a:lnTo>
                    <a:pt x="216" y="49"/>
                  </a:lnTo>
                  <a:lnTo>
                    <a:pt x="230" y="100"/>
                  </a:lnTo>
                  <a:lnTo>
                    <a:pt x="242" y="139"/>
                  </a:lnTo>
                  <a:lnTo>
                    <a:pt x="216" y="163"/>
                  </a:lnTo>
                  <a:lnTo>
                    <a:pt x="214" y="214"/>
                  </a:lnTo>
                  <a:lnTo>
                    <a:pt x="173" y="248"/>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2" name="Freeform 96"/>
            <p:cNvSpPr/>
            <p:nvPr/>
          </p:nvSpPr>
          <p:spPr bwMode="gray">
            <a:xfrm>
              <a:off x="3440" y="1985"/>
              <a:ext cx="121" cy="140"/>
            </a:xfrm>
            <a:custGeom>
              <a:avLst/>
              <a:gdLst>
                <a:gd name="T0" fmla="*/ 44 w 242"/>
                <a:gd name="T1" fmla="*/ 62 h 279"/>
                <a:gd name="T2" fmla="*/ 35 w 242"/>
                <a:gd name="T3" fmla="*/ 63 h 279"/>
                <a:gd name="T4" fmla="*/ 29 w 242"/>
                <a:gd name="T5" fmla="*/ 70 h 279"/>
                <a:gd name="T6" fmla="*/ 11 w 242"/>
                <a:gd name="T7" fmla="*/ 69 h 279"/>
                <a:gd name="T8" fmla="*/ 1 w 242"/>
                <a:gd name="T9" fmla="*/ 63 h 279"/>
                <a:gd name="T10" fmla="*/ 0 w 242"/>
                <a:gd name="T11" fmla="*/ 45 h 279"/>
                <a:gd name="T12" fmla="*/ 6 w 242"/>
                <a:gd name="T13" fmla="*/ 40 h 279"/>
                <a:gd name="T14" fmla="*/ 11 w 242"/>
                <a:gd name="T15" fmla="*/ 30 h 279"/>
                <a:gd name="T16" fmla="*/ 5 w 242"/>
                <a:gd name="T17" fmla="*/ 27 h 279"/>
                <a:gd name="T18" fmla="*/ 7 w 242"/>
                <a:gd name="T19" fmla="*/ 22 h 279"/>
                <a:gd name="T20" fmla="*/ 14 w 242"/>
                <a:gd name="T21" fmla="*/ 20 h 279"/>
                <a:gd name="T22" fmla="*/ 21 w 242"/>
                <a:gd name="T23" fmla="*/ 10 h 279"/>
                <a:gd name="T24" fmla="*/ 27 w 242"/>
                <a:gd name="T25" fmla="*/ 3 h 279"/>
                <a:gd name="T26" fmla="*/ 33 w 242"/>
                <a:gd name="T27" fmla="*/ 0 h 279"/>
                <a:gd name="T28" fmla="*/ 44 w 242"/>
                <a:gd name="T29" fmla="*/ 13 h 279"/>
                <a:gd name="T30" fmla="*/ 54 w 242"/>
                <a:gd name="T31" fmla="*/ 13 h 279"/>
                <a:gd name="T32" fmla="*/ 58 w 242"/>
                <a:gd name="T33" fmla="*/ 25 h 279"/>
                <a:gd name="T34" fmla="*/ 61 w 242"/>
                <a:gd name="T35" fmla="*/ 35 h 279"/>
                <a:gd name="T36" fmla="*/ 54 w 242"/>
                <a:gd name="T37" fmla="*/ 41 h 279"/>
                <a:gd name="T38" fmla="*/ 54 w 242"/>
                <a:gd name="T39" fmla="*/ 54 h 279"/>
                <a:gd name="T40" fmla="*/ 44 w 242"/>
                <a:gd name="T41" fmla="*/ 62 h 2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2"/>
                <a:gd name="T64" fmla="*/ 0 h 279"/>
                <a:gd name="T65" fmla="*/ 242 w 242"/>
                <a:gd name="T66" fmla="*/ 279 h 27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2" h="279">
                  <a:moveTo>
                    <a:pt x="173" y="248"/>
                  </a:moveTo>
                  <a:lnTo>
                    <a:pt x="140" y="250"/>
                  </a:lnTo>
                  <a:lnTo>
                    <a:pt x="116" y="279"/>
                  </a:lnTo>
                  <a:lnTo>
                    <a:pt x="41" y="273"/>
                  </a:lnTo>
                  <a:lnTo>
                    <a:pt x="2" y="250"/>
                  </a:lnTo>
                  <a:lnTo>
                    <a:pt x="0" y="179"/>
                  </a:lnTo>
                  <a:lnTo>
                    <a:pt x="21" y="159"/>
                  </a:lnTo>
                  <a:lnTo>
                    <a:pt x="41" y="118"/>
                  </a:lnTo>
                  <a:lnTo>
                    <a:pt x="17" y="106"/>
                  </a:lnTo>
                  <a:lnTo>
                    <a:pt x="25" y="86"/>
                  </a:lnTo>
                  <a:lnTo>
                    <a:pt x="53" y="80"/>
                  </a:lnTo>
                  <a:lnTo>
                    <a:pt x="82" y="39"/>
                  </a:lnTo>
                  <a:lnTo>
                    <a:pt x="106" y="12"/>
                  </a:lnTo>
                  <a:lnTo>
                    <a:pt x="132" y="0"/>
                  </a:lnTo>
                  <a:lnTo>
                    <a:pt x="175" y="49"/>
                  </a:lnTo>
                  <a:lnTo>
                    <a:pt x="216" y="49"/>
                  </a:lnTo>
                  <a:lnTo>
                    <a:pt x="230" y="100"/>
                  </a:lnTo>
                  <a:lnTo>
                    <a:pt x="242" y="139"/>
                  </a:lnTo>
                  <a:lnTo>
                    <a:pt x="216" y="163"/>
                  </a:lnTo>
                  <a:lnTo>
                    <a:pt x="214" y="214"/>
                  </a:lnTo>
                  <a:lnTo>
                    <a:pt x="173" y="248"/>
                  </a:lnTo>
                </a:path>
              </a:pathLst>
            </a:custGeom>
            <a:grpFill/>
            <a:ln w="6350">
              <a:solidFill>
                <a:schemeClr val="tx1">
                  <a:lumMod val="85000"/>
                  <a:lumOff val="15000"/>
                </a:schemeClr>
              </a:solidFill>
              <a:prstDash val="solid"/>
              <a:round/>
            </a:ln>
          </p:spPr>
          <p:txBody>
            <a:bodyPr/>
            <a:lstStyle/>
            <a:p>
              <a:endParaRPr lang="zh-CN" altLang="en-US" sz="2400"/>
            </a:p>
          </p:txBody>
        </p:sp>
        <p:sp>
          <p:nvSpPr>
            <p:cNvPr id="53" name="Freeform 97"/>
            <p:cNvSpPr/>
            <p:nvPr/>
          </p:nvSpPr>
          <p:spPr bwMode="gray">
            <a:xfrm>
              <a:off x="3527" y="2070"/>
              <a:ext cx="86" cy="115"/>
            </a:xfrm>
            <a:custGeom>
              <a:avLst/>
              <a:gdLst>
                <a:gd name="T0" fmla="*/ 2 w 171"/>
                <a:gd name="T1" fmla="*/ 36 h 230"/>
                <a:gd name="T2" fmla="*/ 1 w 171"/>
                <a:gd name="T3" fmla="*/ 47 h 230"/>
                <a:gd name="T4" fmla="*/ 8 w 171"/>
                <a:gd name="T5" fmla="*/ 56 h 230"/>
                <a:gd name="T6" fmla="*/ 24 w 171"/>
                <a:gd name="T7" fmla="*/ 58 h 230"/>
                <a:gd name="T8" fmla="*/ 37 w 171"/>
                <a:gd name="T9" fmla="*/ 54 h 230"/>
                <a:gd name="T10" fmla="*/ 38 w 171"/>
                <a:gd name="T11" fmla="*/ 39 h 230"/>
                <a:gd name="T12" fmla="*/ 43 w 171"/>
                <a:gd name="T13" fmla="*/ 27 h 230"/>
                <a:gd name="T14" fmla="*/ 41 w 171"/>
                <a:gd name="T15" fmla="*/ 20 h 230"/>
                <a:gd name="T16" fmla="*/ 35 w 171"/>
                <a:gd name="T17" fmla="*/ 15 h 230"/>
                <a:gd name="T18" fmla="*/ 25 w 171"/>
                <a:gd name="T19" fmla="*/ 9 h 230"/>
                <a:gd name="T20" fmla="*/ 25 w 171"/>
                <a:gd name="T21" fmla="*/ 1 h 230"/>
                <a:gd name="T22" fmla="*/ 12 w 171"/>
                <a:gd name="T23" fmla="*/ 0 h 230"/>
                <a:gd name="T24" fmla="*/ 11 w 171"/>
                <a:gd name="T25" fmla="*/ 12 h 230"/>
                <a:gd name="T26" fmla="*/ 0 w 171"/>
                <a:gd name="T27" fmla="*/ 20 h 230"/>
                <a:gd name="T28" fmla="*/ 2 w 171"/>
                <a:gd name="T29" fmla="*/ 36 h 2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1"/>
                <a:gd name="T46" fmla="*/ 0 h 230"/>
                <a:gd name="T47" fmla="*/ 171 w 171"/>
                <a:gd name="T48" fmla="*/ 230 h 2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1" h="230">
                  <a:moveTo>
                    <a:pt x="8" y="144"/>
                  </a:moveTo>
                  <a:lnTo>
                    <a:pt x="4" y="185"/>
                  </a:lnTo>
                  <a:lnTo>
                    <a:pt x="31" y="224"/>
                  </a:lnTo>
                  <a:lnTo>
                    <a:pt x="96" y="230"/>
                  </a:lnTo>
                  <a:lnTo>
                    <a:pt x="148" y="215"/>
                  </a:lnTo>
                  <a:lnTo>
                    <a:pt x="152" y="154"/>
                  </a:lnTo>
                  <a:lnTo>
                    <a:pt x="171" y="108"/>
                  </a:lnTo>
                  <a:lnTo>
                    <a:pt x="163" y="79"/>
                  </a:lnTo>
                  <a:lnTo>
                    <a:pt x="138" y="59"/>
                  </a:lnTo>
                  <a:lnTo>
                    <a:pt x="98" y="35"/>
                  </a:lnTo>
                  <a:lnTo>
                    <a:pt x="98" y="4"/>
                  </a:lnTo>
                  <a:lnTo>
                    <a:pt x="45" y="0"/>
                  </a:lnTo>
                  <a:lnTo>
                    <a:pt x="41" y="45"/>
                  </a:lnTo>
                  <a:lnTo>
                    <a:pt x="0" y="79"/>
                  </a:lnTo>
                  <a:lnTo>
                    <a:pt x="8" y="144"/>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4" name="Freeform 98"/>
            <p:cNvSpPr/>
            <p:nvPr/>
          </p:nvSpPr>
          <p:spPr bwMode="gray">
            <a:xfrm>
              <a:off x="3527" y="2070"/>
              <a:ext cx="86" cy="115"/>
            </a:xfrm>
            <a:custGeom>
              <a:avLst/>
              <a:gdLst>
                <a:gd name="T0" fmla="*/ 2 w 171"/>
                <a:gd name="T1" fmla="*/ 36 h 230"/>
                <a:gd name="T2" fmla="*/ 1 w 171"/>
                <a:gd name="T3" fmla="*/ 47 h 230"/>
                <a:gd name="T4" fmla="*/ 8 w 171"/>
                <a:gd name="T5" fmla="*/ 56 h 230"/>
                <a:gd name="T6" fmla="*/ 24 w 171"/>
                <a:gd name="T7" fmla="*/ 58 h 230"/>
                <a:gd name="T8" fmla="*/ 37 w 171"/>
                <a:gd name="T9" fmla="*/ 54 h 230"/>
                <a:gd name="T10" fmla="*/ 38 w 171"/>
                <a:gd name="T11" fmla="*/ 39 h 230"/>
                <a:gd name="T12" fmla="*/ 43 w 171"/>
                <a:gd name="T13" fmla="*/ 27 h 230"/>
                <a:gd name="T14" fmla="*/ 41 w 171"/>
                <a:gd name="T15" fmla="*/ 20 h 230"/>
                <a:gd name="T16" fmla="*/ 35 w 171"/>
                <a:gd name="T17" fmla="*/ 15 h 230"/>
                <a:gd name="T18" fmla="*/ 25 w 171"/>
                <a:gd name="T19" fmla="*/ 9 h 230"/>
                <a:gd name="T20" fmla="*/ 25 w 171"/>
                <a:gd name="T21" fmla="*/ 1 h 230"/>
                <a:gd name="T22" fmla="*/ 12 w 171"/>
                <a:gd name="T23" fmla="*/ 0 h 230"/>
                <a:gd name="T24" fmla="*/ 11 w 171"/>
                <a:gd name="T25" fmla="*/ 12 h 230"/>
                <a:gd name="T26" fmla="*/ 0 w 171"/>
                <a:gd name="T27" fmla="*/ 20 h 230"/>
                <a:gd name="T28" fmla="*/ 2 w 171"/>
                <a:gd name="T29" fmla="*/ 36 h 2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1"/>
                <a:gd name="T46" fmla="*/ 0 h 230"/>
                <a:gd name="T47" fmla="*/ 171 w 171"/>
                <a:gd name="T48" fmla="*/ 230 h 2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1" h="230">
                  <a:moveTo>
                    <a:pt x="8" y="144"/>
                  </a:moveTo>
                  <a:lnTo>
                    <a:pt x="4" y="185"/>
                  </a:lnTo>
                  <a:lnTo>
                    <a:pt x="31" y="224"/>
                  </a:lnTo>
                  <a:lnTo>
                    <a:pt x="96" y="230"/>
                  </a:lnTo>
                  <a:lnTo>
                    <a:pt x="148" y="215"/>
                  </a:lnTo>
                  <a:lnTo>
                    <a:pt x="152" y="154"/>
                  </a:lnTo>
                  <a:lnTo>
                    <a:pt x="171" y="108"/>
                  </a:lnTo>
                  <a:lnTo>
                    <a:pt x="163" y="79"/>
                  </a:lnTo>
                  <a:lnTo>
                    <a:pt x="138" y="59"/>
                  </a:lnTo>
                  <a:lnTo>
                    <a:pt x="98" y="35"/>
                  </a:lnTo>
                  <a:lnTo>
                    <a:pt x="98" y="4"/>
                  </a:lnTo>
                  <a:lnTo>
                    <a:pt x="45" y="0"/>
                  </a:lnTo>
                  <a:lnTo>
                    <a:pt x="41" y="45"/>
                  </a:lnTo>
                  <a:lnTo>
                    <a:pt x="0" y="79"/>
                  </a:lnTo>
                  <a:lnTo>
                    <a:pt x="8" y="144"/>
                  </a:lnTo>
                </a:path>
              </a:pathLst>
            </a:custGeom>
            <a:grpFill/>
            <a:ln w="6350">
              <a:solidFill>
                <a:schemeClr val="tx1">
                  <a:lumMod val="85000"/>
                  <a:lumOff val="15000"/>
                </a:schemeClr>
              </a:solidFill>
              <a:prstDash val="solid"/>
              <a:round/>
            </a:ln>
          </p:spPr>
          <p:txBody>
            <a:bodyPr/>
            <a:lstStyle/>
            <a:p>
              <a:endParaRPr lang="zh-CN" altLang="en-US" sz="2400"/>
            </a:p>
          </p:txBody>
        </p:sp>
        <p:sp>
          <p:nvSpPr>
            <p:cNvPr id="55" name="Freeform 99"/>
            <p:cNvSpPr/>
            <p:nvPr/>
          </p:nvSpPr>
          <p:spPr bwMode="gray">
            <a:xfrm>
              <a:off x="3643" y="1699"/>
              <a:ext cx="430" cy="429"/>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6" name="Freeform 100"/>
            <p:cNvSpPr/>
            <p:nvPr/>
          </p:nvSpPr>
          <p:spPr bwMode="gray">
            <a:xfrm>
              <a:off x="3643" y="1699"/>
              <a:ext cx="430" cy="429"/>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path>
              </a:pathLst>
            </a:custGeom>
            <a:grpFill/>
            <a:ln w="6350">
              <a:solidFill>
                <a:schemeClr val="tx1">
                  <a:lumMod val="85000"/>
                  <a:lumOff val="15000"/>
                </a:schemeClr>
              </a:solidFill>
              <a:prstDash val="solid"/>
              <a:round/>
            </a:ln>
          </p:spPr>
          <p:txBody>
            <a:bodyPr/>
            <a:lstStyle/>
            <a:p>
              <a:endParaRPr lang="zh-CN" altLang="en-US" sz="2400"/>
            </a:p>
          </p:txBody>
        </p:sp>
        <p:sp>
          <p:nvSpPr>
            <p:cNvPr id="57" name="Freeform 101"/>
            <p:cNvSpPr/>
            <p:nvPr/>
          </p:nvSpPr>
          <p:spPr bwMode="gray">
            <a:xfrm>
              <a:off x="3738" y="1458"/>
              <a:ext cx="630" cy="431"/>
            </a:xfrm>
            <a:custGeom>
              <a:avLst/>
              <a:gdLst>
                <a:gd name="T0" fmla="*/ 315 w 1260"/>
                <a:gd name="T1" fmla="*/ 87 h 862"/>
                <a:gd name="T2" fmla="*/ 309 w 1260"/>
                <a:gd name="T3" fmla="*/ 91 h 862"/>
                <a:gd name="T4" fmla="*/ 299 w 1260"/>
                <a:gd name="T5" fmla="*/ 98 h 862"/>
                <a:gd name="T6" fmla="*/ 293 w 1260"/>
                <a:gd name="T7" fmla="*/ 101 h 862"/>
                <a:gd name="T8" fmla="*/ 287 w 1260"/>
                <a:gd name="T9" fmla="*/ 98 h 862"/>
                <a:gd name="T10" fmla="*/ 279 w 1260"/>
                <a:gd name="T11" fmla="*/ 94 h 862"/>
                <a:gd name="T12" fmla="*/ 277 w 1260"/>
                <a:gd name="T13" fmla="*/ 106 h 862"/>
                <a:gd name="T14" fmla="*/ 274 w 1260"/>
                <a:gd name="T15" fmla="*/ 119 h 862"/>
                <a:gd name="T16" fmla="*/ 265 w 1260"/>
                <a:gd name="T17" fmla="*/ 127 h 862"/>
                <a:gd name="T18" fmla="*/ 263 w 1260"/>
                <a:gd name="T19" fmla="*/ 136 h 862"/>
                <a:gd name="T20" fmla="*/ 254 w 1260"/>
                <a:gd name="T21" fmla="*/ 143 h 862"/>
                <a:gd name="T22" fmla="*/ 241 w 1260"/>
                <a:gd name="T23" fmla="*/ 147 h 862"/>
                <a:gd name="T24" fmla="*/ 233 w 1260"/>
                <a:gd name="T25" fmla="*/ 149 h 862"/>
                <a:gd name="T26" fmla="*/ 236 w 1260"/>
                <a:gd name="T27" fmla="*/ 157 h 862"/>
                <a:gd name="T28" fmla="*/ 244 w 1260"/>
                <a:gd name="T29" fmla="*/ 167 h 862"/>
                <a:gd name="T30" fmla="*/ 241 w 1260"/>
                <a:gd name="T31" fmla="*/ 175 h 862"/>
                <a:gd name="T32" fmla="*/ 226 w 1260"/>
                <a:gd name="T33" fmla="*/ 177 h 862"/>
                <a:gd name="T34" fmla="*/ 216 w 1260"/>
                <a:gd name="T35" fmla="*/ 177 h 862"/>
                <a:gd name="T36" fmla="*/ 207 w 1260"/>
                <a:gd name="T37" fmla="*/ 177 h 862"/>
                <a:gd name="T38" fmla="*/ 202 w 1260"/>
                <a:gd name="T39" fmla="*/ 172 h 862"/>
                <a:gd name="T40" fmla="*/ 196 w 1260"/>
                <a:gd name="T41" fmla="*/ 170 h 862"/>
                <a:gd name="T42" fmla="*/ 191 w 1260"/>
                <a:gd name="T43" fmla="*/ 183 h 862"/>
                <a:gd name="T44" fmla="*/ 185 w 1260"/>
                <a:gd name="T45" fmla="*/ 199 h 862"/>
                <a:gd name="T46" fmla="*/ 178 w 1260"/>
                <a:gd name="T47" fmla="*/ 213 h 862"/>
                <a:gd name="T48" fmla="*/ 169 w 1260"/>
                <a:gd name="T49" fmla="*/ 216 h 862"/>
                <a:gd name="T50" fmla="*/ 147 w 1260"/>
                <a:gd name="T51" fmla="*/ 181 h 862"/>
                <a:gd name="T52" fmla="*/ 122 w 1260"/>
                <a:gd name="T53" fmla="*/ 132 h 862"/>
                <a:gd name="T54" fmla="*/ 66 w 1260"/>
                <a:gd name="T55" fmla="*/ 99 h 862"/>
                <a:gd name="T56" fmla="*/ 28 w 1260"/>
                <a:gd name="T57" fmla="*/ 96 h 862"/>
                <a:gd name="T58" fmla="*/ 21 w 1260"/>
                <a:gd name="T59" fmla="*/ 55 h 862"/>
                <a:gd name="T60" fmla="*/ 6 w 1260"/>
                <a:gd name="T61" fmla="*/ 26 h 862"/>
                <a:gd name="T62" fmla="*/ 33 w 1260"/>
                <a:gd name="T63" fmla="*/ 29 h 862"/>
                <a:gd name="T64" fmla="*/ 64 w 1260"/>
                <a:gd name="T65" fmla="*/ 0 h 862"/>
                <a:gd name="T66" fmla="*/ 101 w 1260"/>
                <a:gd name="T67" fmla="*/ 27 h 862"/>
                <a:gd name="T68" fmla="*/ 133 w 1260"/>
                <a:gd name="T69" fmla="*/ 34 h 862"/>
                <a:gd name="T70" fmla="*/ 172 w 1260"/>
                <a:gd name="T71" fmla="*/ 48 h 862"/>
                <a:gd name="T72" fmla="*/ 206 w 1260"/>
                <a:gd name="T73" fmla="*/ 62 h 862"/>
                <a:gd name="T74" fmla="*/ 214 w 1260"/>
                <a:gd name="T75" fmla="*/ 42 h 862"/>
                <a:gd name="T76" fmla="*/ 217 w 1260"/>
                <a:gd name="T77" fmla="*/ 53 h 862"/>
                <a:gd name="T78" fmla="*/ 219 w 1260"/>
                <a:gd name="T79" fmla="*/ 58 h 862"/>
                <a:gd name="T80" fmla="*/ 227 w 1260"/>
                <a:gd name="T81" fmla="*/ 65 h 862"/>
                <a:gd name="T82" fmla="*/ 243 w 1260"/>
                <a:gd name="T83" fmla="*/ 80 h 862"/>
                <a:gd name="T84" fmla="*/ 265 w 1260"/>
                <a:gd name="T85" fmla="*/ 51 h 862"/>
                <a:gd name="T86" fmla="*/ 312 w 1260"/>
                <a:gd name="T87" fmla="*/ 62 h 8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60"/>
                <a:gd name="T133" fmla="*/ 0 h 862"/>
                <a:gd name="T134" fmla="*/ 1260 w 1260"/>
                <a:gd name="T135" fmla="*/ 862 h 8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60" h="862">
                  <a:moveTo>
                    <a:pt x="1246" y="248"/>
                  </a:moveTo>
                  <a:lnTo>
                    <a:pt x="1260" y="267"/>
                  </a:lnTo>
                  <a:lnTo>
                    <a:pt x="1258" y="348"/>
                  </a:lnTo>
                  <a:lnTo>
                    <a:pt x="1254" y="350"/>
                  </a:lnTo>
                  <a:lnTo>
                    <a:pt x="1246" y="356"/>
                  </a:lnTo>
                  <a:lnTo>
                    <a:pt x="1233" y="364"/>
                  </a:lnTo>
                  <a:lnTo>
                    <a:pt x="1219" y="374"/>
                  </a:lnTo>
                  <a:lnTo>
                    <a:pt x="1205" y="382"/>
                  </a:lnTo>
                  <a:lnTo>
                    <a:pt x="1195" y="390"/>
                  </a:lnTo>
                  <a:lnTo>
                    <a:pt x="1187" y="395"/>
                  </a:lnTo>
                  <a:lnTo>
                    <a:pt x="1179" y="399"/>
                  </a:lnTo>
                  <a:lnTo>
                    <a:pt x="1170" y="401"/>
                  </a:lnTo>
                  <a:lnTo>
                    <a:pt x="1160" y="401"/>
                  </a:lnTo>
                  <a:lnTo>
                    <a:pt x="1154" y="395"/>
                  </a:lnTo>
                  <a:lnTo>
                    <a:pt x="1146" y="390"/>
                  </a:lnTo>
                  <a:lnTo>
                    <a:pt x="1136" y="380"/>
                  </a:lnTo>
                  <a:lnTo>
                    <a:pt x="1124" y="376"/>
                  </a:lnTo>
                  <a:lnTo>
                    <a:pt x="1114" y="376"/>
                  </a:lnTo>
                  <a:lnTo>
                    <a:pt x="1110" y="384"/>
                  </a:lnTo>
                  <a:lnTo>
                    <a:pt x="1107" y="401"/>
                  </a:lnTo>
                  <a:lnTo>
                    <a:pt x="1105" y="423"/>
                  </a:lnTo>
                  <a:lnTo>
                    <a:pt x="1103" y="443"/>
                  </a:lnTo>
                  <a:lnTo>
                    <a:pt x="1101" y="460"/>
                  </a:lnTo>
                  <a:lnTo>
                    <a:pt x="1095" y="476"/>
                  </a:lnTo>
                  <a:lnTo>
                    <a:pt x="1085" y="490"/>
                  </a:lnTo>
                  <a:lnTo>
                    <a:pt x="1069" y="500"/>
                  </a:lnTo>
                  <a:lnTo>
                    <a:pt x="1059" y="508"/>
                  </a:lnTo>
                  <a:lnTo>
                    <a:pt x="1055" y="519"/>
                  </a:lnTo>
                  <a:lnTo>
                    <a:pt x="1053" y="531"/>
                  </a:lnTo>
                  <a:lnTo>
                    <a:pt x="1051" y="541"/>
                  </a:lnTo>
                  <a:lnTo>
                    <a:pt x="1045" y="551"/>
                  </a:lnTo>
                  <a:lnTo>
                    <a:pt x="1032" y="559"/>
                  </a:lnTo>
                  <a:lnTo>
                    <a:pt x="1016" y="569"/>
                  </a:lnTo>
                  <a:lnTo>
                    <a:pt x="996" y="576"/>
                  </a:lnTo>
                  <a:lnTo>
                    <a:pt x="979" y="584"/>
                  </a:lnTo>
                  <a:lnTo>
                    <a:pt x="965" y="588"/>
                  </a:lnTo>
                  <a:lnTo>
                    <a:pt x="951" y="590"/>
                  </a:lnTo>
                  <a:lnTo>
                    <a:pt x="941" y="592"/>
                  </a:lnTo>
                  <a:lnTo>
                    <a:pt x="933" y="596"/>
                  </a:lnTo>
                  <a:lnTo>
                    <a:pt x="929" y="604"/>
                  </a:lnTo>
                  <a:lnTo>
                    <a:pt x="933" y="614"/>
                  </a:lnTo>
                  <a:lnTo>
                    <a:pt x="943" y="628"/>
                  </a:lnTo>
                  <a:lnTo>
                    <a:pt x="955" y="641"/>
                  </a:lnTo>
                  <a:lnTo>
                    <a:pt x="967" y="651"/>
                  </a:lnTo>
                  <a:lnTo>
                    <a:pt x="977" y="665"/>
                  </a:lnTo>
                  <a:lnTo>
                    <a:pt x="981" y="677"/>
                  </a:lnTo>
                  <a:lnTo>
                    <a:pt x="975" y="691"/>
                  </a:lnTo>
                  <a:lnTo>
                    <a:pt x="963" y="699"/>
                  </a:lnTo>
                  <a:lnTo>
                    <a:pt x="943" y="702"/>
                  </a:lnTo>
                  <a:lnTo>
                    <a:pt x="923" y="704"/>
                  </a:lnTo>
                  <a:lnTo>
                    <a:pt x="906" y="706"/>
                  </a:lnTo>
                  <a:lnTo>
                    <a:pt x="892" y="708"/>
                  </a:lnTo>
                  <a:lnTo>
                    <a:pt x="880" y="708"/>
                  </a:lnTo>
                  <a:lnTo>
                    <a:pt x="864" y="708"/>
                  </a:lnTo>
                  <a:lnTo>
                    <a:pt x="847" y="706"/>
                  </a:lnTo>
                  <a:lnTo>
                    <a:pt x="833" y="706"/>
                  </a:lnTo>
                  <a:lnTo>
                    <a:pt x="827" y="706"/>
                  </a:lnTo>
                  <a:lnTo>
                    <a:pt x="825" y="702"/>
                  </a:lnTo>
                  <a:lnTo>
                    <a:pt x="819" y="697"/>
                  </a:lnTo>
                  <a:lnTo>
                    <a:pt x="809" y="687"/>
                  </a:lnTo>
                  <a:lnTo>
                    <a:pt x="799" y="679"/>
                  </a:lnTo>
                  <a:lnTo>
                    <a:pt x="792" y="675"/>
                  </a:lnTo>
                  <a:lnTo>
                    <a:pt x="786" y="679"/>
                  </a:lnTo>
                  <a:lnTo>
                    <a:pt x="780" y="691"/>
                  </a:lnTo>
                  <a:lnTo>
                    <a:pt x="774" y="708"/>
                  </a:lnTo>
                  <a:lnTo>
                    <a:pt x="766" y="732"/>
                  </a:lnTo>
                  <a:lnTo>
                    <a:pt x="756" y="756"/>
                  </a:lnTo>
                  <a:lnTo>
                    <a:pt x="748" y="777"/>
                  </a:lnTo>
                  <a:lnTo>
                    <a:pt x="742" y="795"/>
                  </a:lnTo>
                  <a:lnTo>
                    <a:pt x="733" y="821"/>
                  </a:lnTo>
                  <a:lnTo>
                    <a:pt x="723" y="838"/>
                  </a:lnTo>
                  <a:lnTo>
                    <a:pt x="711" y="850"/>
                  </a:lnTo>
                  <a:lnTo>
                    <a:pt x="699" y="854"/>
                  </a:lnTo>
                  <a:lnTo>
                    <a:pt x="687" y="858"/>
                  </a:lnTo>
                  <a:lnTo>
                    <a:pt x="677" y="862"/>
                  </a:lnTo>
                  <a:lnTo>
                    <a:pt x="671" y="862"/>
                  </a:lnTo>
                  <a:lnTo>
                    <a:pt x="671" y="799"/>
                  </a:lnTo>
                  <a:lnTo>
                    <a:pt x="585" y="722"/>
                  </a:lnTo>
                  <a:lnTo>
                    <a:pt x="595" y="669"/>
                  </a:lnTo>
                  <a:lnTo>
                    <a:pt x="536" y="602"/>
                  </a:lnTo>
                  <a:lnTo>
                    <a:pt x="490" y="527"/>
                  </a:lnTo>
                  <a:lnTo>
                    <a:pt x="335" y="482"/>
                  </a:lnTo>
                  <a:lnTo>
                    <a:pt x="297" y="460"/>
                  </a:lnTo>
                  <a:lnTo>
                    <a:pt x="262" y="393"/>
                  </a:lnTo>
                  <a:lnTo>
                    <a:pt x="223" y="327"/>
                  </a:lnTo>
                  <a:lnTo>
                    <a:pt x="144" y="388"/>
                  </a:lnTo>
                  <a:lnTo>
                    <a:pt x="114" y="382"/>
                  </a:lnTo>
                  <a:lnTo>
                    <a:pt x="112" y="352"/>
                  </a:lnTo>
                  <a:lnTo>
                    <a:pt x="77" y="303"/>
                  </a:lnTo>
                  <a:lnTo>
                    <a:pt x="83" y="220"/>
                  </a:lnTo>
                  <a:lnTo>
                    <a:pt x="42" y="165"/>
                  </a:lnTo>
                  <a:lnTo>
                    <a:pt x="0" y="157"/>
                  </a:lnTo>
                  <a:lnTo>
                    <a:pt x="24" y="102"/>
                  </a:lnTo>
                  <a:lnTo>
                    <a:pt x="67" y="116"/>
                  </a:lnTo>
                  <a:lnTo>
                    <a:pt x="83" y="96"/>
                  </a:lnTo>
                  <a:lnTo>
                    <a:pt x="132" y="118"/>
                  </a:lnTo>
                  <a:lnTo>
                    <a:pt x="124" y="53"/>
                  </a:lnTo>
                  <a:lnTo>
                    <a:pt x="160" y="23"/>
                  </a:lnTo>
                  <a:lnTo>
                    <a:pt x="256" y="0"/>
                  </a:lnTo>
                  <a:lnTo>
                    <a:pt x="280" y="63"/>
                  </a:lnTo>
                  <a:lnTo>
                    <a:pt x="343" y="132"/>
                  </a:lnTo>
                  <a:lnTo>
                    <a:pt x="406" y="110"/>
                  </a:lnTo>
                  <a:lnTo>
                    <a:pt x="453" y="114"/>
                  </a:lnTo>
                  <a:lnTo>
                    <a:pt x="488" y="81"/>
                  </a:lnTo>
                  <a:lnTo>
                    <a:pt x="530" y="134"/>
                  </a:lnTo>
                  <a:lnTo>
                    <a:pt x="650" y="110"/>
                  </a:lnTo>
                  <a:lnTo>
                    <a:pt x="673" y="142"/>
                  </a:lnTo>
                  <a:lnTo>
                    <a:pt x="689" y="191"/>
                  </a:lnTo>
                  <a:lnTo>
                    <a:pt x="742" y="177"/>
                  </a:lnTo>
                  <a:lnTo>
                    <a:pt x="790" y="250"/>
                  </a:lnTo>
                  <a:lnTo>
                    <a:pt x="823" y="248"/>
                  </a:lnTo>
                  <a:lnTo>
                    <a:pt x="813" y="167"/>
                  </a:lnTo>
                  <a:lnTo>
                    <a:pt x="853" y="161"/>
                  </a:lnTo>
                  <a:lnTo>
                    <a:pt x="855" y="167"/>
                  </a:lnTo>
                  <a:lnTo>
                    <a:pt x="858" y="179"/>
                  </a:lnTo>
                  <a:lnTo>
                    <a:pt x="864" y="195"/>
                  </a:lnTo>
                  <a:lnTo>
                    <a:pt x="868" y="212"/>
                  </a:lnTo>
                  <a:lnTo>
                    <a:pt x="872" y="224"/>
                  </a:lnTo>
                  <a:lnTo>
                    <a:pt x="874" y="232"/>
                  </a:lnTo>
                  <a:lnTo>
                    <a:pt x="878" y="234"/>
                  </a:lnTo>
                  <a:lnTo>
                    <a:pt x="886" y="242"/>
                  </a:lnTo>
                  <a:lnTo>
                    <a:pt x="896" y="250"/>
                  </a:lnTo>
                  <a:lnTo>
                    <a:pt x="908" y="258"/>
                  </a:lnTo>
                  <a:lnTo>
                    <a:pt x="916" y="262"/>
                  </a:lnTo>
                  <a:lnTo>
                    <a:pt x="920" y="266"/>
                  </a:lnTo>
                  <a:lnTo>
                    <a:pt x="971" y="319"/>
                  </a:lnTo>
                  <a:lnTo>
                    <a:pt x="994" y="293"/>
                  </a:lnTo>
                  <a:lnTo>
                    <a:pt x="1010" y="238"/>
                  </a:lnTo>
                  <a:lnTo>
                    <a:pt x="1059" y="201"/>
                  </a:lnTo>
                  <a:lnTo>
                    <a:pt x="1126" y="226"/>
                  </a:lnTo>
                  <a:lnTo>
                    <a:pt x="1203" y="252"/>
                  </a:lnTo>
                  <a:lnTo>
                    <a:pt x="1246" y="248"/>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58" name="Freeform 102"/>
            <p:cNvSpPr/>
            <p:nvPr/>
          </p:nvSpPr>
          <p:spPr bwMode="gray">
            <a:xfrm>
              <a:off x="3738" y="1458"/>
              <a:ext cx="630" cy="431"/>
            </a:xfrm>
            <a:custGeom>
              <a:avLst/>
              <a:gdLst>
                <a:gd name="T0" fmla="*/ 315 w 1260"/>
                <a:gd name="T1" fmla="*/ 87 h 862"/>
                <a:gd name="T2" fmla="*/ 309 w 1260"/>
                <a:gd name="T3" fmla="*/ 91 h 862"/>
                <a:gd name="T4" fmla="*/ 299 w 1260"/>
                <a:gd name="T5" fmla="*/ 98 h 862"/>
                <a:gd name="T6" fmla="*/ 293 w 1260"/>
                <a:gd name="T7" fmla="*/ 101 h 862"/>
                <a:gd name="T8" fmla="*/ 287 w 1260"/>
                <a:gd name="T9" fmla="*/ 98 h 862"/>
                <a:gd name="T10" fmla="*/ 279 w 1260"/>
                <a:gd name="T11" fmla="*/ 94 h 862"/>
                <a:gd name="T12" fmla="*/ 277 w 1260"/>
                <a:gd name="T13" fmla="*/ 106 h 862"/>
                <a:gd name="T14" fmla="*/ 274 w 1260"/>
                <a:gd name="T15" fmla="*/ 119 h 862"/>
                <a:gd name="T16" fmla="*/ 265 w 1260"/>
                <a:gd name="T17" fmla="*/ 127 h 862"/>
                <a:gd name="T18" fmla="*/ 263 w 1260"/>
                <a:gd name="T19" fmla="*/ 136 h 862"/>
                <a:gd name="T20" fmla="*/ 254 w 1260"/>
                <a:gd name="T21" fmla="*/ 143 h 862"/>
                <a:gd name="T22" fmla="*/ 241 w 1260"/>
                <a:gd name="T23" fmla="*/ 147 h 862"/>
                <a:gd name="T24" fmla="*/ 233 w 1260"/>
                <a:gd name="T25" fmla="*/ 149 h 862"/>
                <a:gd name="T26" fmla="*/ 236 w 1260"/>
                <a:gd name="T27" fmla="*/ 157 h 862"/>
                <a:gd name="T28" fmla="*/ 244 w 1260"/>
                <a:gd name="T29" fmla="*/ 167 h 862"/>
                <a:gd name="T30" fmla="*/ 241 w 1260"/>
                <a:gd name="T31" fmla="*/ 175 h 862"/>
                <a:gd name="T32" fmla="*/ 226 w 1260"/>
                <a:gd name="T33" fmla="*/ 177 h 862"/>
                <a:gd name="T34" fmla="*/ 216 w 1260"/>
                <a:gd name="T35" fmla="*/ 177 h 862"/>
                <a:gd name="T36" fmla="*/ 207 w 1260"/>
                <a:gd name="T37" fmla="*/ 177 h 862"/>
                <a:gd name="T38" fmla="*/ 202 w 1260"/>
                <a:gd name="T39" fmla="*/ 172 h 862"/>
                <a:gd name="T40" fmla="*/ 196 w 1260"/>
                <a:gd name="T41" fmla="*/ 170 h 862"/>
                <a:gd name="T42" fmla="*/ 191 w 1260"/>
                <a:gd name="T43" fmla="*/ 183 h 862"/>
                <a:gd name="T44" fmla="*/ 185 w 1260"/>
                <a:gd name="T45" fmla="*/ 199 h 862"/>
                <a:gd name="T46" fmla="*/ 178 w 1260"/>
                <a:gd name="T47" fmla="*/ 213 h 862"/>
                <a:gd name="T48" fmla="*/ 169 w 1260"/>
                <a:gd name="T49" fmla="*/ 216 h 862"/>
                <a:gd name="T50" fmla="*/ 147 w 1260"/>
                <a:gd name="T51" fmla="*/ 181 h 862"/>
                <a:gd name="T52" fmla="*/ 122 w 1260"/>
                <a:gd name="T53" fmla="*/ 132 h 862"/>
                <a:gd name="T54" fmla="*/ 66 w 1260"/>
                <a:gd name="T55" fmla="*/ 99 h 862"/>
                <a:gd name="T56" fmla="*/ 28 w 1260"/>
                <a:gd name="T57" fmla="*/ 96 h 862"/>
                <a:gd name="T58" fmla="*/ 21 w 1260"/>
                <a:gd name="T59" fmla="*/ 55 h 862"/>
                <a:gd name="T60" fmla="*/ 6 w 1260"/>
                <a:gd name="T61" fmla="*/ 26 h 862"/>
                <a:gd name="T62" fmla="*/ 33 w 1260"/>
                <a:gd name="T63" fmla="*/ 29 h 862"/>
                <a:gd name="T64" fmla="*/ 64 w 1260"/>
                <a:gd name="T65" fmla="*/ 0 h 862"/>
                <a:gd name="T66" fmla="*/ 101 w 1260"/>
                <a:gd name="T67" fmla="*/ 27 h 862"/>
                <a:gd name="T68" fmla="*/ 133 w 1260"/>
                <a:gd name="T69" fmla="*/ 34 h 862"/>
                <a:gd name="T70" fmla="*/ 172 w 1260"/>
                <a:gd name="T71" fmla="*/ 48 h 862"/>
                <a:gd name="T72" fmla="*/ 206 w 1260"/>
                <a:gd name="T73" fmla="*/ 62 h 862"/>
                <a:gd name="T74" fmla="*/ 214 w 1260"/>
                <a:gd name="T75" fmla="*/ 42 h 862"/>
                <a:gd name="T76" fmla="*/ 217 w 1260"/>
                <a:gd name="T77" fmla="*/ 53 h 862"/>
                <a:gd name="T78" fmla="*/ 219 w 1260"/>
                <a:gd name="T79" fmla="*/ 58 h 862"/>
                <a:gd name="T80" fmla="*/ 227 w 1260"/>
                <a:gd name="T81" fmla="*/ 65 h 862"/>
                <a:gd name="T82" fmla="*/ 243 w 1260"/>
                <a:gd name="T83" fmla="*/ 80 h 862"/>
                <a:gd name="T84" fmla="*/ 265 w 1260"/>
                <a:gd name="T85" fmla="*/ 51 h 862"/>
                <a:gd name="T86" fmla="*/ 312 w 1260"/>
                <a:gd name="T87" fmla="*/ 62 h 8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60"/>
                <a:gd name="T133" fmla="*/ 0 h 862"/>
                <a:gd name="T134" fmla="*/ 1260 w 1260"/>
                <a:gd name="T135" fmla="*/ 862 h 8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60" h="862">
                  <a:moveTo>
                    <a:pt x="1246" y="248"/>
                  </a:moveTo>
                  <a:lnTo>
                    <a:pt x="1260" y="267"/>
                  </a:lnTo>
                  <a:lnTo>
                    <a:pt x="1258" y="348"/>
                  </a:lnTo>
                  <a:lnTo>
                    <a:pt x="1254" y="350"/>
                  </a:lnTo>
                  <a:lnTo>
                    <a:pt x="1246" y="356"/>
                  </a:lnTo>
                  <a:lnTo>
                    <a:pt x="1233" y="364"/>
                  </a:lnTo>
                  <a:lnTo>
                    <a:pt x="1219" y="374"/>
                  </a:lnTo>
                  <a:lnTo>
                    <a:pt x="1205" y="382"/>
                  </a:lnTo>
                  <a:lnTo>
                    <a:pt x="1195" y="390"/>
                  </a:lnTo>
                  <a:lnTo>
                    <a:pt x="1187" y="395"/>
                  </a:lnTo>
                  <a:lnTo>
                    <a:pt x="1179" y="399"/>
                  </a:lnTo>
                  <a:lnTo>
                    <a:pt x="1170" y="401"/>
                  </a:lnTo>
                  <a:lnTo>
                    <a:pt x="1160" y="401"/>
                  </a:lnTo>
                  <a:lnTo>
                    <a:pt x="1154" y="395"/>
                  </a:lnTo>
                  <a:lnTo>
                    <a:pt x="1146" y="390"/>
                  </a:lnTo>
                  <a:lnTo>
                    <a:pt x="1136" y="380"/>
                  </a:lnTo>
                  <a:lnTo>
                    <a:pt x="1124" y="376"/>
                  </a:lnTo>
                  <a:lnTo>
                    <a:pt x="1114" y="376"/>
                  </a:lnTo>
                  <a:lnTo>
                    <a:pt x="1110" y="384"/>
                  </a:lnTo>
                  <a:lnTo>
                    <a:pt x="1107" y="401"/>
                  </a:lnTo>
                  <a:lnTo>
                    <a:pt x="1105" y="423"/>
                  </a:lnTo>
                  <a:lnTo>
                    <a:pt x="1103" y="443"/>
                  </a:lnTo>
                  <a:lnTo>
                    <a:pt x="1101" y="460"/>
                  </a:lnTo>
                  <a:lnTo>
                    <a:pt x="1095" y="476"/>
                  </a:lnTo>
                  <a:lnTo>
                    <a:pt x="1085" y="490"/>
                  </a:lnTo>
                  <a:lnTo>
                    <a:pt x="1069" y="500"/>
                  </a:lnTo>
                  <a:lnTo>
                    <a:pt x="1059" y="508"/>
                  </a:lnTo>
                  <a:lnTo>
                    <a:pt x="1055" y="519"/>
                  </a:lnTo>
                  <a:lnTo>
                    <a:pt x="1053" y="531"/>
                  </a:lnTo>
                  <a:lnTo>
                    <a:pt x="1051" y="541"/>
                  </a:lnTo>
                  <a:lnTo>
                    <a:pt x="1045" y="551"/>
                  </a:lnTo>
                  <a:lnTo>
                    <a:pt x="1032" y="559"/>
                  </a:lnTo>
                  <a:lnTo>
                    <a:pt x="1016" y="569"/>
                  </a:lnTo>
                  <a:lnTo>
                    <a:pt x="996" y="576"/>
                  </a:lnTo>
                  <a:lnTo>
                    <a:pt x="979" y="584"/>
                  </a:lnTo>
                  <a:lnTo>
                    <a:pt x="965" y="588"/>
                  </a:lnTo>
                  <a:lnTo>
                    <a:pt x="951" y="590"/>
                  </a:lnTo>
                  <a:lnTo>
                    <a:pt x="941" y="592"/>
                  </a:lnTo>
                  <a:lnTo>
                    <a:pt x="933" y="596"/>
                  </a:lnTo>
                  <a:lnTo>
                    <a:pt x="929" y="604"/>
                  </a:lnTo>
                  <a:lnTo>
                    <a:pt x="933" y="614"/>
                  </a:lnTo>
                  <a:lnTo>
                    <a:pt x="943" y="628"/>
                  </a:lnTo>
                  <a:lnTo>
                    <a:pt x="955" y="641"/>
                  </a:lnTo>
                  <a:lnTo>
                    <a:pt x="967" y="651"/>
                  </a:lnTo>
                  <a:lnTo>
                    <a:pt x="977" y="665"/>
                  </a:lnTo>
                  <a:lnTo>
                    <a:pt x="981" y="677"/>
                  </a:lnTo>
                  <a:lnTo>
                    <a:pt x="975" y="691"/>
                  </a:lnTo>
                  <a:lnTo>
                    <a:pt x="963" y="699"/>
                  </a:lnTo>
                  <a:lnTo>
                    <a:pt x="943" y="702"/>
                  </a:lnTo>
                  <a:lnTo>
                    <a:pt x="923" y="704"/>
                  </a:lnTo>
                  <a:lnTo>
                    <a:pt x="906" y="706"/>
                  </a:lnTo>
                  <a:lnTo>
                    <a:pt x="892" y="708"/>
                  </a:lnTo>
                  <a:lnTo>
                    <a:pt x="880" y="708"/>
                  </a:lnTo>
                  <a:lnTo>
                    <a:pt x="864" y="708"/>
                  </a:lnTo>
                  <a:lnTo>
                    <a:pt x="847" y="706"/>
                  </a:lnTo>
                  <a:lnTo>
                    <a:pt x="833" y="706"/>
                  </a:lnTo>
                  <a:lnTo>
                    <a:pt x="827" y="706"/>
                  </a:lnTo>
                  <a:lnTo>
                    <a:pt x="825" y="702"/>
                  </a:lnTo>
                  <a:lnTo>
                    <a:pt x="819" y="697"/>
                  </a:lnTo>
                  <a:lnTo>
                    <a:pt x="809" y="687"/>
                  </a:lnTo>
                  <a:lnTo>
                    <a:pt x="799" y="679"/>
                  </a:lnTo>
                  <a:lnTo>
                    <a:pt x="792" y="675"/>
                  </a:lnTo>
                  <a:lnTo>
                    <a:pt x="786" y="679"/>
                  </a:lnTo>
                  <a:lnTo>
                    <a:pt x="780" y="691"/>
                  </a:lnTo>
                  <a:lnTo>
                    <a:pt x="774" y="708"/>
                  </a:lnTo>
                  <a:lnTo>
                    <a:pt x="766" y="732"/>
                  </a:lnTo>
                  <a:lnTo>
                    <a:pt x="756" y="756"/>
                  </a:lnTo>
                  <a:lnTo>
                    <a:pt x="748" y="777"/>
                  </a:lnTo>
                  <a:lnTo>
                    <a:pt x="742" y="795"/>
                  </a:lnTo>
                  <a:lnTo>
                    <a:pt x="733" y="821"/>
                  </a:lnTo>
                  <a:lnTo>
                    <a:pt x="723" y="838"/>
                  </a:lnTo>
                  <a:lnTo>
                    <a:pt x="711" y="850"/>
                  </a:lnTo>
                  <a:lnTo>
                    <a:pt x="699" y="854"/>
                  </a:lnTo>
                  <a:lnTo>
                    <a:pt x="687" y="858"/>
                  </a:lnTo>
                  <a:lnTo>
                    <a:pt x="677" y="862"/>
                  </a:lnTo>
                  <a:lnTo>
                    <a:pt x="671" y="862"/>
                  </a:lnTo>
                  <a:lnTo>
                    <a:pt x="671" y="799"/>
                  </a:lnTo>
                  <a:lnTo>
                    <a:pt x="585" y="722"/>
                  </a:lnTo>
                  <a:lnTo>
                    <a:pt x="595" y="669"/>
                  </a:lnTo>
                  <a:lnTo>
                    <a:pt x="536" y="602"/>
                  </a:lnTo>
                  <a:lnTo>
                    <a:pt x="490" y="527"/>
                  </a:lnTo>
                  <a:lnTo>
                    <a:pt x="335" y="482"/>
                  </a:lnTo>
                  <a:lnTo>
                    <a:pt x="297" y="460"/>
                  </a:lnTo>
                  <a:lnTo>
                    <a:pt x="262" y="393"/>
                  </a:lnTo>
                  <a:lnTo>
                    <a:pt x="223" y="327"/>
                  </a:lnTo>
                  <a:lnTo>
                    <a:pt x="144" y="388"/>
                  </a:lnTo>
                  <a:lnTo>
                    <a:pt x="114" y="382"/>
                  </a:lnTo>
                  <a:lnTo>
                    <a:pt x="112" y="352"/>
                  </a:lnTo>
                  <a:lnTo>
                    <a:pt x="77" y="303"/>
                  </a:lnTo>
                  <a:lnTo>
                    <a:pt x="83" y="220"/>
                  </a:lnTo>
                  <a:lnTo>
                    <a:pt x="42" y="165"/>
                  </a:lnTo>
                  <a:lnTo>
                    <a:pt x="0" y="157"/>
                  </a:lnTo>
                  <a:lnTo>
                    <a:pt x="24" y="102"/>
                  </a:lnTo>
                  <a:lnTo>
                    <a:pt x="67" y="116"/>
                  </a:lnTo>
                  <a:lnTo>
                    <a:pt x="83" y="96"/>
                  </a:lnTo>
                  <a:lnTo>
                    <a:pt x="132" y="118"/>
                  </a:lnTo>
                  <a:lnTo>
                    <a:pt x="124" y="53"/>
                  </a:lnTo>
                  <a:lnTo>
                    <a:pt x="160" y="23"/>
                  </a:lnTo>
                  <a:lnTo>
                    <a:pt x="256" y="0"/>
                  </a:lnTo>
                  <a:lnTo>
                    <a:pt x="280" y="63"/>
                  </a:lnTo>
                  <a:lnTo>
                    <a:pt x="343" y="132"/>
                  </a:lnTo>
                  <a:lnTo>
                    <a:pt x="406" y="110"/>
                  </a:lnTo>
                  <a:lnTo>
                    <a:pt x="453" y="114"/>
                  </a:lnTo>
                  <a:lnTo>
                    <a:pt x="488" y="81"/>
                  </a:lnTo>
                  <a:lnTo>
                    <a:pt x="530" y="134"/>
                  </a:lnTo>
                  <a:lnTo>
                    <a:pt x="650" y="110"/>
                  </a:lnTo>
                  <a:lnTo>
                    <a:pt x="673" y="142"/>
                  </a:lnTo>
                  <a:lnTo>
                    <a:pt x="689" y="191"/>
                  </a:lnTo>
                  <a:lnTo>
                    <a:pt x="742" y="177"/>
                  </a:lnTo>
                  <a:lnTo>
                    <a:pt x="790" y="250"/>
                  </a:lnTo>
                  <a:lnTo>
                    <a:pt x="823" y="248"/>
                  </a:lnTo>
                  <a:lnTo>
                    <a:pt x="813" y="167"/>
                  </a:lnTo>
                  <a:lnTo>
                    <a:pt x="853" y="161"/>
                  </a:lnTo>
                  <a:lnTo>
                    <a:pt x="855" y="167"/>
                  </a:lnTo>
                  <a:lnTo>
                    <a:pt x="858" y="179"/>
                  </a:lnTo>
                  <a:lnTo>
                    <a:pt x="864" y="195"/>
                  </a:lnTo>
                  <a:lnTo>
                    <a:pt x="868" y="212"/>
                  </a:lnTo>
                  <a:lnTo>
                    <a:pt x="872" y="224"/>
                  </a:lnTo>
                  <a:lnTo>
                    <a:pt x="874" y="232"/>
                  </a:lnTo>
                  <a:lnTo>
                    <a:pt x="878" y="234"/>
                  </a:lnTo>
                  <a:lnTo>
                    <a:pt x="886" y="242"/>
                  </a:lnTo>
                  <a:lnTo>
                    <a:pt x="896" y="250"/>
                  </a:lnTo>
                  <a:lnTo>
                    <a:pt x="908" y="258"/>
                  </a:lnTo>
                  <a:lnTo>
                    <a:pt x="916" y="262"/>
                  </a:lnTo>
                  <a:lnTo>
                    <a:pt x="920" y="266"/>
                  </a:lnTo>
                  <a:lnTo>
                    <a:pt x="971" y="319"/>
                  </a:lnTo>
                  <a:lnTo>
                    <a:pt x="994" y="293"/>
                  </a:lnTo>
                  <a:lnTo>
                    <a:pt x="1010" y="238"/>
                  </a:lnTo>
                  <a:lnTo>
                    <a:pt x="1059" y="201"/>
                  </a:lnTo>
                  <a:lnTo>
                    <a:pt x="1126" y="226"/>
                  </a:lnTo>
                  <a:lnTo>
                    <a:pt x="1203" y="252"/>
                  </a:lnTo>
                  <a:lnTo>
                    <a:pt x="1246" y="248"/>
                  </a:lnTo>
                </a:path>
              </a:pathLst>
            </a:custGeom>
            <a:grpFill/>
            <a:ln w="6350">
              <a:solidFill>
                <a:schemeClr val="tx1">
                  <a:lumMod val="85000"/>
                  <a:lumOff val="15000"/>
                </a:schemeClr>
              </a:solidFill>
              <a:prstDash val="solid"/>
              <a:round/>
            </a:ln>
          </p:spPr>
          <p:txBody>
            <a:bodyPr/>
            <a:lstStyle/>
            <a:p>
              <a:endParaRPr lang="zh-CN" altLang="en-US" sz="2400"/>
            </a:p>
          </p:txBody>
        </p:sp>
        <p:sp>
          <p:nvSpPr>
            <p:cNvPr id="59" name="Freeform 103"/>
            <p:cNvSpPr/>
            <p:nvPr/>
          </p:nvSpPr>
          <p:spPr bwMode="gray">
            <a:xfrm>
              <a:off x="3599" y="839"/>
              <a:ext cx="861" cy="778"/>
            </a:xfrm>
            <a:custGeom>
              <a:avLst/>
              <a:gdLst>
                <a:gd name="T0" fmla="*/ 419 w 1722"/>
                <a:gd name="T1" fmla="*/ 147 h 1557"/>
                <a:gd name="T2" fmla="*/ 423 w 1722"/>
                <a:gd name="T3" fmla="*/ 159 h 1557"/>
                <a:gd name="T4" fmla="*/ 428 w 1722"/>
                <a:gd name="T5" fmla="*/ 173 h 1557"/>
                <a:gd name="T6" fmla="*/ 419 w 1722"/>
                <a:gd name="T7" fmla="*/ 185 h 1557"/>
                <a:gd name="T8" fmla="*/ 421 w 1722"/>
                <a:gd name="T9" fmla="*/ 196 h 1557"/>
                <a:gd name="T10" fmla="*/ 431 w 1722"/>
                <a:gd name="T11" fmla="*/ 209 h 1557"/>
                <a:gd name="T12" fmla="*/ 429 w 1722"/>
                <a:gd name="T13" fmla="*/ 233 h 1557"/>
                <a:gd name="T14" fmla="*/ 425 w 1722"/>
                <a:gd name="T15" fmla="*/ 256 h 1557"/>
                <a:gd name="T16" fmla="*/ 417 w 1722"/>
                <a:gd name="T17" fmla="*/ 278 h 1557"/>
                <a:gd name="T18" fmla="*/ 418 w 1722"/>
                <a:gd name="T19" fmla="*/ 290 h 1557"/>
                <a:gd name="T20" fmla="*/ 404 w 1722"/>
                <a:gd name="T21" fmla="*/ 293 h 1557"/>
                <a:gd name="T22" fmla="*/ 383 w 1722"/>
                <a:gd name="T23" fmla="*/ 292 h 1557"/>
                <a:gd name="T24" fmla="*/ 374 w 1722"/>
                <a:gd name="T25" fmla="*/ 295 h 1557"/>
                <a:gd name="T26" fmla="*/ 367 w 1722"/>
                <a:gd name="T27" fmla="*/ 309 h 1557"/>
                <a:gd name="T28" fmla="*/ 358 w 1722"/>
                <a:gd name="T29" fmla="*/ 318 h 1557"/>
                <a:gd name="T30" fmla="*/ 368 w 1722"/>
                <a:gd name="T31" fmla="*/ 333 h 1557"/>
                <a:gd name="T32" fmla="*/ 375 w 1722"/>
                <a:gd name="T33" fmla="*/ 350 h 1557"/>
                <a:gd name="T34" fmla="*/ 380 w 1722"/>
                <a:gd name="T35" fmla="*/ 367 h 1557"/>
                <a:gd name="T36" fmla="*/ 334 w 1722"/>
                <a:gd name="T37" fmla="*/ 359 h 1557"/>
                <a:gd name="T38" fmla="*/ 299 w 1722"/>
                <a:gd name="T39" fmla="*/ 376 h 1557"/>
                <a:gd name="T40" fmla="*/ 275 w 1722"/>
                <a:gd name="T41" fmla="*/ 371 h 1557"/>
                <a:gd name="T42" fmla="*/ 237 w 1722"/>
                <a:gd name="T43" fmla="*/ 345 h 1557"/>
                <a:gd name="T44" fmla="*/ 183 w 1722"/>
                <a:gd name="T45" fmla="*/ 338 h 1557"/>
                <a:gd name="T46" fmla="*/ 134 w 1722"/>
                <a:gd name="T47" fmla="*/ 309 h 1557"/>
                <a:gd name="T48" fmla="*/ 93 w 1722"/>
                <a:gd name="T49" fmla="*/ 288 h 1557"/>
                <a:gd name="T50" fmla="*/ 118 w 1722"/>
                <a:gd name="T51" fmla="*/ 211 h 1557"/>
                <a:gd name="T52" fmla="*/ 133 w 1722"/>
                <a:gd name="T53" fmla="*/ 147 h 1557"/>
                <a:gd name="T54" fmla="*/ 106 w 1722"/>
                <a:gd name="T55" fmla="*/ 89 h 1557"/>
                <a:gd name="T56" fmla="*/ 45 w 1722"/>
                <a:gd name="T57" fmla="*/ 63 h 1557"/>
                <a:gd name="T58" fmla="*/ 12 w 1722"/>
                <a:gd name="T59" fmla="*/ 35 h 1557"/>
                <a:gd name="T60" fmla="*/ 9 w 1722"/>
                <a:gd name="T61" fmla="*/ 18 h 1557"/>
                <a:gd name="T62" fmla="*/ 25 w 1722"/>
                <a:gd name="T63" fmla="*/ 11 h 1557"/>
                <a:gd name="T64" fmla="*/ 45 w 1722"/>
                <a:gd name="T65" fmla="*/ 4 h 1557"/>
                <a:gd name="T66" fmla="*/ 61 w 1722"/>
                <a:gd name="T67" fmla="*/ 1 h 1557"/>
                <a:gd name="T68" fmla="*/ 82 w 1722"/>
                <a:gd name="T69" fmla="*/ 11 h 1557"/>
                <a:gd name="T70" fmla="*/ 94 w 1722"/>
                <a:gd name="T71" fmla="*/ 8 h 1557"/>
                <a:gd name="T72" fmla="*/ 104 w 1722"/>
                <a:gd name="T73" fmla="*/ 6 h 1557"/>
                <a:gd name="T74" fmla="*/ 127 w 1722"/>
                <a:gd name="T75" fmla="*/ 24 h 1557"/>
                <a:gd name="T76" fmla="*/ 146 w 1722"/>
                <a:gd name="T77" fmla="*/ 46 h 1557"/>
                <a:gd name="T78" fmla="*/ 160 w 1722"/>
                <a:gd name="T79" fmla="*/ 69 h 1557"/>
                <a:gd name="T80" fmla="*/ 175 w 1722"/>
                <a:gd name="T81" fmla="*/ 92 h 1557"/>
                <a:gd name="T82" fmla="*/ 184 w 1722"/>
                <a:gd name="T83" fmla="*/ 101 h 1557"/>
                <a:gd name="T84" fmla="*/ 194 w 1722"/>
                <a:gd name="T85" fmla="*/ 123 h 1557"/>
                <a:gd name="T86" fmla="*/ 206 w 1722"/>
                <a:gd name="T87" fmla="*/ 138 h 1557"/>
                <a:gd name="T88" fmla="*/ 225 w 1722"/>
                <a:gd name="T89" fmla="*/ 141 h 1557"/>
                <a:gd name="T90" fmla="*/ 245 w 1722"/>
                <a:gd name="T91" fmla="*/ 137 h 1557"/>
                <a:gd name="T92" fmla="*/ 267 w 1722"/>
                <a:gd name="T93" fmla="*/ 143 h 1557"/>
                <a:gd name="T94" fmla="*/ 281 w 1722"/>
                <a:gd name="T95" fmla="*/ 152 h 1557"/>
                <a:gd name="T96" fmla="*/ 293 w 1722"/>
                <a:gd name="T97" fmla="*/ 154 h 1557"/>
                <a:gd name="T98" fmla="*/ 298 w 1722"/>
                <a:gd name="T99" fmla="*/ 154 h 1557"/>
                <a:gd name="T100" fmla="*/ 300 w 1722"/>
                <a:gd name="T101" fmla="*/ 160 h 1557"/>
                <a:gd name="T102" fmla="*/ 308 w 1722"/>
                <a:gd name="T103" fmla="*/ 175 h 1557"/>
                <a:gd name="T104" fmla="*/ 317 w 1722"/>
                <a:gd name="T105" fmla="*/ 191 h 1557"/>
                <a:gd name="T106" fmla="*/ 329 w 1722"/>
                <a:gd name="T107" fmla="*/ 197 h 1557"/>
                <a:gd name="T108" fmla="*/ 350 w 1722"/>
                <a:gd name="T109" fmla="*/ 191 h 1557"/>
                <a:gd name="T110" fmla="*/ 368 w 1722"/>
                <a:gd name="T111" fmla="*/ 175 h 1557"/>
                <a:gd name="T112" fmla="*/ 382 w 1722"/>
                <a:gd name="T113" fmla="*/ 160 h 1557"/>
                <a:gd name="T114" fmla="*/ 396 w 1722"/>
                <a:gd name="T115" fmla="*/ 148 h 1557"/>
                <a:gd name="T116" fmla="*/ 414 w 1722"/>
                <a:gd name="T117" fmla="*/ 140 h 155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22"/>
                <a:gd name="T178" fmla="*/ 0 h 1557"/>
                <a:gd name="T179" fmla="*/ 1722 w 1722"/>
                <a:gd name="T180" fmla="*/ 1557 h 155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22" h="1557">
                  <a:moveTo>
                    <a:pt x="1673" y="557"/>
                  </a:moveTo>
                  <a:lnTo>
                    <a:pt x="1673" y="561"/>
                  </a:lnTo>
                  <a:lnTo>
                    <a:pt x="1673" y="575"/>
                  </a:lnTo>
                  <a:lnTo>
                    <a:pt x="1675" y="590"/>
                  </a:lnTo>
                  <a:lnTo>
                    <a:pt x="1675" y="606"/>
                  </a:lnTo>
                  <a:lnTo>
                    <a:pt x="1675" y="618"/>
                  </a:lnTo>
                  <a:lnTo>
                    <a:pt x="1681" y="628"/>
                  </a:lnTo>
                  <a:lnTo>
                    <a:pt x="1691" y="639"/>
                  </a:lnTo>
                  <a:lnTo>
                    <a:pt x="1702" y="649"/>
                  </a:lnTo>
                  <a:lnTo>
                    <a:pt x="1712" y="661"/>
                  </a:lnTo>
                  <a:lnTo>
                    <a:pt x="1714" y="673"/>
                  </a:lnTo>
                  <a:lnTo>
                    <a:pt x="1710" y="693"/>
                  </a:lnTo>
                  <a:lnTo>
                    <a:pt x="1698" y="712"/>
                  </a:lnTo>
                  <a:lnTo>
                    <a:pt x="1687" y="728"/>
                  </a:lnTo>
                  <a:lnTo>
                    <a:pt x="1681" y="736"/>
                  </a:lnTo>
                  <a:lnTo>
                    <a:pt x="1673" y="742"/>
                  </a:lnTo>
                  <a:lnTo>
                    <a:pt x="1669" y="752"/>
                  </a:lnTo>
                  <a:lnTo>
                    <a:pt x="1667" y="762"/>
                  </a:lnTo>
                  <a:lnTo>
                    <a:pt x="1673" y="773"/>
                  </a:lnTo>
                  <a:lnTo>
                    <a:pt x="1683" y="787"/>
                  </a:lnTo>
                  <a:lnTo>
                    <a:pt x="1697" y="799"/>
                  </a:lnTo>
                  <a:lnTo>
                    <a:pt x="1708" y="811"/>
                  </a:lnTo>
                  <a:lnTo>
                    <a:pt x="1718" y="823"/>
                  </a:lnTo>
                  <a:lnTo>
                    <a:pt x="1722" y="836"/>
                  </a:lnTo>
                  <a:lnTo>
                    <a:pt x="1720" y="852"/>
                  </a:lnTo>
                  <a:lnTo>
                    <a:pt x="1720" y="876"/>
                  </a:lnTo>
                  <a:lnTo>
                    <a:pt x="1718" y="905"/>
                  </a:lnTo>
                  <a:lnTo>
                    <a:pt x="1716" y="935"/>
                  </a:lnTo>
                  <a:lnTo>
                    <a:pt x="1714" y="964"/>
                  </a:lnTo>
                  <a:lnTo>
                    <a:pt x="1712" y="988"/>
                  </a:lnTo>
                  <a:lnTo>
                    <a:pt x="1708" y="1002"/>
                  </a:lnTo>
                  <a:lnTo>
                    <a:pt x="1697" y="1025"/>
                  </a:lnTo>
                  <a:lnTo>
                    <a:pt x="1687" y="1051"/>
                  </a:lnTo>
                  <a:lnTo>
                    <a:pt x="1675" y="1074"/>
                  </a:lnTo>
                  <a:lnTo>
                    <a:pt x="1667" y="1096"/>
                  </a:lnTo>
                  <a:lnTo>
                    <a:pt x="1667" y="1114"/>
                  </a:lnTo>
                  <a:lnTo>
                    <a:pt x="1667" y="1130"/>
                  </a:lnTo>
                  <a:lnTo>
                    <a:pt x="1669" y="1139"/>
                  </a:lnTo>
                  <a:lnTo>
                    <a:pt x="1671" y="1151"/>
                  </a:lnTo>
                  <a:lnTo>
                    <a:pt x="1671" y="1163"/>
                  </a:lnTo>
                  <a:lnTo>
                    <a:pt x="1667" y="1171"/>
                  </a:lnTo>
                  <a:lnTo>
                    <a:pt x="1655" y="1175"/>
                  </a:lnTo>
                  <a:lnTo>
                    <a:pt x="1639" y="1175"/>
                  </a:lnTo>
                  <a:lnTo>
                    <a:pt x="1614" y="1175"/>
                  </a:lnTo>
                  <a:lnTo>
                    <a:pt x="1586" y="1175"/>
                  </a:lnTo>
                  <a:lnTo>
                    <a:pt x="1561" y="1173"/>
                  </a:lnTo>
                  <a:lnTo>
                    <a:pt x="1539" y="1171"/>
                  </a:lnTo>
                  <a:lnTo>
                    <a:pt x="1529" y="1169"/>
                  </a:lnTo>
                  <a:lnTo>
                    <a:pt x="1521" y="1169"/>
                  </a:lnTo>
                  <a:lnTo>
                    <a:pt x="1511" y="1171"/>
                  </a:lnTo>
                  <a:lnTo>
                    <a:pt x="1502" y="1177"/>
                  </a:lnTo>
                  <a:lnTo>
                    <a:pt x="1496" y="1183"/>
                  </a:lnTo>
                  <a:lnTo>
                    <a:pt x="1492" y="1193"/>
                  </a:lnTo>
                  <a:lnTo>
                    <a:pt x="1486" y="1206"/>
                  </a:lnTo>
                  <a:lnTo>
                    <a:pt x="1478" y="1222"/>
                  </a:lnTo>
                  <a:lnTo>
                    <a:pt x="1468" y="1238"/>
                  </a:lnTo>
                  <a:lnTo>
                    <a:pt x="1458" y="1246"/>
                  </a:lnTo>
                  <a:lnTo>
                    <a:pt x="1445" y="1254"/>
                  </a:lnTo>
                  <a:lnTo>
                    <a:pt x="1435" y="1261"/>
                  </a:lnTo>
                  <a:lnTo>
                    <a:pt x="1429" y="1273"/>
                  </a:lnTo>
                  <a:lnTo>
                    <a:pt x="1433" y="1285"/>
                  </a:lnTo>
                  <a:lnTo>
                    <a:pt x="1443" y="1297"/>
                  </a:lnTo>
                  <a:lnTo>
                    <a:pt x="1456" y="1313"/>
                  </a:lnTo>
                  <a:lnTo>
                    <a:pt x="1470" y="1332"/>
                  </a:lnTo>
                  <a:lnTo>
                    <a:pt x="1480" y="1350"/>
                  </a:lnTo>
                  <a:lnTo>
                    <a:pt x="1486" y="1364"/>
                  </a:lnTo>
                  <a:lnTo>
                    <a:pt x="1492" y="1381"/>
                  </a:lnTo>
                  <a:lnTo>
                    <a:pt x="1498" y="1401"/>
                  </a:lnTo>
                  <a:lnTo>
                    <a:pt x="1504" y="1423"/>
                  </a:lnTo>
                  <a:lnTo>
                    <a:pt x="1510" y="1441"/>
                  </a:lnTo>
                  <a:lnTo>
                    <a:pt x="1513" y="1454"/>
                  </a:lnTo>
                  <a:lnTo>
                    <a:pt x="1517" y="1470"/>
                  </a:lnTo>
                  <a:lnTo>
                    <a:pt x="1521" y="1482"/>
                  </a:lnTo>
                  <a:lnTo>
                    <a:pt x="1523" y="1486"/>
                  </a:lnTo>
                  <a:lnTo>
                    <a:pt x="1480" y="1490"/>
                  </a:lnTo>
                  <a:lnTo>
                    <a:pt x="1336" y="1439"/>
                  </a:lnTo>
                  <a:lnTo>
                    <a:pt x="1287" y="1476"/>
                  </a:lnTo>
                  <a:lnTo>
                    <a:pt x="1271" y="1531"/>
                  </a:lnTo>
                  <a:lnTo>
                    <a:pt x="1248" y="1557"/>
                  </a:lnTo>
                  <a:lnTo>
                    <a:pt x="1195" y="1504"/>
                  </a:lnTo>
                  <a:lnTo>
                    <a:pt x="1151" y="1472"/>
                  </a:lnTo>
                  <a:lnTo>
                    <a:pt x="1130" y="1399"/>
                  </a:lnTo>
                  <a:lnTo>
                    <a:pt x="1090" y="1405"/>
                  </a:lnTo>
                  <a:lnTo>
                    <a:pt x="1100" y="1486"/>
                  </a:lnTo>
                  <a:lnTo>
                    <a:pt x="1067" y="1488"/>
                  </a:lnTo>
                  <a:lnTo>
                    <a:pt x="1019" y="1415"/>
                  </a:lnTo>
                  <a:lnTo>
                    <a:pt x="966" y="1429"/>
                  </a:lnTo>
                  <a:lnTo>
                    <a:pt x="950" y="1380"/>
                  </a:lnTo>
                  <a:lnTo>
                    <a:pt x="927" y="1348"/>
                  </a:lnTo>
                  <a:lnTo>
                    <a:pt x="807" y="1372"/>
                  </a:lnTo>
                  <a:lnTo>
                    <a:pt x="765" y="1322"/>
                  </a:lnTo>
                  <a:lnTo>
                    <a:pt x="730" y="1352"/>
                  </a:lnTo>
                  <a:lnTo>
                    <a:pt x="683" y="1348"/>
                  </a:lnTo>
                  <a:lnTo>
                    <a:pt x="620" y="1370"/>
                  </a:lnTo>
                  <a:lnTo>
                    <a:pt x="557" y="1301"/>
                  </a:lnTo>
                  <a:lnTo>
                    <a:pt x="533" y="1238"/>
                  </a:lnTo>
                  <a:lnTo>
                    <a:pt x="437" y="1261"/>
                  </a:lnTo>
                  <a:lnTo>
                    <a:pt x="401" y="1291"/>
                  </a:lnTo>
                  <a:lnTo>
                    <a:pt x="413" y="1208"/>
                  </a:lnTo>
                  <a:lnTo>
                    <a:pt x="372" y="1153"/>
                  </a:lnTo>
                  <a:lnTo>
                    <a:pt x="317" y="1094"/>
                  </a:lnTo>
                  <a:lnTo>
                    <a:pt x="332" y="1047"/>
                  </a:lnTo>
                  <a:lnTo>
                    <a:pt x="415" y="956"/>
                  </a:lnTo>
                  <a:lnTo>
                    <a:pt x="472" y="844"/>
                  </a:lnTo>
                  <a:lnTo>
                    <a:pt x="521" y="791"/>
                  </a:lnTo>
                  <a:lnTo>
                    <a:pt x="529" y="722"/>
                  </a:lnTo>
                  <a:lnTo>
                    <a:pt x="563" y="708"/>
                  </a:lnTo>
                  <a:lnTo>
                    <a:pt x="531" y="590"/>
                  </a:lnTo>
                  <a:lnTo>
                    <a:pt x="561" y="480"/>
                  </a:lnTo>
                  <a:lnTo>
                    <a:pt x="580" y="376"/>
                  </a:lnTo>
                  <a:lnTo>
                    <a:pt x="468" y="297"/>
                  </a:lnTo>
                  <a:lnTo>
                    <a:pt x="421" y="358"/>
                  </a:lnTo>
                  <a:lnTo>
                    <a:pt x="313" y="393"/>
                  </a:lnTo>
                  <a:lnTo>
                    <a:pt x="210" y="393"/>
                  </a:lnTo>
                  <a:lnTo>
                    <a:pt x="183" y="321"/>
                  </a:lnTo>
                  <a:lnTo>
                    <a:pt x="179" y="254"/>
                  </a:lnTo>
                  <a:lnTo>
                    <a:pt x="112" y="226"/>
                  </a:lnTo>
                  <a:lnTo>
                    <a:pt x="88" y="273"/>
                  </a:lnTo>
                  <a:lnTo>
                    <a:pt x="0" y="222"/>
                  </a:lnTo>
                  <a:lnTo>
                    <a:pt x="45" y="140"/>
                  </a:lnTo>
                  <a:lnTo>
                    <a:pt x="6" y="90"/>
                  </a:lnTo>
                  <a:lnTo>
                    <a:pt x="10" y="88"/>
                  </a:lnTo>
                  <a:lnTo>
                    <a:pt x="19" y="83"/>
                  </a:lnTo>
                  <a:lnTo>
                    <a:pt x="33" y="75"/>
                  </a:lnTo>
                  <a:lnTo>
                    <a:pt x="51" y="65"/>
                  </a:lnTo>
                  <a:lnTo>
                    <a:pt x="69" y="57"/>
                  </a:lnTo>
                  <a:lnTo>
                    <a:pt x="84" y="49"/>
                  </a:lnTo>
                  <a:lnTo>
                    <a:pt x="98" y="45"/>
                  </a:lnTo>
                  <a:lnTo>
                    <a:pt x="112" y="41"/>
                  </a:lnTo>
                  <a:lnTo>
                    <a:pt x="134" y="35"/>
                  </a:lnTo>
                  <a:lnTo>
                    <a:pt x="155" y="25"/>
                  </a:lnTo>
                  <a:lnTo>
                    <a:pt x="179" y="18"/>
                  </a:lnTo>
                  <a:lnTo>
                    <a:pt x="197" y="8"/>
                  </a:lnTo>
                  <a:lnTo>
                    <a:pt x="208" y="4"/>
                  </a:lnTo>
                  <a:lnTo>
                    <a:pt x="224" y="0"/>
                  </a:lnTo>
                  <a:lnTo>
                    <a:pt x="244" y="4"/>
                  </a:lnTo>
                  <a:lnTo>
                    <a:pt x="267" y="14"/>
                  </a:lnTo>
                  <a:lnTo>
                    <a:pt x="293" y="25"/>
                  </a:lnTo>
                  <a:lnTo>
                    <a:pt x="313" y="39"/>
                  </a:lnTo>
                  <a:lnTo>
                    <a:pt x="328" y="47"/>
                  </a:lnTo>
                  <a:lnTo>
                    <a:pt x="344" y="51"/>
                  </a:lnTo>
                  <a:lnTo>
                    <a:pt x="358" y="49"/>
                  </a:lnTo>
                  <a:lnTo>
                    <a:pt x="366" y="43"/>
                  </a:lnTo>
                  <a:lnTo>
                    <a:pt x="374" y="35"/>
                  </a:lnTo>
                  <a:lnTo>
                    <a:pt x="380" y="27"/>
                  </a:lnTo>
                  <a:lnTo>
                    <a:pt x="387" y="21"/>
                  </a:lnTo>
                  <a:lnTo>
                    <a:pt x="397" y="21"/>
                  </a:lnTo>
                  <a:lnTo>
                    <a:pt x="413" y="25"/>
                  </a:lnTo>
                  <a:lnTo>
                    <a:pt x="447" y="39"/>
                  </a:lnTo>
                  <a:lnTo>
                    <a:pt x="472" y="53"/>
                  </a:lnTo>
                  <a:lnTo>
                    <a:pt x="492" y="73"/>
                  </a:lnTo>
                  <a:lnTo>
                    <a:pt x="510" y="96"/>
                  </a:lnTo>
                  <a:lnTo>
                    <a:pt x="531" y="118"/>
                  </a:lnTo>
                  <a:lnTo>
                    <a:pt x="551" y="142"/>
                  </a:lnTo>
                  <a:lnTo>
                    <a:pt x="567" y="163"/>
                  </a:lnTo>
                  <a:lnTo>
                    <a:pt x="582" y="187"/>
                  </a:lnTo>
                  <a:lnTo>
                    <a:pt x="598" y="212"/>
                  </a:lnTo>
                  <a:lnTo>
                    <a:pt x="610" y="232"/>
                  </a:lnTo>
                  <a:lnTo>
                    <a:pt x="622" y="256"/>
                  </a:lnTo>
                  <a:lnTo>
                    <a:pt x="637" y="279"/>
                  </a:lnTo>
                  <a:lnTo>
                    <a:pt x="655" y="303"/>
                  </a:lnTo>
                  <a:lnTo>
                    <a:pt x="673" y="325"/>
                  </a:lnTo>
                  <a:lnTo>
                    <a:pt x="689" y="348"/>
                  </a:lnTo>
                  <a:lnTo>
                    <a:pt x="698" y="368"/>
                  </a:lnTo>
                  <a:lnTo>
                    <a:pt x="704" y="378"/>
                  </a:lnTo>
                  <a:lnTo>
                    <a:pt x="714" y="386"/>
                  </a:lnTo>
                  <a:lnTo>
                    <a:pt x="726" y="393"/>
                  </a:lnTo>
                  <a:lnTo>
                    <a:pt x="736" y="405"/>
                  </a:lnTo>
                  <a:lnTo>
                    <a:pt x="742" y="417"/>
                  </a:lnTo>
                  <a:lnTo>
                    <a:pt x="750" y="445"/>
                  </a:lnTo>
                  <a:lnTo>
                    <a:pt x="761" y="470"/>
                  </a:lnTo>
                  <a:lnTo>
                    <a:pt x="773" y="492"/>
                  </a:lnTo>
                  <a:lnTo>
                    <a:pt x="783" y="508"/>
                  </a:lnTo>
                  <a:lnTo>
                    <a:pt x="795" y="527"/>
                  </a:lnTo>
                  <a:lnTo>
                    <a:pt x="809" y="543"/>
                  </a:lnTo>
                  <a:lnTo>
                    <a:pt x="824" y="555"/>
                  </a:lnTo>
                  <a:lnTo>
                    <a:pt x="840" y="561"/>
                  </a:lnTo>
                  <a:lnTo>
                    <a:pt x="862" y="567"/>
                  </a:lnTo>
                  <a:lnTo>
                    <a:pt x="882" y="569"/>
                  </a:lnTo>
                  <a:lnTo>
                    <a:pt x="901" y="565"/>
                  </a:lnTo>
                  <a:lnTo>
                    <a:pt x="919" y="559"/>
                  </a:lnTo>
                  <a:lnTo>
                    <a:pt x="941" y="553"/>
                  </a:lnTo>
                  <a:lnTo>
                    <a:pt x="960" y="549"/>
                  </a:lnTo>
                  <a:lnTo>
                    <a:pt x="982" y="551"/>
                  </a:lnTo>
                  <a:lnTo>
                    <a:pt x="1004" y="559"/>
                  </a:lnTo>
                  <a:lnTo>
                    <a:pt x="1029" y="563"/>
                  </a:lnTo>
                  <a:lnTo>
                    <a:pt x="1051" y="569"/>
                  </a:lnTo>
                  <a:lnTo>
                    <a:pt x="1065" y="575"/>
                  </a:lnTo>
                  <a:lnTo>
                    <a:pt x="1073" y="580"/>
                  </a:lnTo>
                  <a:lnTo>
                    <a:pt x="1086" y="588"/>
                  </a:lnTo>
                  <a:lnTo>
                    <a:pt x="1104" y="598"/>
                  </a:lnTo>
                  <a:lnTo>
                    <a:pt x="1122" y="608"/>
                  </a:lnTo>
                  <a:lnTo>
                    <a:pt x="1139" y="616"/>
                  </a:lnTo>
                  <a:lnTo>
                    <a:pt x="1155" y="620"/>
                  </a:lnTo>
                  <a:lnTo>
                    <a:pt x="1167" y="620"/>
                  </a:lnTo>
                  <a:lnTo>
                    <a:pt x="1171" y="618"/>
                  </a:lnTo>
                  <a:lnTo>
                    <a:pt x="1177" y="614"/>
                  </a:lnTo>
                  <a:lnTo>
                    <a:pt x="1181" y="614"/>
                  </a:lnTo>
                  <a:lnTo>
                    <a:pt x="1185" y="614"/>
                  </a:lnTo>
                  <a:lnTo>
                    <a:pt x="1189" y="616"/>
                  </a:lnTo>
                  <a:lnTo>
                    <a:pt x="1191" y="618"/>
                  </a:lnTo>
                  <a:lnTo>
                    <a:pt x="1193" y="624"/>
                  </a:lnTo>
                  <a:lnTo>
                    <a:pt x="1195" y="632"/>
                  </a:lnTo>
                  <a:lnTo>
                    <a:pt x="1197" y="641"/>
                  </a:lnTo>
                  <a:lnTo>
                    <a:pt x="1202" y="659"/>
                  </a:lnTo>
                  <a:lnTo>
                    <a:pt x="1212" y="675"/>
                  </a:lnTo>
                  <a:lnTo>
                    <a:pt x="1224" y="687"/>
                  </a:lnTo>
                  <a:lnTo>
                    <a:pt x="1232" y="701"/>
                  </a:lnTo>
                  <a:lnTo>
                    <a:pt x="1238" y="714"/>
                  </a:lnTo>
                  <a:lnTo>
                    <a:pt x="1244" y="734"/>
                  </a:lnTo>
                  <a:lnTo>
                    <a:pt x="1254" y="754"/>
                  </a:lnTo>
                  <a:lnTo>
                    <a:pt x="1265" y="767"/>
                  </a:lnTo>
                  <a:lnTo>
                    <a:pt x="1277" y="775"/>
                  </a:lnTo>
                  <a:lnTo>
                    <a:pt x="1289" y="779"/>
                  </a:lnTo>
                  <a:lnTo>
                    <a:pt x="1299" y="785"/>
                  </a:lnTo>
                  <a:lnTo>
                    <a:pt x="1313" y="789"/>
                  </a:lnTo>
                  <a:lnTo>
                    <a:pt x="1328" y="785"/>
                  </a:lnTo>
                  <a:lnTo>
                    <a:pt x="1348" y="777"/>
                  </a:lnTo>
                  <a:lnTo>
                    <a:pt x="1374" y="773"/>
                  </a:lnTo>
                  <a:lnTo>
                    <a:pt x="1399" y="767"/>
                  </a:lnTo>
                  <a:lnTo>
                    <a:pt x="1423" y="760"/>
                  </a:lnTo>
                  <a:lnTo>
                    <a:pt x="1447" y="742"/>
                  </a:lnTo>
                  <a:lnTo>
                    <a:pt x="1462" y="722"/>
                  </a:lnTo>
                  <a:lnTo>
                    <a:pt x="1472" y="701"/>
                  </a:lnTo>
                  <a:lnTo>
                    <a:pt x="1480" y="689"/>
                  </a:lnTo>
                  <a:lnTo>
                    <a:pt x="1494" y="675"/>
                  </a:lnTo>
                  <a:lnTo>
                    <a:pt x="1510" y="659"/>
                  </a:lnTo>
                  <a:lnTo>
                    <a:pt x="1527" y="643"/>
                  </a:lnTo>
                  <a:lnTo>
                    <a:pt x="1543" y="628"/>
                  </a:lnTo>
                  <a:lnTo>
                    <a:pt x="1557" y="616"/>
                  </a:lnTo>
                  <a:lnTo>
                    <a:pt x="1572" y="604"/>
                  </a:lnTo>
                  <a:lnTo>
                    <a:pt x="1584" y="594"/>
                  </a:lnTo>
                  <a:lnTo>
                    <a:pt x="1598" y="586"/>
                  </a:lnTo>
                  <a:lnTo>
                    <a:pt x="1614" y="577"/>
                  </a:lnTo>
                  <a:lnTo>
                    <a:pt x="1634" y="567"/>
                  </a:lnTo>
                  <a:lnTo>
                    <a:pt x="1653" y="561"/>
                  </a:lnTo>
                  <a:lnTo>
                    <a:pt x="1667" y="557"/>
                  </a:lnTo>
                  <a:lnTo>
                    <a:pt x="1673" y="557"/>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0" name="Freeform 104"/>
            <p:cNvSpPr/>
            <p:nvPr/>
          </p:nvSpPr>
          <p:spPr bwMode="gray">
            <a:xfrm>
              <a:off x="3599" y="839"/>
              <a:ext cx="861" cy="778"/>
            </a:xfrm>
            <a:custGeom>
              <a:avLst/>
              <a:gdLst>
                <a:gd name="T0" fmla="*/ 419 w 1722"/>
                <a:gd name="T1" fmla="*/ 147 h 1557"/>
                <a:gd name="T2" fmla="*/ 423 w 1722"/>
                <a:gd name="T3" fmla="*/ 159 h 1557"/>
                <a:gd name="T4" fmla="*/ 428 w 1722"/>
                <a:gd name="T5" fmla="*/ 173 h 1557"/>
                <a:gd name="T6" fmla="*/ 419 w 1722"/>
                <a:gd name="T7" fmla="*/ 185 h 1557"/>
                <a:gd name="T8" fmla="*/ 421 w 1722"/>
                <a:gd name="T9" fmla="*/ 196 h 1557"/>
                <a:gd name="T10" fmla="*/ 431 w 1722"/>
                <a:gd name="T11" fmla="*/ 209 h 1557"/>
                <a:gd name="T12" fmla="*/ 429 w 1722"/>
                <a:gd name="T13" fmla="*/ 233 h 1557"/>
                <a:gd name="T14" fmla="*/ 425 w 1722"/>
                <a:gd name="T15" fmla="*/ 256 h 1557"/>
                <a:gd name="T16" fmla="*/ 417 w 1722"/>
                <a:gd name="T17" fmla="*/ 278 h 1557"/>
                <a:gd name="T18" fmla="*/ 418 w 1722"/>
                <a:gd name="T19" fmla="*/ 290 h 1557"/>
                <a:gd name="T20" fmla="*/ 404 w 1722"/>
                <a:gd name="T21" fmla="*/ 293 h 1557"/>
                <a:gd name="T22" fmla="*/ 383 w 1722"/>
                <a:gd name="T23" fmla="*/ 292 h 1557"/>
                <a:gd name="T24" fmla="*/ 374 w 1722"/>
                <a:gd name="T25" fmla="*/ 295 h 1557"/>
                <a:gd name="T26" fmla="*/ 367 w 1722"/>
                <a:gd name="T27" fmla="*/ 309 h 1557"/>
                <a:gd name="T28" fmla="*/ 358 w 1722"/>
                <a:gd name="T29" fmla="*/ 318 h 1557"/>
                <a:gd name="T30" fmla="*/ 368 w 1722"/>
                <a:gd name="T31" fmla="*/ 333 h 1557"/>
                <a:gd name="T32" fmla="*/ 375 w 1722"/>
                <a:gd name="T33" fmla="*/ 350 h 1557"/>
                <a:gd name="T34" fmla="*/ 380 w 1722"/>
                <a:gd name="T35" fmla="*/ 367 h 1557"/>
                <a:gd name="T36" fmla="*/ 334 w 1722"/>
                <a:gd name="T37" fmla="*/ 359 h 1557"/>
                <a:gd name="T38" fmla="*/ 299 w 1722"/>
                <a:gd name="T39" fmla="*/ 376 h 1557"/>
                <a:gd name="T40" fmla="*/ 275 w 1722"/>
                <a:gd name="T41" fmla="*/ 371 h 1557"/>
                <a:gd name="T42" fmla="*/ 237 w 1722"/>
                <a:gd name="T43" fmla="*/ 345 h 1557"/>
                <a:gd name="T44" fmla="*/ 183 w 1722"/>
                <a:gd name="T45" fmla="*/ 338 h 1557"/>
                <a:gd name="T46" fmla="*/ 134 w 1722"/>
                <a:gd name="T47" fmla="*/ 309 h 1557"/>
                <a:gd name="T48" fmla="*/ 93 w 1722"/>
                <a:gd name="T49" fmla="*/ 288 h 1557"/>
                <a:gd name="T50" fmla="*/ 118 w 1722"/>
                <a:gd name="T51" fmla="*/ 211 h 1557"/>
                <a:gd name="T52" fmla="*/ 133 w 1722"/>
                <a:gd name="T53" fmla="*/ 147 h 1557"/>
                <a:gd name="T54" fmla="*/ 106 w 1722"/>
                <a:gd name="T55" fmla="*/ 89 h 1557"/>
                <a:gd name="T56" fmla="*/ 45 w 1722"/>
                <a:gd name="T57" fmla="*/ 63 h 1557"/>
                <a:gd name="T58" fmla="*/ 12 w 1722"/>
                <a:gd name="T59" fmla="*/ 35 h 1557"/>
                <a:gd name="T60" fmla="*/ 9 w 1722"/>
                <a:gd name="T61" fmla="*/ 18 h 1557"/>
                <a:gd name="T62" fmla="*/ 25 w 1722"/>
                <a:gd name="T63" fmla="*/ 11 h 1557"/>
                <a:gd name="T64" fmla="*/ 45 w 1722"/>
                <a:gd name="T65" fmla="*/ 4 h 1557"/>
                <a:gd name="T66" fmla="*/ 61 w 1722"/>
                <a:gd name="T67" fmla="*/ 1 h 1557"/>
                <a:gd name="T68" fmla="*/ 82 w 1722"/>
                <a:gd name="T69" fmla="*/ 11 h 1557"/>
                <a:gd name="T70" fmla="*/ 94 w 1722"/>
                <a:gd name="T71" fmla="*/ 8 h 1557"/>
                <a:gd name="T72" fmla="*/ 104 w 1722"/>
                <a:gd name="T73" fmla="*/ 6 h 1557"/>
                <a:gd name="T74" fmla="*/ 127 w 1722"/>
                <a:gd name="T75" fmla="*/ 24 h 1557"/>
                <a:gd name="T76" fmla="*/ 146 w 1722"/>
                <a:gd name="T77" fmla="*/ 46 h 1557"/>
                <a:gd name="T78" fmla="*/ 160 w 1722"/>
                <a:gd name="T79" fmla="*/ 69 h 1557"/>
                <a:gd name="T80" fmla="*/ 175 w 1722"/>
                <a:gd name="T81" fmla="*/ 92 h 1557"/>
                <a:gd name="T82" fmla="*/ 184 w 1722"/>
                <a:gd name="T83" fmla="*/ 101 h 1557"/>
                <a:gd name="T84" fmla="*/ 194 w 1722"/>
                <a:gd name="T85" fmla="*/ 123 h 1557"/>
                <a:gd name="T86" fmla="*/ 206 w 1722"/>
                <a:gd name="T87" fmla="*/ 138 h 1557"/>
                <a:gd name="T88" fmla="*/ 225 w 1722"/>
                <a:gd name="T89" fmla="*/ 141 h 1557"/>
                <a:gd name="T90" fmla="*/ 245 w 1722"/>
                <a:gd name="T91" fmla="*/ 137 h 1557"/>
                <a:gd name="T92" fmla="*/ 267 w 1722"/>
                <a:gd name="T93" fmla="*/ 143 h 1557"/>
                <a:gd name="T94" fmla="*/ 281 w 1722"/>
                <a:gd name="T95" fmla="*/ 152 h 1557"/>
                <a:gd name="T96" fmla="*/ 293 w 1722"/>
                <a:gd name="T97" fmla="*/ 154 h 1557"/>
                <a:gd name="T98" fmla="*/ 298 w 1722"/>
                <a:gd name="T99" fmla="*/ 154 h 1557"/>
                <a:gd name="T100" fmla="*/ 300 w 1722"/>
                <a:gd name="T101" fmla="*/ 160 h 1557"/>
                <a:gd name="T102" fmla="*/ 308 w 1722"/>
                <a:gd name="T103" fmla="*/ 175 h 1557"/>
                <a:gd name="T104" fmla="*/ 317 w 1722"/>
                <a:gd name="T105" fmla="*/ 191 h 1557"/>
                <a:gd name="T106" fmla="*/ 329 w 1722"/>
                <a:gd name="T107" fmla="*/ 197 h 1557"/>
                <a:gd name="T108" fmla="*/ 350 w 1722"/>
                <a:gd name="T109" fmla="*/ 191 h 1557"/>
                <a:gd name="T110" fmla="*/ 368 w 1722"/>
                <a:gd name="T111" fmla="*/ 175 h 1557"/>
                <a:gd name="T112" fmla="*/ 382 w 1722"/>
                <a:gd name="T113" fmla="*/ 160 h 1557"/>
                <a:gd name="T114" fmla="*/ 396 w 1722"/>
                <a:gd name="T115" fmla="*/ 148 h 1557"/>
                <a:gd name="T116" fmla="*/ 414 w 1722"/>
                <a:gd name="T117" fmla="*/ 140 h 155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22"/>
                <a:gd name="T178" fmla="*/ 0 h 1557"/>
                <a:gd name="T179" fmla="*/ 1722 w 1722"/>
                <a:gd name="T180" fmla="*/ 1557 h 155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22" h="1557">
                  <a:moveTo>
                    <a:pt x="1673" y="557"/>
                  </a:moveTo>
                  <a:lnTo>
                    <a:pt x="1673" y="561"/>
                  </a:lnTo>
                  <a:lnTo>
                    <a:pt x="1673" y="575"/>
                  </a:lnTo>
                  <a:lnTo>
                    <a:pt x="1675" y="590"/>
                  </a:lnTo>
                  <a:lnTo>
                    <a:pt x="1675" y="606"/>
                  </a:lnTo>
                  <a:lnTo>
                    <a:pt x="1675" y="618"/>
                  </a:lnTo>
                  <a:lnTo>
                    <a:pt x="1681" y="628"/>
                  </a:lnTo>
                  <a:lnTo>
                    <a:pt x="1691" y="639"/>
                  </a:lnTo>
                  <a:lnTo>
                    <a:pt x="1702" y="649"/>
                  </a:lnTo>
                  <a:lnTo>
                    <a:pt x="1712" y="661"/>
                  </a:lnTo>
                  <a:lnTo>
                    <a:pt x="1714" y="673"/>
                  </a:lnTo>
                  <a:lnTo>
                    <a:pt x="1710" y="693"/>
                  </a:lnTo>
                  <a:lnTo>
                    <a:pt x="1698" y="712"/>
                  </a:lnTo>
                  <a:lnTo>
                    <a:pt x="1687" y="728"/>
                  </a:lnTo>
                  <a:lnTo>
                    <a:pt x="1681" y="736"/>
                  </a:lnTo>
                  <a:lnTo>
                    <a:pt x="1673" y="742"/>
                  </a:lnTo>
                  <a:lnTo>
                    <a:pt x="1669" y="752"/>
                  </a:lnTo>
                  <a:lnTo>
                    <a:pt x="1667" y="762"/>
                  </a:lnTo>
                  <a:lnTo>
                    <a:pt x="1673" y="773"/>
                  </a:lnTo>
                  <a:lnTo>
                    <a:pt x="1683" y="787"/>
                  </a:lnTo>
                  <a:lnTo>
                    <a:pt x="1697" y="799"/>
                  </a:lnTo>
                  <a:lnTo>
                    <a:pt x="1708" y="811"/>
                  </a:lnTo>
                  <a:lnTo>
                    <a:pt x="1718" y="823"/>
                  </a:lnTo>
                  <a:lnTo>
                    <a:pt x="1722" y="836"/>
                  </a:lnTo>
                  <a:lnTo>
                    <a:pt x="1720" y="852"/>
                  </a:lnTo>
                  <a:lnTo>
                    <a:pt x="1720" y="876"/>
                  </a:lnTo>
                  <a:lnTo>
                    <a:pt x="1718" y="905"/>
                  </a:lnTo>
                  <a:lnTo>
                    <a:pt x="1716" y="935"/>
                  </a:lnTo>
                  <a:lnTo>
                    <a:pt x="1714" y="964"/>
                  </a:lnTo>
                  <a:lnTo>
                    <a:pt x="1712" y="988"/>
                  </a:lnTo>
                  <a:lnTo>
                    <a:pt x="1708" y="1002"/>
                  </a:lnTo>
                  <a:lnTo>
                    <a:pt x="1697" y="1025"/>
                  </a:lnTo>
                  <a:lnTo>
                    <a:pt x="1687" y="1051"/>
                  </a:lnTo>
                  <a:lnTo>
                    <a:pt x="1675" y="1074"/>
                  </a:lnTo>
                  <a:lnTo>
                    <a:pt x="1667" y="1096"/>
                  </a:lnTo>
                  <a:lnTo>
                    <a:pt x="1667" y="1114"/>
                  </a:lnTo>
                  <a:lnTo>
                    <a:pt x="1667" y="1130"/>
                  </a:lnTo>
                  <a:lnTo>
                    <a:pt x="1669" y="1139"/>
                  </a:lnTo>
                  <a:lnTo>
                    <a:pt x="1671" y="1151"/>
                  </a:lnTo>
                  <a:lnTo>
                    <a:pt x="1671" y="1163"/>
                  </a:lnTo>
                  <a:lnTo>
                    <a:pt x="1667" y="1171"/>
                  </a:lnTo>
                  <a:lnTo>
                    <a:pt x="1655" y="1175"/>
                  </a:lnTo>
                  <a:lnTo>
                    <a:pt x="1639" y="1175"/>
                  </a:lnTo>
                  <a:lnTo>
                    <a:pt x="1614" y="1175"/>
                  </a:lnTo>
                  <a:lnTo>
                    <a:pt x="1586" y="1175"/>
                  </a:lnTo>
                  <a:lnTo>
                    <a:pt x="1561" y="1173"/>
                  </a:lnTo>
                  <a:lnTo>
                    <a:pt x="1539" y="1171"/>
                  </a:lnTo>
                  <a:lnTo>
                    <a:pt x="1529" y="1169"/>
                  </a:lnTo>
                  <a:lnTo>
                    <a:pt x="1521" y="1169"/>
                  </a:lnTo>
                  <a:lnTo>
                    <a:pt x="1511" y="1171"/>
                  </a:lnTo>
                  <a:lnTo>
                    <a:pt x="1502" y="1177"/>
                  </a:lnTo>
                  <a:lnTo>
                    <a:pt x="1496" y="1183"/>
                  </a:lnTo>
                  <a:lnTo>
                    <a:pt x="1492" y="1193"/>
                  </a:lnTo>
                  <a:lnTo>
                    <a:pt x="1486" y="1206"/>
                  </a:lnTo>
                  <a:lnTo>
                    <a:pt x="1478" y="1222"/>
                  </a:lnTo>
                  <a:lnTo>
                    <a:pt x="1468" y="1238"/>
                  </a:lnTo>
                  <a:lnTo>
                    <a:pt x="1458" y="1246"/>
                  </a:lnTo>
                  <a:lnTo>
                    <a:pt x="1445" y="1254"/>
                  </a:lnTo>
                  <a:lnTo>
                    <a:pt x="1435" y="1261"/>
                  </a:lnTo>
                  <a:lnTo>
                    <a:pt x="1429" y="1273"/>
                  </a:lnTo>
                  <a:lnTo>
                    <a:pt x="1433" y="1285"/>
                  </a:lnTo>
                  <a:lnTo>
                    <a:pt x="1443" y="1297"/>
                  </a:lnTo>
                  <a:lnTo>
                    <a:pt x="1456" y="1313"/>
                  </a:lnTo>
                  <a:lnTo>
                    <a:pt x="1470" y="1332"/>
                  </a:lnTo>
                  <a:lnTo>
                    <a:pt x="1480" y="1350"/>
                  </a:lnTo>
                  <a:lnTo>
                    <a:pt x="1486" y="1364"/>
                  </a:lnTo>
                  <a:lnTo>
                    <a:pt x="1492" y="1381"/>
                  </a:lnTo>
                  <a:lnTo>
                    <a:pt x="1498" y="1401"/>
                  </a:lnTo>
                  <a:lnTo>
                    <a:pt x="1504" y="1423"/>
                  </a:lnTo>
                  <a:lnTo>
                    <a:pt x="1510" y="1441"/>
                  </a:lnTo>
                  <a:lnTo>
                    <a:pt x="1513" y="1454"/>
                  </a:lnTo>
                  <a:lnTo>
                    <a:pt x="1517" y="1470"/>
                  </a:lnTo>
                  <a:lnTo>
                    <a:pt x="1521" y="1482"/>
                  </a:lnTo>
                  <a:lnTo>
                    <a:pt x="1523" y="1486"/>
                  </a:lnTo>
                  <a:lnTo>
                    <a:pt x="1480" y="1490"/>
                  </a:lnTo>
                  <a:lnTo>
                    <a:pt x="1336" y="1439"/>
                  </a:lnTo>
                  <a:lnTo>
                    <a:pt x="1287" y="1476"/>
                  </a:lnTo>
                  <a:lnTo>
                    <a:pt x="1271" y="1531"/>
                  </a:lnTo>
                  <a:lnTo>
                    <a:pt x="1248" y="1557"/>
                  </a:lnTo>
                  <a:lnTo>
                    <a:pt x="1195" y="1504"/>
                  </a:lnTo>
                  <a:lnTo>
                    <a:pt x="1151" y="1472"/>
                  </a:lnTo>
                  <a:lnTo>
                    <a:pt x="1130" y="1399"/>
                  </a:lnTo>
                  <a:lnTo>
                    <a:pt x="1090" y="1405"/>
                  </a:lnTo>
                  <a:lnTo>
                    <a:pt x="1100" y="1486"/>
                  </a:lnTo>
                  <a:lnTo>
                    <a:pt x="1067" y="1488"/>
                  </a:lnTo>
                  <a:lnTo>
                    <a:pt x="1019" y="1415"/>
                  </a:lnTo>
                  <a:lnTo>
                    <a:pt x="966" y="1429"/>
                  </a:lnTo>
                  <a:lnTo>
                    <a:pt x="950" y="1380"/>
                  </a:lnTo>
                  <a:lnTo>
                    <a:pt x="927" y="1348"/>
                  </a:lnTo>
                  <a:lnTo>
                    <a:pt x="807" y="1372"/>
                  </a:lnTo>
                  <a:lnTo>
                    <a:pt x="765" y="1322"/>
                  </a:lnTo>
                  <a:lnTo>
                    <a:pt x="730" y="1352"/>
                  </a:lnTo>
                  <a:lnTo>
                    <a:pt x="683" y="1348"/>
                  </a:lnTo>
                  <a:lnTo>
                    <a:pt x="620" y="1370"/>
                  </a:lnTo>
                  <a:lnTo>
                    <a:pt x="557" y="1301"/>
                  </a:lnTo>
                  <a:lnTo>
                    <a:pt x="533" y="1238"/>
                  </a:lnTo>
                  <a:lnTo>
                    <a:pt x="437" y="1261"/>
                  </a:lnTo>
                  <a:lnTo>
                    <a:pt x="401" y="1291"/>
                  </a:lnTo>
                  <a:lnTo>
                    <a:pt x="413" y="1208"/>
                  </a:lnTo>
                  <a:lnTo>
                    <a:pt x="372" y="1153"/>
                  </a:lnTo>
                  <a:lnTo>
                    <a:pt x="317" y="1094"/>
                  </a:lnTo>
                  <a:lnTo>
                    <a:pt x="332" y="1047"/>
                  </a:lnTo>
                  <a:lnTo>
                    <a:pt x="415" y="956"/>
                  </a:lnTo>
                  <a:lnTo>
                    <a:pt x="472" y="844"/>
                  </a:lnTo>
                  <a:lnTo>
                    <a:pt x="521" y="791"/>
                  </a:lnTo>
                  <a:lnTo>
                    <a:pt x="529" y="722"/>
                  </a:lnTo>
                  <a:lnTo>
                    <a:pt x="563" y="708"/>
                  </a:lnTo>
                  <a:lnTo>
                    <a:pt x="531" y="590"/>
                  </a:lnTo>
                  <a:lnTo>
                    <a:pt x="561" y="480"/>
                  </a:lnTo>
                  <a:lnTo>
                    <a:pt x="580" y="376"/>
                  </a:lnTo>
                  <a:lnTo>
                    <a:pt x="468" y="297"/>
                  </a:lnTo>
                  <a:lnTo>
                    <a:pt x="421" y="358"/>
                  </a:lnTo>
                  <a:lnTo>
                    <a:pt x="313" y="393"/>
                  </a:lnTo>
                  <a:lnTo>
                    <a:pt x="210" y="393"/>
                  </a:lnTo>
                  <a:lnTo>
                    <a:pt x="183" y="321"/>
                  </a:lnTo>
                  <a:lnTo>
                    <a:pt x="179" y="254"/>
                  </a:lnTo>
                  <a:lnTo>
                    <a:pt x="112" y="226"/>
                  </a:lnTo>
                  <a:lnTo>
                    <a:pt x="88" y="273"/>
                  </a:lnTo>
                  <a:lnTo>
                    <a:pt x="0" y="222"/>
                  </a:lnTo>
                  <a:lnTo>
                    <a:pt x="45" y="140"/>
                  </a:lnTo>
                  <a:lnTo>
                    <a:pt x="6" y="90"/>
                  </a:lnTo>
                  <a:lnTo>
                    <a:pt x="10" y="88"/>
                  </a:lnTo>
                  <a:lnTo>
                    <a:pt x="19" y="83"/>
                  </a:lnTo>
                  <a:lnTo>
                    <a:pt x="33" y="75"/>
                  </a:lnTo>
                  <a:lnTo>
                    <a:pt x="51" y="65"/>
                  </a:lnTo>
                  <a:lnTo>
                    <a:pt x="69" y="57"/>
                  </a:lnTo>
                  <a:lnTo>
                    <a:pt x="84" y="49"/>
                  </a:lnTo>
                  <a:lnTo>
                    <a:pt x="98" y="45"/>
                  </a:lnTo>
                  <a:lnTo>
                    <a:pt x="112" y="41"/>
                  </a:lnTo>
                  <a:lnTo>
                    <a:pt x="134" y="35"/>
                  </a:lnTo>
                  <a:lnTo>
                    <a:pt x="155" y="25"/>
                  </a:lnTo>
                  <a:lnTo>
                    <a:pt x="179" y="18"/>
                  </a:lnTo>
                  <a:lnTo>
                    <a:pt x="197" y="8"/>
                  </a:lnTo>
                  <a:lnTo>
                    <a:pt x="208" y="4"/>
                  </a:lnTo>
                  <a:lnTo>
                    <a:pt x="224" y="0"/>
                  </a:lnTo>
                  <a:lnTo>
                    <a:pt x="244" y="4"/>
                  </a:lnTo>
                  <a:lnTo>
                    <a:pt x="267" y="14"/>
                  </a:lnTo>
                  <a:lnTo>
                    <a:pt x="293" y="25"/>
                  </a:lnTo>
                  <a:lnTo>
                    <a:pt x="313" y="39"/>
                  </a:lnTo>
                  <a:lnTo>
                    <a:pt x="328" y="47"/>
                  </a:lnTo>
                  <a:lnTo>
                    <a:pt x="344" y="51"/>
                  </a:lnTo>
                  <a:lnTo>
                    <a:pt x="358" y="49"/>
                  </a:lnTo>
                  <a:lnTo>
                    <a:pt x="366" y="43"/>
                  </a:lnTo>
                  <a:lnTo>
                    <a:pt x="374" y="35"/>
                  </a:lnTo>
                  <a:lnTo>
                    <a:pt x="380" y="27"/>
                  </a:lnTo>
                  <a:lnTo>
                    <a:pt x="387" y="21"/>
                  </a:lnTo>
                  <a:lnTo>
                    <a:pt x="397" y="21"/>
                  </a:lnTo>
                  <a:lnTo>
                    <a:pt x="413" y="25"/>
                  </a:lnTo>
                  <a:lnTo>
                    <a:pt x="447" y="39"/>
                  </a:lnTo>
                  <a:lnTo>
                    <a:pt x="472" y="53"/>
                  </a:lnTo>
                  <a:lnTo>
                    <a:pt x="492" y="73"/>
                  </a:lnTo>
                  <a:lnTo>
                    <a:pt x="510" y="96"/>
                  </a:lnTo>
                  <a:lnTo>
                    <a:pt x="531" y="118"/>
                  </a:lnTo>
                  <a:lnTo>
                    <a:pt x="551" y="142"/>
                  </a:lnTo>
                  <a:lnTo>
                    <a:pt x="567" y="163"/>
                  </a:lnTo>
                  <a:lnTo>
                    <a:pt x="582" y="187"/>
                  </a:lnTo>
                  <a:lnTo>
                    <a:pt x="598" y="212"/>
                  </a:lnTo>
                  <a:lnTo>
                    <a:pt x="610" y="232"/>
                  </a:lnTo>
                  <a:lnTo>
                    <a:pt x="622" y="256"/>
                  </a:lnTo>
                  <a:lnTo>
                    <a:pt x="637" y="279"/>
                  </a:lnTo>
                  <a:lnTo>
                    <a:pt x="655" y="303"/>
                  </a:lnTo>
                  <a:lnTo>
                    <a:pt x="673" y="325"/>
                  </a:lnTo>
                  <a:lnTo>
                    <a:pt x="689" y="348"/>
                  </a:lnTo>
                  <a:lnTo>
                    <a:pt x="698" y="368"/>
                  </a:lnTo>
                  <a:lnTo>
                    <a:pt x="704" y="378"/>
                  </a:lnTo>
                  <a:lnTo>
                    <a:pt x="714" y="386"/>
                  </a:lnTo>
                  <a:lnTo>
                    <a:pt x="726" y="393"/>
                  </a:lnTo>
                  <a:lnTo>
                    <a:pt x="736" y="405"/>
                  </a:lnTo>
                  <a:lnTo>
                    <a:pt x="742" y="417"/>
                  </a:lnTo>
                  <a:lnTo>
                    <a:pt x="750" y="445"/>
                  </a:lnTo>
                  <a:lnTo>
                    <a:pt x="761" y="470"/>
                  </a:lnTo>
                  <a:lnTo>
                    <a:pt x="773" y="492"/>
                  </a:lnTo>
                  <a:lnTo>
                    <a:pt x="783" y="508"/>
                  </a:lnTo>
                  <a:lnTo>
                    <a:pt x="795" y="527"/>
                  </a:lnTo>
                  <a:lnTo>
                    <a:pt x="809" y="543"/>
                  </a:lnTo>
                  <a:lnTo>
                    <a:pt x="824" y="555"/>
                  </a:lnTo>
                  <a:lnTo>
                    <a:pt x="840" y="561"/>
                  </a:lnTo>
                  <a:lnTo>
                    <a:pt x="862" y="567"/>
                  </a:lnTo>
                  <a:lnTo>
                    <a:pt x="882" y="569"/>
                  </a:lnTo>
                  <a:lnTo>
                    <a:pt x="901" y="565"/>
                  </a:lnTo>
                  <a:lnTo>
                    <a:pt x="919" y="559"/>
                  </a:lnTo>
                  <a:lnTo>
                    <a:pt x="941" y="553"/>
                  </a:lnTo>
                  <a:lnTo>
                    <a:pt x="960" y="549"/>
                  </a:lnTo>
                  <a:lnTo>
                    <a:pt x="982" y="551"/>
                  </a:lnTo>
                  <a:lnTo>
                    <a:pt x="1004" y="559"/>
                  </a:lnTo>
                  <a:lnTo>
                    <a:pt x="1029" y="563"/>
                  </a:lnTo>
                  <a:lnTo>
                    <a:pt x="1051" y="569"/>
                  </a:lnTo>
                  <a:lnTo>
                    <a:pt x="1065" y="575"/>
                  </a:lnTo>
                  <a:lnTo>
                    <a:pt x="1073" y="580"/>
                  </a:lnTo>
                  <a:lnTo>
                    <a:pt x="1086" y="588"/>
                  </a:lnTo>
                  <a:lnTo>
                    <a:pt x="1104" y="598"/>
                  </a:lnTo>
                  <a:lnTo>
                    <a:pt x="1122" y="608"/>
                  </a:lnTo>
                  <a:lnTo>
                    <a:pt x="1139" y="616"/>
                  </a:lnTo>
                  <a:lnTo>
                    <a:pt x="1155" y="620"/>
                  </a:lnTo>
                  <a:lnTo>
                    <a:pt x="1167" y="620"/>
                  </a:lnTo>
                  <a:lnTo>
                    <a:pt x="1171" y="618"/>
                  </a:lnTo>
                  <a:lnTo>
                    <a:pt x="1177" y="614"/>
                  </a:lnTo>
                  <a:lnTo>
                    <a:pt x="1181" y="614"/>
                  </a:lnTo>
                  <a:lnTo>
                    <a:pt x="1185" y="614"/>
                  </a:lnTo>
                  <a:lnTo>
                    <a:pt x="1189" y="616"/>
                  </a:lnTo>
                  <a:lnTo>
                    <a:pt x="1191" y="618"/>
                  </a:lnTo>
                  <a:lnTo>
                    <a:pt x="1193" y="624"/>
                  </a:lnTo>
                  <a:lnTo>
                    <a:pt x="1195" y="632"/>
                  </a:lnTo>
                  <a:lnTo>
                    <a:pt x="1197" y="641"/>
                  </a:lnTo>
                  <a:lnTo>
                    <a:pt x="1202" y="659"/>
                  </a:lnTo>
                  <a:lnTo>
                    <a:pt x="1212" y="675"/>
                  </a:lnTo>
                  <a:lnTo>
                    <a:pt x="1224" y="687"/>
                  </a:lnTo>
                  <a:lnTo>
                    <a:pt x="1232" y="701"/>
                  </a:lnTo>
                  <a:lnTo>
                    <a:pt x="1238" y="714"/>
                  </a:lnTo>
                  <a:lnTo>
                    <a:pt x="1244" y="734"/>
                  </a:lnTo>
                  <a:lnTo>
                    <a:pt x="1254" y="754"/>
                  </a:lnTo>
                  <a:lnTo>
                    <a:pt x="1265" y="767"/>
                  </a:lnTo>
                  <a:lnTo>
                    <a:pt x="1277" y="775"/>
                  </a:lnTo>
                  <a:lnTo>
                    <a:pt x="1289" y="779"/>
                  </a:lnTo>
                  <a:lnTo>
                    <a:pt x="1299" y="785"/>
                  </a:lnTo>
                  <a:lnTo>
                    <a:pt x="1313" y="789"/>
                  </a:lnTo>
                  <a:lnTo>
                    <a:pt x="1328" y="785"/>
                  </a:lnTo>
                  <a:lnTo>
                    <a:pt x="1348" y="777"/>
                  </a:lnTo>
                  <a:lnTo>
                    <a:pt x="1374" y="773"/>
                  </a:lnTo>
                  <a:lnTo>
                    <a:pt x="1399" y="767"/>
                  </a:lnTo>
                  <a:lnTo>
                    <a:pt x="1423" y="760"/>
                  </a:lnTo>
                  <a:lnTo>
                    <a:pt x="1447" y="742"/>
                  </a:lnTo>
                  <a:lnTo>
                    <a:pt x="1462" y="722"/>
                  </a:lnTo>
                  <a:lnTo>
                    <a:pt x="1472" y="701"/>
                  </a:lnTo>
                  <a:lnTo>
                    <a:pt x="1480" y="689"/>
                  </a:lnTo>
                  <a:lnTo>
                    <a:pt x="1494" y="675"/>
                  </a:lnTo>
                  <a:lnTo>
                    <a:pt x="1510" y="659"/>
                  </a:lnTo>
                  <a:lnTo>
                    <a:pt x="1527" y="643"/>
                  </a:lnTo>
                  <a:lnTo>
                    <a:pt x="1543" y="628"/>
                  </a:lnTo>
                  <a:lnTo>
                    <a:pt x="1557" y="616"/>
                  </a:lnTo>
                  <a:lnTo>
                    <a:pt x="1572" y="604"/>
                  </a:lnTo>
                  <a:lnTo>
                    <a:pt x="1584" y="594"/>
                  </a:lnTo>
                  <a:lnTo>
                    <a:pt x="1598" y="586"/>
                  </a:lnTo>
                  <a:lnTo>
                    <a:pt x="1614" y="577"/>
                  </a:lnTo>
                  <a:lnTo>
                    <a:pt x="1634" y="567"/>
                  </a:lnTo>
                  <a:lnTo>
                    <a:pt x="1653" y="561"/>
                  </a:lnTo>
                  <a:lnTo>
                    <a:pt x="1667" y="557"/>
                  </a:lnTo>
                  <a:lnTo>
                    <a:pt x="1673" y="557"/>
                  </a:lnTo>
                </a:path>
              </a:pathLst>
            </a:custGeom>
            <a:grpFill/>
            <a:ln w="6350">
              <a:solidFill>
                <a:schemeClr val="tx1">
                  <a:lumMod val="85000"/>
                  <a:lumOff val="15000"/>
                </a:schemeClr>
              </a:solidFill>
              <a:prstDash val="solid"/>
              <a:round/>
            </a:ln>
          </p:spPr>
          <p:txBody>
            <a:bodyPr/>
            <a:lstStyle/>
            <a:p>
              <a:endParaRPr lang="zh-CN" altLang="en-US" sz="2400"/>
            </a:p>
          </p:txBody>
        </p:sp>
        <p:sp>
          <p:nvSpPr>
            <p:cNvPr id="61" name="Freeform 105"/>
            <p:cNvSpPr/>
            <p:nvPr/>
          </p:nvSpPr>
          <p:spPr bwMode="gray">
            <a:xfrm>
              <a:off x="2264" y="884"/>
              <a:ext cx="1641" cy="1473"/>
            </a:xfrm>
            <a:custGeom>
              <a:avLst/>
              <a:gdLst>
                <a:gd name="T0" fmla="*/ 651 w 3282"/>
                <a:gd name="T1" fmla="*/ 10 h 2947"/>
                <a:gd name="T2" fmla="*/ 669 w 3282"/>
                <a:gd name="T3" fmla="*/ 0 h 2947"/>
                <a:gd name="T4" fmla="*/ 720 w 3282"/>
                <a:gd name="T5" fmla="*/ 75 h 2947"/>
                <a:gd name="T6" fmla="*/ 808 w 3282"/>
                <a:gd name="T7" fmla="*/ 154 h 2947"/>
                <a:gd name="T8" fmla="*/ 761 w 3282"/>
                <a:gd name="T9" fmla="*/ 265 h 2947"/>
                <a:gd name="T10" fmla="*/ 737 w 3282"/>
                <a:gd name="T11" fmla="*/ 326 h 2947"/>
                <a:gd name="T12" fmla="*/ 793 w 3282"/>
                <a:gd name="T13" fmla="*/ 368 h 2947"/>
                <a:gd name="T14" fmla="*/ 785 w 3282"/>
                <a:gd name="T15" fmla="*/ 441 h 2947"/>
                <a:gd name="T16" fmla="*/ 710 w 3282"/>
                <a:gd name="T17" fmla="*/ 486 h 2947"/>
                <a:gd name="T18" fmla="*/ 693 w 3282"/>
                <a:gd name="T19" fmla="*/ 529 h 2947"/>
                <a:gd name="T20" fmla="*/ 634 w 3282"/>
                <a:gd name="T21" fmla="*/ 485 h 2947"/>
                <a:gd name="T22" fmla="*/ 587 w 3282"/>
                <a:gd name="T23" fmla="*/ 518 h 2947"/>
                <a:gd name="T24" fmla="*/ 530 w 3282"/>
                <a:gd name="T25" fmla="*/ 545 h 2947"/>
                <a:gd name="T26" fmla="*/ 470 w 3282"/>
                <a:gd name="T27" fmla="*/ 631 h 2947"/>
                <a:gd name="T28" fmla="*/ 376 w 3282"/>
                <a:gd name="T29" fmla="*/ 713 h 2947"/>
                <a:gd name="T30" fmla="*/ 309 w 3282"/>
                <a:gd name="T31" fmla="*/ 676 h 2947"/>
                <a:gd name="T32" fmla="*/ 235 w 3282"/>
                <a:gd name="T33" fmla="*/ 736 h 2947"/>
                <a:gd name="T34" fmla="*/ 189 w 3282"/>
                <a:gd name="T35" fmla="*/ 655 h 2947"/>
                <a:gd name="T36" fmla="*/ 88 w 3282"/>
                <a:gd name="T37" fmla="*/ 617 h 2947"/>
                <a:gd name="T38" fmla="*/ 9 w 3282"/>
                <a:gd name="T39" fmla="*/ 583 h 2947"/>
                <a:gd name="T40" fmla="*/ 20 w 3282"/>
                <a:gd name="T41" fmla="*/ 515 h 2947"/>
                <a:gd name="T42" fmla="*/ 70 w 3282"/>
                <a:gd name="T43" fmla="*/ 522 h 2947"/>
                <a:gd name="T44" fmla="*/ 103 w 3282"/>
                <a:gd name="T45" fmla="*/ 518 h 2947"/>
                <a:gd name="T46" fmla="*/ 144 w 3282"/>
                <a:gd name="T47" fmla="*/ 526 h 2947"/>
                <a:gd name="T48" fmla="*/ 178 w 3282"/>
                <a:gd name="T49" fmla="*/ 545 h 2947"/>
                <a:gd name="T50" fmla="*/ 223 w 3282"/>
                <a:gd name="T51" fmla="*/ 550 h 2947"/>
                <a:gd name="T52" fmla="*/ 246 w 3282"/>
                <a:gd name="T53" fmla="*/ 558 h 2947"/>
                <a:gd name="T54" fmla="*/ 291 w 3282"/>
                <a:gd name="T55" fmla="*/ 532 h 2947"/>
                <a:gd name="T56" fmla="*/ 341 w 3282"/>
                <a:gd name="T57" fmla="*/ 519 h 2947"/>
                <a:gd name="T58" fmla="*/ 375 w 3282"/>
                <a:gd name="T59" fmla="*/ 517 h 2947"/>
                <a:gd name="T60" fmla="*/ 398 w 3282"/>
                <a:gd name="T61" fmla="*/ 506 h 2947"/>
                <a:gd name="T62" fmla="*/ 420 w 3282"/>
                <a:gd name="T63" fmla="*/ 485 h 2947"/>
                <a:gd name="T64" fmla="*/ 443 w 3282"/>
                <a:gd name="T65" fmla="*/ 466 h 2947"/>
                <a:gd name="T66" fmla="*/ 459 w 3282"/>
                <a:gd name="T67" fmla="*/ 452 h 2947"/>
                <a:gd name="T68" fmla="*/ 443 w 3282"/>
                <a:gd name="T69" fmla="*/ 419 h 2947"/>
                <a:gd name="T70" fmla="*/ 466 w 3282"/>
                <a:gd name="T71" fmla="*/ 396 h 2947"/>
                <a:gd name="T72" fmla="*/ 505 w 3282"/>
                <a:gd name="T73" fmla="*/ 403 h 2947"/>
                <a:gd name="T74" fmla="*/ 530 w 3282"/>
                <a:gd name="T75" fmla="*/ 375 h 2947"/>
                <a:gd name="T76" fmla="*/ 561 w 3282"/>
                <a:gd name="T77" fmla="*/ 369 h 2947"/>
                <a:gd name="T78" fmla="*/ 579 w 3282"/>
                <a:gd name="T79" fmla="*/ 341 h 2947"/>
                <a:gd name="T80" fmla="*/ 607 w 3282"/>
                <a:gd name="T81" fmla="*/ 315 h 2947"/>
                <a:gd name="T82" fmla="*/ 634 w 3282"/>
                <a:gd name="T83" fmla="*/ 298 h 2947"/>
                <a:gd name="T84" fmla="*/ 672 w 3282"/>
                <a:gd name="T85" fmla="*/ 300 h 2947"/>
                <a:gd name="T86" fmla="*/ 671 w 3282"/>
                <a:gd name="T87" fmla="*/ 277 h 2947"/>
                <a:gd name="T88" fmla="*/ 631 w 3282"/>
                <a:gd name="T89" fmla="*/ 249 h 2947"/>
                <a:gd name="T90" fmla="*/ 607 w 3282"/>
                <a:gd name="T91" fmla="*/ 260 h 2947"/>
                <a:gd name="T92" fmla="*/ 576 w 3282"/>
                <a:gd name="T93" fmla="*/ 258 h 2947"/>
                <a:gd name="T94" fmla="*/ 553 w 3282"/>
                <a:gd name="T95" fmla="*/ 268 h 2947"/>
                <a:gd name="T96" fmla="*/ 549 w 3282"/>
                <a:gd name="T97" fmla="*/ 245 h 2947"/>
                <a:gd name="T98" fmla="*/ 560 w 3282"/>
                <a:gd name="T99" fmla="*/ 195 h 2947"/>
                <a:gd name="T100" fmla="*/ 583 w 3282"/>
                <a:gd name="T101" fmla="*/ 179 h 2947"/>
                <a:gd name="T102" fmla="*/ 611 w 3282"/>
                <a:gd name="T103" fmla="*/ 168 h 2947"/>
                <a:gd name="T104" fmla="*/ 635 w 3282"/>
                <a:gd name="T105" fmla="*/ 152 h 2947"/>
                <a:gd name="T106" fmla="*/ 636 w 3282"/>
                <a:gd name="T107" fmla="*/ 124 h 2947"/>
                <a:gd name="T108" fmla="*/ 647 w 3282"/>
                <a:gd name="T109" fmla="*/ 84 h 2947"/>
                <a:gd name="T110" fmla="*/ 659 w 3282"/>
                <a:gd name="T111" fmla="*/ 61 h 2947"/>
                <a:gd name="T112" fmla="*/ 652 w 3282"/>
                <a:gd name="T113" fmla="*/ 37 h 2947"/>
                <a:gd name="T114" fmla="*/ 637 w 3282"/>
                <a:gd name="T115" fmla="*/ 31 h 29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282"/>
                <a:gd name="T175" fmla="*/ 0 h 2947"/>
                <a:gd name="T176" fmla="*/ 3282 w 3282"/>
                <a:gd name="T177" fmla="*/ 2947 h 294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282" h="2947">
                  <a:moveTo>
                    <a:pt x="2552" y="115"/>
                  </a:moveTo>
                  <a:lnTo>
                    <a:pt x="2554" y="111"/>
                  </a:lnTo>
                  <a:lnTo>
                    <a:pt x="2559" y="101"/>
                  </a:lnTo>
                  <a:lnTo>
                    <a:pt x="2569" y="87"/>
                  </a:lnTo>
                  <a:lnTo>
                    <a:pt x="2579" y="73"/>
                  </a:lnTo>
                  <a:lnTo>
                    <a:pt x="2589" y="55"/>
                  </a:lnTo>
                  <a:lnTo>
                    <a:pt x="2601" y="42"/>
                  </a:lnTo>
                  <a:lnTo>
                    <a:pt x="2609" y="28"/>
                  </a:lnTo>
                  <a:lnTo>
                    <a:pt x="2617" y="20"/>
                  </a:lnTo>
                  <a:lnTo>
                    <a:pt x="2628" y="12"/>
                  </a:lnTo>
                  <a:lnTo>
                    <a:pt x="2642" y="6"/>
                  </a:lnTo>
                  <a:lnTo>
                    <a:pt x="2658" y="2"/>
                  </a:lnTo>
                  <a:lnTo>
                    <a:pt x="2670" y="0"/>
                  </a:lnTo>
                  <a:lnTo>
                    <a:pt x="2676" y="0"/>
                  </a:lnTo>
                  <a:lnTo>
                    <a:pt x="2715" y="50"/>
                  </a:lnTo>
                  <a:lnTo>
                    <a:pt x="2670" y="132"/>
                  </a:lnTo>
                  <a:lnTo>
                    <a:pt x="2758" y="183"/>
                  </a:lnTo>
                  <a:lnTo>
                    <a:pt x="2782" y="142"/>
                  </a:lnTo>
                  <a:lnTo>
                    <a:pt x="2849" y="164"/>
                  </a:lnTo>
                  <a:lnTo>
                    <a:pt x="2853" y="231"/>
                  </a:lnTo>
                  <a:lnTo>
                    <a:pt x="2880" y="303"/>
                  </a:lnTo>
                  <a:lnTo>
                    <a:pt x="2983" y="303"/>
                  </a:lnTo>
                  <a:lnTo>
                    <a:pt x="3091" y="268"/>
                  </a:lnTo>
                  <a:lnTo>
                    <a:pt x="3138" y="207"/>
                  </a:lnTo>
                  <a:lnTo>
                    <a:pt x="3250" y="286"/>
                  </a:lnTo>
                  <a:lnTo>
                    <a:pt x="3231" y="386"/>
                  </a:lnTo>
                  <a:lnTo>
                    <a:pt x="3201" y="500"/>
                  </a:lnTo>
                  <a:lnTo>
                    <a:pt x="3231" y="616"/>
                  </a:lnTo>
                  <a:lnTo>
                    <a:pt x="3199" y="632"/>
                  </a:lnTo>
                  <a:lnTo>
                    <a:pt x="3191" y="701"/>
                  </a:lnTo>
                  <a:lnTo>
                    <a:pt x="3140" y="756"/>
                  </a:lnTo>
                  <a:lnTo>
                    <a:pt x="3085" y="866"/>
                  </a:lnTo>
                  <a:lnTo>
                    <a:pt x="3002" y="957"/>
                  </a:lnTo>
                  <a:lnTo>
                    <a:pt x="2987" y="1004"/>
                  </a:lnTo>
                  <a:lnTo>
                    <a:pt x="3042" y="1063"/>
                  </a:lnTo>
                  <a:lnTo>
                    <a:pt x="3083" y="1120"/>
                  </a:lnTo>
                  <a:lnTo>
                    <a:pt x="3071" y="1201"/>
                  </a:lnTo>
                  <a:lnTo>
                    <a:pt x="3079" y="1266"/>
                  </a:lnTo>
                  <a:lnTo>
                    <a:pt x="3030" y="1244"/>
                  </a:lnTo>
                  <a:lnTo>
                    <a:pt x="3014" y="1264"/>
                  </a:lnTo>
                  <a:lnTo>
                    <a:pt x="2971" y="1250"/>
                  </a:lnTo>
                  <a:lnTo>
                    <a:pt x="2947" y="1305"/>
                  </a:lnTo>
                  <a:lnTo>
                    <a:pt x="2989" y="1313"/>
                  </a:lnTo>
                  <a:lnTo>
                    <a:pt x="3030" y="1368"/>
                  </a:lnTo>
                  <a:lnTo>
                    <a:pt x="3024" y="1451"/>
                  </a:lnTo>
                  <a:lnTo>
                    <a:pt x="3059" y="1500"/>
                  </a:lnTo>
                  <a:lnTo>
                    <a:pt x="3061" y="1530"/>
                  </a:lnTo>
                  <a:lnTo>
                    <a:pt x="3091" y="1536"/>
                  </a:lnTo>
                  <a:lnTo>
                    <a:pt x="3170" y="1475"/>
                  </a:lnTo>
                  <a:lnTo>
                    <a:pt x="3209" y="1541"/>
                  </a:lnTo>
                  <a:lnTo>
                    <a:pt x="3244" y="1608"/>
                  </a:lnTo>
                  <a:lnTo>
                    <a:pt x="3282" y="1630"/>
                  </a:lnTo>
                  <a:lnTo>
                    <a:pt x="3282" y="1677"/>
                  </a:lnTo>
                  <a:lnTo>
                    <a:pt x="3239" y="1728"/>
                  </a:lnTo>
                  <a:lnTo>
                    <a:pt x="3189" y="1776"/>
                  </a:lnTo>
                  <a:lnTo>
                    <a:pt x="3138" y="1766"/>
                  </a:lnTo>
                  <a:lnTo>
                    <a:pt x="3134" y="1803"/>
                  </a:lnTo>
                  <a:lnTo>
                    <a:pt x="3101" y="1819"/>
                  </a:lnTo>
                  <a:lnTo>
                    <a:pt x="3032" y="1839"/>
                  </a:lnTo>
                  <a:lnTo>
                    <a:pt x="2981" y="1898"/>
                  </a:lnTo>
                  <a:lnTo>
                    <a:pt x="2928" y="1941"/>
                  </a:lnTo>
                  <a:lnTo>
                    <a:pt x="2884" y="2012"/>
                  </a:lnTo>
                  <a:lnTo>
                    <a:pt x="2839" y="1947"/>
                  </a:lnTo>
                  <a:lnTo>
                    <a:pt x="2798" y="1917"/>
                  </a:lnTo>
                  <a:lnTo>
                    <a:pt x="2768" y="1945"/>
                  </a:lnTo>
                  <a:lnTo>
                    <a:pt x="2788" y="1967"/>
                  </a:lnTo>
                  <a:lnTo>
                    <a:pt x="2788" y="2032"/>
                  </a:lnTo>
                  <a:lnTo>
                    <a:pt x="2811" y="2087"/>
                  </a:lnTo>
                  <a:lnTo>
                    <a:pt x="2778" y="2140"/>
                  </a:lnTo>
                  <a:lnTo>
                    <a:pt x="2770" y="2118"/>
                  </a:lnTo>
                  <a:lnTo>
                    <a:pt x="2703" y="2116"/>
                  </a:lnTo>
                  <a:lnTo>
                    <a:pt x="2656" y="2073"/>
                  </a:lnTo>
                  <a:lnTo>
                    <a:pt x="2640" y="2012"/>
                  </a:lnTo>
                  <a:lnTo>
                    <a:pt x="2607" y="1971"/>
                  </a:lnTo>
                  <a:lnTo>
                    <a:pt x="2581" y="1925"/>
                  </a:lnTo>
                  <a:lnTo>
                    <a:pt x="2556" y="1911"/>
                  </a:lnTo>
                  <a:lnTo>
                    <a:pt x="2536" y="1941"/>
                  </a:lnTo>
                  <a:lnTo>
                    <a:pt x="2506" y="1943"/>
                  </a:lnTo>
                  <a:lnTo>
                    <a:pt x="2469" y="1967"/>
                  </a:lnTo>
                  <a:lnTo>
                    <a:pt x="2479" y="2035"/>
                  </a:lnTo>
                  <a:lnTo>
                    <a:pt x="2441" y="2049"/>
                  </a:lnTo>
                  <a:lnTo>
                    <a:pt x="2414" y="2039"/>
                  </a:lnTo>
                  <a:lnTo>
                    <a:pt x="2386" y="2075"/>
                  </a:lnTo>
                  <a:lnTo>
                    <a:pt x="2347" y="2073"/>
                  </a:lnTo>
                  <a:lnTo>
                    <a:pt x="2296" y="2128"/>
                  </a:lnTo>
                  <a:lnTo>
                    <a:pt x="2248" y="2132"/>
                  </a:lnTo>
                  <a:lnTo>
                    <a:pt x="2231" y="2055"/>
                  </a:lnTo>
                  <a:lnTo>
                    <a:pt x="2183" y="2051"/>
                  </a:lnTo>
                  <a:lnTo>
                    <a:pt x="2158" y="2093"/>
                  </a:lnTo>
                  <a:lnTo>
                    <a:pt x="2152" y="2142"/>
                  </a:lnTo>
                  <a:lnTo>
                    <a:pt x="2120" y="2181"/>
                  </a:lnTo>
                  <a:lnTo>
                    <a:pt x="2132" y="2222"/>
                  </a:lnTo>
                  <a:lnTo>
                    <a:pt x="2117" y="2246"/>
                  </a:lnTo>
                  <a:lnTo>
                    <a:pt x="2185" y="2333"/>
                  </a:lnTo>
                  <a:lnTo>
                    <a:pt x="2075" y="2376"/>
                  </a:lnTo>
                  <a:lnTo>
                    <a:pt x="2014" y="2376"/>
                  </a:lnTo>
                  <a:lnTo>
                    <a:pt x="1928" y="2407"/>
                  </a:lnTo>
                  <a:lnTo>
                    <a:pt x="1880" y="2526"/>
                  </a:lnTo>
                  <a:lnTo>
                    <a:pt x="1802" y="2555"/>
                  </a:lnTo>
                  <a:lnTo>
                    <a:pt x="1766" y="2539"/>
                  </a:lnTo>
                  <a:lnTo>
                    <a:pt x="1731" y="2598"/>
                  </a:lnTo>
                  <a:lnTo>
                    <a:pt x="1674" y="2579"/>
                  </a:lnTo>
                  <a:lnTo>
                    <a:pt x="1621" y="2638"/>
                  </a:lnTo>
                  <a:lnTo>
                    <a:pt x="1601" y="2718"/>
                  </a:lnTo>
                  <a:lnTo>
                    <a:pt x="1502" y="2852"/>
                  </a:lnTo>
                  <a:lnTo>
                    <a:pt x="1459" y="2888"/>
                  </a:lnTo>
                  <a:lnTo>
                    <a:pt x="1430" y="2860"/>
                  </a:lnTo>
                  <a:lnTo>
                    <a:pt x="1339" y="2876"/>
                  </a:lnTo>
                  <a:lnTo>
                    <a:pt x="1298" y="2823"/>
                  </a:lnTo>
                  <a:lnTo>
                    <a:pt x="1239" y="2821"/>
                  </a:lnTo>
                  <a:lnTo>
                    <a:pt x="1195" y="2781"/>
                  </a:lnTo>
                  <a:lnTo>
                    <a:pt x="1233" y="2707"/>
                  </a:lnTo>
                  <a:lnTo>
                    <a:pt x="1248" y="2659"/>
                  </a:lnTo>
                  <a:lnTo>
                    <a:pt x="1215" y="2612"/>
                  </a:lnTo>
                  <a:lnTo>
                    <a:pt x="1150" y="2630"/>
                  </a:lnTo>
                  <a:lnTo>
                    <a:pt x="1115" y="2709"/>
                  </a:lnTo>
                  <a:lnTo>
                    <a:pt x="1101" y="2846"/>
                  </a:lnTo>
                  <a:lnTo>
                    <a:pt x="1052" y="2901"/>
                  </a:lnTo>
                  <a:lnTo>
                    <a:pt x="939" y="2947"/>
                  </a:lnTo>
                  <a:lnTo>
                    <a:pt x="869" y="2941"/>
                  </a:lnTo>
                  <a:lnTo>
                    <a:pt x="810" y="2886"/>
                  </a:lnTo>
                  <a:lnTo>
                    <a:pt x="817" y="2795"/>
                  </a:lnTo>
                  <a:lnTo>
                    <a:pt x="874" y="2764"/>
                  </a:lnTo>
                  <a:lnTo>
                    <a:pt x="874" y="2657"/>
                  </a:lnTo>
                  <a:lnTo>
                    <a:pt x="829" y="2618"/>
                  </a:lnTo>
                  <a:lnTo>
                    <a:pt x="754" y="2620"/>
                  </a:lnTo>
                  <a:lnTo>
                    <a:pt x="658" y="2714"/>
                  </a:lnTo>
                  <a:lnTo>
                    <a:pt x="524" y="2714"/>
                  </a:lnTo>
                  <a:lnTo>
                    <a:pt x="441" y="2671"/>
                  </a:lnTo>
                  <a:lnTo>
                    <a:pt x="445" y="2610"/>
                  </a:lnTo>
                  <a:lnTo>
                    <a:pt x="378" y="2606"/>
                  </a:lnTo>
                  <a:lnTo>
                    <a:pt x="302" y="2539"/>
                  </a:lnTo>
                  <a:lnTo>
                    <a:pt x="351" y="2470"/>
                  </a:lnTo>
                  <a:lnTo>
                    <a:pt x="396" y="2457"/>
                  </a:lnTo>
                  <a:lnTo>
                    <a:pt x="376" y="2390"/>
                  </a:lnTo>
                  <a:lnTo>
                    <a:pt x="296" y="2362"/>
                  </a:lnTo>
                  <a:lnTo>
                    <a:pt x="203" y="2374"/>
                  </a:lnTo>
                  <a:lnTo>
                    <a:pt x="156" y="2429"/>
                  </a:lnTo>
                  <a:lnTo>
                    <a:pt x="111" y="2423"/>
                  </a:lnTo>
                  <a:lnTo>
                    <a:pt x="34" y="2333"/>
                  </a:lnTo>
                  <a:lnTo>
                    <a:pt x="0" y="2236"/>
                  </a:lnTo>
                  <a:lnTo>
                    <a:pt x="18" y="2179"/>
                  </a:lnTo>
                  <a:lnTo>
                    <a:pt x="10" y="2055"/>
                  </a:lnTo>
                  <a:lnTo>
                    <a:pt x="14" y="2057"/>
                  </a:lnTo>
                  <a:lnTo>
                    <a:pt x="30" y="2057"/>
                  </a:lnTo>
                  <a:lnTo>
                    <a:pt x="52" y="2059"/>
                  </a:lnTo>
                  <a:lnTo>
                    <a:pt x="79" y="2063"/>
                  </a:lnTo>
                  <a:lnTo>
                    <a:pt x="109" y="2065"/>
                  </a:lnTo>
                  <a:lnTo>
                    <a:pt x="138" y="2069"/>
                  </a:lnTo>
                  <a:lnTo>
                    <a:pt x="166" y="2073"/>
                  </a:lnTo>
                  <a:lnTo>
                    <a:pt x="189" y="2077"/>
                  </a:lnTo>
                  <a:lnTo>
                    <a:pt x="207" y="2081"/>
                  </a:lnTo>
                  <a:lnTo>
                    <a:pt x="243" y="2089"/>
                  </a:lnTo>
                  <a:lnTo>
                    <a:pt x="278" y="2089"/>
                  </a:lnTo>
                  <a:lnTo>
                    <a:pt x="308" y="2081"/>
                  </a:lnTo>
                  <a:lnTo>
                    <a:pt x="323" y="2075"/>
                  </a:lnTo>
                  <a:lnTo>
                    <a:pt x="337" y="2069"/>
                  </a:lnTo>
                  <a:lnTo>
                    <a:pt x="351" y="2067"/>
                  </a:lnTo>
                  <a:lnTo>
                    <a:pt x="367" y="2065"/>
                  </a:lnTo>
                  <a:lnTo>
                    <a:pt x="386" y="2069"/>
                  </a:lnTo>
                  <a:lnTo>
                    <a:pt x="412" y="2075"/>
                  </a:lnTo>
                  <a:lnTo>
                    <a:pt x="441" y="2079"/>
                  </a:lnTo>
                  <a:lnTo>
                    <a:pt x="473" y="2083"/>
                  </a:lnTo>
                  <a:lnTo>
                    <a:pt x="498" y="2087"/>
                  </a:lnTo>
                  <a:lnTo>
                    <a:pt x="518" y="2087"/>
                  </a:lnTo>
                  <a:lnTo>
                    <a:pt x="542" y="2089"/>
                  </a:lnTo>
                  <a:lnTo>
                    <a:pt x="560" y="2095"/>
                  </a:lnTo>
                  <a:lnTo>
                    <a:pt x="575" y="2104"/>
                  </a:lnTo>
                  <a:lnTo>
                    <a:pt x="589" y="2118"/>
                  </a:lnTo>
                  <a:lnTo>
                    <a:pt x="607" y="2134"/>
                  </a:lnTo>
                  <a:lnTo>
                    <a:pt x="626" y="2148"/>
                  </a:lnTo>
                  <a:lnTo>
                    <a:pt x="646" y="2156"/>
                  </a:lnTo>
                  <a:lnTo>
                    <a:pt x="666" y="2163"/>
                  </a:lnTo>
                  <a:lnTo>
                    <a:pt x="685" y="2173"/>
                  </a:lnTo>
                  <a:lnTo>
                    <a:pt x="709" y="2183"/>
                  </a:lnTo>
                  <a:lnTo>
                    <a:pt x="739" y="2193"/>
                  </a:lnTo>
                  <a:lnTo>
                    <a:pt x="762" y="2197"/>
                  </a:lnTo>
                  <a:lnTo>
                    <a:pt x="792" y="2199"/>
                  </a:lnTo>
                  <a:lnTo>
                    <a:pt x="821" y="2201"/>
                  </a:lnTo>
                  <a:lnTo>
                    <a:pt x="851" y="2201"/>
                  </a:lnTo>
                  <a:lnTo>
                    <a:pt x="874" y="2201"/>
                  </a:lnTo>
                  <a:lnTo>
                    <a:pt x="892" y="2203"/>
                  </a:lnTo>
                  <a:lnTo>
                    <a:pt x="904" y="2207"/>
                  </a:lnTo>
                  <a:lnTo>
                    <a:pt x="914" y="2215"/>
                  </a:lnTo>
                  <a:lnTo>
                    <a:pt x="924" y="2224"/>
                  </a:lnTo>
                  <a:lnTo>
                    <a:pt x="935" y="2232"/>
                  </a:lnTo>
                  <a:lnTo>
                    <a:pt x="947" y="2236"/>
                  </a:lnTo>
                  <a:lnTo>
                    <a:pt x="965" y="2238"/>
                  </a:lnTo>
                  <a:lnTo>
                    <a:pt x="985" y="2234"/>
                  </a:lnTo>
                  <a:lnTo>
                    <a:pt x="1002" y="2224"/>
                  </a:lnTo>
                  <a:lnTo>
                    <a:pt x="1024" y="2207"/>
                  </a:lnTo>
                  <a:lnTo>
                    <a:pt x="1048" y="2187"/>
                  </a:lnTo>
                  <a:lnTo>
                    <a:pt x="1073" y="2171"/>
                  </a:lnTo>
                  <a:lnTo>
                    <a:pt x="1103" y="2157"/>
                  </a:lnTo>
                  <a:lnTo>
                    <a:pt x="1134" y="2144"/>
                  </a:lnTo>
                  <a:lnTo>
                    <a:pt x="1164" y="2130"/>
                  </a:lnTo>
                  <a:lnTo>
                    <a:pt x="1199" y="2114"/>
                  </a:lnTo>
                  <a:lnTo>
                    <a:pt x="1241" y="2098"/>
                  </a:lnTo>
                  <a:lnTo>
                    <a:pt x="1282" y="2087"/>
                  </a:lnTo>
                  <a:lnTo>
                    <a:pt x="1325" y="2079"/>
                  </a:lnTo>
                  <a:lnTo>
                    <a:pt x="1345" y="2077"/>
                  </a:lnTo>
                  <a:lnTo>
                    <a:pt x="1357" y="2077"/>
                  </a:lnTo>
                  <a:lnTo>
                    <a:pt x="1363" y="2079"/>
                  </a:lnTo>
                  <a:lnTo>
                    <a:pt x="1367" y="2079"/>
                  </a:lnTo>
                  <a:lnTo>
                    <a:pt x="1371" y="2081"/>
                  </a:lnTo>
                  <a:lnTo>
                    <a:pt x="1378" y="2081"/>
                  </a:lnTo>
                  <a:lnTo>
                    <a:pt x="1392" y="2081"/>
                  </a:lnTo>
                  <a:lnTo>
                    <a:pt x="1418" y="2079"/>
                  </a:lnTo>
                  <a:lnTo>
                    <a:pt x="1463" y="2075"/>
                  </a:lnTo>
                  <a:lnTo>
                    <a:pt x="1498" y="2071"/>
                  </a:lnTo>
                  <a:lnTo>
                    <a:pt x="1526" y="2065"/>
                  </a:lnTo>
                  <a:lnTo>
                    <a:pt x="1548" y="2059"/>
                  </a:lnTo>
                  <a:lnTo>
                    <a:pt x="1561" y="2053"/>
                  </a:lnTo>
                  <a:lnTo>
                    <a:pt x="1571" y="2045"/>
                  </a:lnTo>
                  <a:lnTo>
                    <a:pt x="1577" y="2035"/>
                  </a:lnTo>
                  <a:lnTo>
                    <a:pt x="1581" y="2030"/>
                  </a:lnTo>
                  <a:lnTo>
                    <a:pt x="1589" y="2024"/>
                  </a:lnTo>
                  <a:lnTo>
                    <a:pt x="1603" y="2018"/>
                  </a:lnTo>
                  <a:lnTo>
                    <a:pt x="1622" y="2014"/>
                  </a:lnTo>
                  <a:lnTo>
                    <a:pt x="1640" y="2006"/>
                  </a:lnTo>
                  <a:lnTo>
                    <a:pt x="1656" y="1994"/>
                  </a:lnTo>
                  <a:lnTo>
                    <a:pt x="1668" y="1974"/>
                  </a:lnTo>
                  <a:lnTo>
                    <a:pt x="1674" y="1957"/>
                  </a:lnTo>
                  <a:lnTo>
                    <a:pt x="1680" y="1941"/>
                  </a:lnTo>
                  <a:lnTo>
                    <a:pt x="1685" y="1927"/>
                  </a:lnTo>
                  <a:lnTo>
                    <a:pt x="1697" y="1913"/>
                  </a:lnTo>
                  <a:lnTo>
                    <a:pt x="1715" y="1900"/>
                  </a:lnTo>
                  <a:lnTo>
                    <a:pt x="1737" y="1888"/>
                  </a:lnTo>
                  <a:lnTo>
                    <a:pt x="1752" y="1878"/>
                  </a:lnTo>
                  <a:lnTo>
                    <a:pt x="1764" y="1872"/>
                  </a:lnTo>
                  <a:lnTo>
                    <a:pt x="1772" y="1866"/>
                  </a:lnTo>
                  <a:lnTo>
                    <a:pt x="1780" y="1860"/>
                  </a:lnTo>
                  <a:lnTo>
                    <a:pt x="1790" y="1854"/>
                  </a:lnTo>
                  <a:lnTo>
                    <a:pt x="1804" y="1848"/>
                  </a:lnTo>
                  <a:lnTo>
                    <a:pt x="1817" y="1841"/>
                  </a:lnTo>
                  <a:lnTo>
                    <a:pt x="1831" y="1831"/>
                  </a:lnTo>
                  <a:lnTo>
                    <a:pt x="1837" y="1821"/>
                  </a:lnTo>
                  <a:lnTo>
                    <a:pt x="1837" y="1811"/>
                  </a:lnTo>
                  <a:lnTo>
                    <a:pt x="1825" y="1795"/>
                  </a:lnTo>
                  <a:lnTo>
                    <a:pt x="1809" y="1780"/>
                  </a:lnTo>
                  <a:lnTo>
                    <a:pt x="1794" y="1762"/>
                  </a:lnTo>
                  <a:lnTo>
                    <a:pt x="1780" y="1744"/>
                  </a:lnTo>
                  <a:lnTo>
                    <a:pt x="1772" y="1726"/>
                  </a:lnTo>
                  <a:lnTo>
                    <a:pt x="1772" y="1707"/>
                  </a:lnTo>
                  <a:lnTo>
                    <a:pt x="1772" y="1679"/>
                  </a:lnTo>
                  <a:lnTo>
                    <a:pt x="1776" y="1652"/>
                  </a:lnTo>
                  <a:lnTo>
                    <a:pt x="1782" y="1628"/>
                  </a:lnTo>
                  <a:lnTo>
                    <a:pt x="1790" y="1608"/>
                  </a:lnTo>
                  <a:lnTo>
                    <a:pt x="1806" y="1593"/>
                  </a:lnTo>
                  <a:lnTo>
                    <a:pt x="1823" y="1585"/>
                  </a:lnTo>
                  <a:lnTo>
                    <a:pt x="1843" y="1581"/>
                  </a:lnTo>
                  <a:lnTo>
                    <a:pt x="1863" y="1585"/>
                  </a:lnTo>
                  <a:lnTo>
                    <a:pt x="1884" y="1597"/>
                  </a:lnTo>
                  <a:lnTo>
                    <a:pt x="1910" y="1606"/>
                  </a:lnTo>
                  <a:lnTo>
                    <a:pt x="1937" y="1614"/>
                  </a:lnTo>
                  <a:lnTo>
                    <a:pt x="1963" y="1616"/>
                  </a:lnTo>
                  <a:lnTo>
                    <a:pt x="1985" y="1614"/>
                  </a:lnTo>
                  <a:lnTo>
                    <a:pt x="2002" y="1614"/>
                  </a:lnTo>
                  <a:lnTo>
                    <a:pt x="2020" y="1612"/>
                  </a:lnTo>
                  <a:lnTo>
                    <a:pt x="2034" y="1608"/>
                  </a:lnTo>
                  <a:lnTo>
                    <a:pt x="2046" y="1597"/>
                  </a:lnTo>
                  <a:lnTo>
                    <a:pt x="2058" y="1581"/>
                  </a:lnTo>
                  <a:lnTo>
                    <a:pt x="2071" y="1561"/>
                  </a:lnTo>
                  <a:lnTo>
                    <a:pt x="2085" y="1538"/>
                  </a:lnTo>
                  <a:lnTo>
                    <a:pt x="2101" y="1518"/>
                  </a:lnTo>
                  <a:lnTo>
                    <a:pt x="2117" y="1502"/>
                  </a:lnTo>
                  <a:lnTo>
                    <a:pt x="2130" y="1494"/>
                  </a:lnTo>
                  <a:lnTo>
                    <a:pt x="2146" y="1490"/>
                  </a:lnTo>
                  <a:lnTo>
                    <a:pt x="2166" y="1488"/>
                  </a:lnTo>
                  <a:lnTo>
                    <a:pt x="2189" y="1486"/>
                  </a:lnTo>
                  <a:lnTo>
                    <a:pt x="2213" y="1484"/>
                  </a:lnTo>
                  <a:lnTo>
                    <a:pt x="2231" y="1482"/>
                  </a:lnTo>
                  <a:lnTo>
                    <a:pt x="2243" y="1477"/>
                  </a:lnTo>
                  <a:lnTo>
                    <a:pt x="2254" y="1469"/>
                  </a:lnTo>
                  <a:lnTo>
                    <a:pt x="2268" y="1455"/>
                  </a:lnTo>
                  <a:lnTo>
                    <a:pt x="2284" y="1437"/>
                  </a:lnTo>
                  <a:lnTo>
                    <a:pt x="2298" y="1421"/>
                  </a:lnTo>
                  <a:lnTo>
                    <a:pt x="2308" y="1408"/>
                  </a:lnTo>
                  <a:lnTo>
                    <a:pt x="2311" y="1388"/>
                  </a:lnTo>
                  <a:lnTo>
                    <a:pt x="2315" y="1364"/>
                  </a:lnTo>
                  <a:lnTo>
                    <a:pt x="2321" y="1343"/>
                  </a:lnTo>
                  <a:lnTo>
                    <a:pt x="2331" y="1323"/>
                  </a:lnTo>
                  <a:lnTo>
                    <a:pt x="2351" y="1303"/>
                  </a:lnTo>
                  <a:lnTo>
                    <a:pt x="2374" y="1286"/>
                  </a:lnTo>
                  <a:lnTo>
                    <a:pt x="2402" y="1276"/>
                  </a:lnTo>
                  <a:lnTo>
                    <a:pt x="2416" y="1270"/>
                  </a:lnTo>
                  <a:lnTo>
                    <a:pt x="2426" y="1262"/>
                  </a:lnTo>
                  <a:lnTo>
                    <a:pt x="2433" y="1250"/>
                  </a:lnTo>
                  <a:lnTo>
                    <a:pt x="2443" y="1240"/>
                  </a:lnTo>
                  <a:lnTo>
                    <a:pt x="2455" y="1232"/>
                  </a:lnTo>
                  <a:lnTo>
                    <a:pt x="2469" y="1227"/>
                  </a:lnTo>
                  <a:lnTo>
                    <a:pt x="2487" y="1217"/>
                  </a:lnTo>
                  <a:lnTo>
                    <a:pt x="2510" y="1205"/>
                  </a:lnTo>
                  <a:lnTo>
                    <a:pt x="2534" y="1195"/>
                  </a:lnTo>
                  <a:lnTo>
                    <a:pt x="2559" y="1189"/>
                  </a:lnTo>
                  <a:lnTo>
                    <a:pt x="2583" y="1187"/>
                  </a:lnTo>
                  <a:lnTo>
                    <a:pt x="2607" y="1189"/>
                  </a:lnTo>
                  <a:lnTo>
                    <a:pt x="2628" y="1195"/>
                  </a:lnTo>
                  <a:lnTo>
                    <a:pt x="2652" y="1199"/>
                  </a:lnTo>
                  <a:lnTo>
                    <a:pt x="2670" y="1203"/>
                  </a:lnTo>
                  <a:lnTo>
                    <a:pt x="2685" y="1203"/>
                  </a:lnTo>
                  <a:lnTo>
                    <a:pt x="2697" y="1197"/>
                  </a:lnTo>
                  <a:lnTo>
                    <a:pt x="2707" y="1183"/>
                  </a:lnTo>
                  <a:lnTo>
                    <a:pt x="2713" y="1171"/>
                  </a:lnTo>
                  <a:lnTo>
                    <a:pt x="2713" y="1158"/>
                  </a:lnTo>
                  <a:lnTo>
                    <a:pt x="2707" y="1140"/>
                  </a:lnTo>
                  <a:lnTo>
                    <a:pt x="2695" y="1126"/>
                  </a:lnTo>
                  <a:lnTo>
                    <a:pt x="2682" y="1108"/>
                  </a:lnTo>
                  <a:lnTo>
                    <a:pt x="2662" y="1089"/>
                  </a:lnTo>
                  <a:lnTo>
                    <a:pt x="2644" y="1071"/>
                  </a:lnTo>
                  <a:lnTo>
                    <a:pt x="2626" y="1055"/>
                  </a:lnTo>
                  <a:lnTo>
                    <a:pt x="2611" y="1042"/>
                  </a:lnTo>
                  <a:lnTo>
                    <a:pt x="2575" y="1016"/>
                  </a:lnTo>
                  <a:lnTo>
                    <a:pt x="2538" y="1004"/>
                  </a:lnTo>
                  <a:lnTo>
                    <a:pt x="2524" y="998"/>
                  </a:lnTo>
                  <a:lnTo>
                    <a:pt x="2510" y="990"/>
                  </a:lnTo>
                  <a:lnTo>
                    <a:pt x="2498" y="986"/>
                  </a:lnTo>
                  <a:lnTo>
                    <a:pt x="2485" y="984"/>
                  </a:lnTo>
                  <a:lnTo>
                    <a:pt x="2469" y="990"/>
                  </a:lnTo>
                  <a:lnTo>
                    <a:pt x="2453" y="1006"/>
                  </a:lnTo>
                  <a:lnTo>
                    <a:pt x="2439" y="1024"/>
                  </a:lnTo>
                  <a:lnTo>
                    <a:pt x="2426" y="1040"/>
                  </a:lnTo>
                  <a:lnTo>
                    <a:pt x="2408" y="1051"/>
                  </a:lnTo>
                  <a:lnTo>
                    <a:pt x="2394" y="1053"/>
                  </a:lnTo>
                  <a:lnTo>
                    <a:pt x="2376" y="1049"/>
                  </a:lnTo>
                  <a:lnTo>
                    <a:pt x="2357" y="1044"/>
                  </a:lnTo>
                  <a:lnTo>
                    <a:pt x="2337" y="1036"/>
                  </a:lnTo>
                  <a:lnTo>
                    <a:pt x="2317" y="1032"/>
                  </a:lnTo>
                  <a:lnTo>
                    <a:pt x="2304" y="1034"/>
                  </a:lnTo>
                  <a:lnTo>
                    <a:pt x="2292" y="1042"/>
                  </a:lnTo>
                  <a:lnTo>
                    <a:pt x="2282" y="1053"/>
                  </a:lnTo>
                  <a:lnTo>
                    <a:pt x="2272" y="1067"/>
                  </a:lnTo>
                  <a:lnTo>
                    <a:pt x="2260" y="1079"/>
                  </a:lnTo>
                  <a:lnTo>
                    <a:pt x="2248" y="1087"/>
                  </a:lnTo>
                  <a:lnTo>
                    <a:pt x="2235" y="1087"/>
                  </a:lnTo>
                  <a:lnTo>
                    <a:pt x="2211" y="1075"/>
                  </a:lnTo>
                  <a:lnTo>
                    <a:pt x="2189" y="1061"/>
                  </a:lnTo>
                  <a:lnTo>
                    <a:pt x="2174" y="1044"/>
                  </a:lnTo>
                  <a:lnTo>
                    <a:pt x="2168" y="1024"/>
                  </a:lnTo>
                  <a:lnTo>
                    <a:pt x="2170" y="1010"/>
                  </a:lnTo>
                  <a:lnTo>
                    <a:pt x="2178" y="1002"/>
                  </a:lnTo>
                  <a:lnTo>
                    <a:pt x="2185" y="992"/>
                  </a:lnTo>
                  <a:lnTo>
                    <a:pt x="2193" y="982"/>
                  </a:lnTo>
                  <a:lnTo>
                    <a:pt x="2197" y="965"/>
                  </a:lnTo>
                  <a:lnTo>
                    <a:pt x="2199" y="935"/>
                  </a:lnTo>
                  <a:lnTo>
                    <a:pt x="2201" y="902"/>
                  </a:lnTo>
                  <a:lnTo>
                    <a:pt x="2207" y="868"/>
                  </a:lnTo>
                  <a:lnTo>
                    <a:pt x="2217" y="839"/>
                  </a:lnTo>
                  <a:lnTo>
                    <a:pt x="2229" y="811"/>
                  </a:lnTo>
                  <a:lnTo>
                    <a:pt x="2239" y="782"/>
                  </a:lnTo>
                  <a:lnTo>
                    <a:pt x="2248" y="754"/>
                  </a:lnTo>
                  <a:lnTo>
                    <a:pt x="2254" y="735"/>
                  </a:lnTo>
                  <a:lnTo>
                    <a:pt x="2262" y="721"/>
                  </a:lnTo>
                  <a:lnTo>
                    <a:pt x="2276" y="713"/>
                  </a:lnTo>
                  <a:lnTo>
                    <a:pt x="2296" y="711"/>
                  </a:lnTo>
                  <a:lnTo>
                    <a:pt x="2317" y="713"/>
                  </a:lnTo>
                  <a:lnTo>
                    <a:pt x="2331" y="719"/>
                  </a:lnTo>
                  <a:lnTo>
                    <a:pt x="2349" y="725"/>
                  </a:lnTo>
                  <a:lnTo>
                    <a:pt x="2365" y="733"/>
                  </a:lnTo>
                  <a:lnTo>
                    <a:pt x="2380" y="736"/>
                  </a:lnTo>
                  <a:lnTo>
                    <a:pt x="2394" y="736"/>
                  </a:lnTo>
                  <a:lnTo>
                    <a:pt x="2406" y="729"/>
                  </a:lnTo>
                  <a:lnTo>
                    <a:pt x="2424" y="703"/>
                  </a:lnTo>
                  <a:lnTo>
                    <a:pt x="2443" y="675"/>
                  </a:lnTo>
                  <a:lnTo>
                    <a:pt x="2463" y="650"/>
                  </a:lnTo>
                  <a:lnTo>
                    <a:pt x="2477" y="640"/>
                  </a:lnTo>
                  <a:lnTo>
                    <a:pt x="2493" y="636"/>
                  </a:lnTo>
                  <a:lnTo>
                    <a:pt x="2506" y="634"/>
                  </a:lnTo>
                  <a:lnTo>
                    <a:pt x="2522" y="630"/>
                  </a:lnTo>
                  <a:lnTo>
                    <a:pt x="2534" y="622"/>
                  </a:lnTo>
                  <a:lnTo>
                    <a:pt x="2540" y="611"/>
                  </a:lnTo>
                  <a:lnTo>
                    <a:pt x="2542" y="595"/>
                  </a:lnTo>
                  <a:lnTo>
                    <a:pt x="2538" y="577"/>
                  </a:lnTo>
                  <a:lnTo>
                    <a:pt x="2534" y="561"/>
                  </a:lnTo>
                  <a:lnTo>
                    <a:pt x="2530" y="548"/>
                  </a:lnTo>
                  <a:lnTo>
                    <a:pt x="2532" y="534"/>
                  </a:lnTo>
                  <a:lnTo>
                    <a:pt x="2536" y="518"/>
                  </a:lnTo>
                  <a:lnTo>
                    <a:pt x="2542" y="498"/>
                  </a:lnTo>
                  <a:lnTo>
                    <a:pt x="2550" y="477"/>
                  </a:lnTo>
                  <a:lnTo>
                    <a:pt x="2556" y="459"/>
                  </a:lnTo>
                  <a:lnTo>
                    <a:pt x="2561" y="443"/>
                  </a:lnTo>
                  <a:lnTo>
                    <a:pt x="2567" y="416"/>
                  </a:lnTo>
                  <a:lnTo>
                    <a:pt x="2571" y="386"/>
                  </a:lnTo>
                  <a:lnTo>
                    <a:pt x="2579" y="355"/>
                  </a:lnTo>
                  <a:lnTo>
                    <a:pt x="2585" y="337"/>
                  </a:lnTo>
                  <a:lnTo>
                    <a:pt x="2589" y="327"/>
                  </a:lnTo>
                  <a:lnTo>
                    <a:pt x="2595" y="317"/>
                  </a:lnTo>
                  <a:lnTo>
                    <a:pt x="2603" y="305"/>
                  </a:lnTo>
                  <a:lnTo>
                    <a:pt x="2615" y="294"/>
                  </a:lnTo>
                  <a:lnTo>
                    <a:pt x="2626" y="276"/>
                  </a:lnTo>
                  <a:lnTo>
                    <a:pt x="2632" y="260"/>
                  </a:lnTo>
                  <a:lnTo>
                    <a:pt x="2634" y="246"/>
                  </a:lnTo>
                  <a:lnTo>
                    <a:pt x="2634" y="231"/>
                  </a:lnTo>
                  <a:lnTo>
                    <a:pt x="2632" y="209"/>
                  </a:lnTo>
                  <a:lnTo>
                    <a:pt x="2632" y="185"/>
                  </a:lnTo>
                  <a:lnTo>
                    <a:pt x="2628" y="164"/>
                  </a:lnTo>
                  <a:lnTo>
                    <a:pt x="2622" y="150"/>
                  </a:lnTo>
                  <a:lnTo>
                    <a:pt x="2615" y="146"/>
                  </a:lnTo>
                  <a:lnTo>
                    <a:pt x="2605" y="148"/>
                  </a:lnTo>
                  <a:lnTo>
                    <a:pt x="2593" y="152"/>
                  </a:lnTo>
                  <a:lnTo>
                    <a:pt x="2581" y="156"/>
                  </a:lnTo>
                  <a:lnTo>
                    <a:pt x="2567" y="158"/>
                  </a:lnTo>
                  <a:lnTo>
                    <a:pt x="2556" y="156"/>
                  </a:lnTo>
                  <a:lnTo>
                    <a:pt x="2548" y="148"/>
                  </a:lnTo>
                  <a:lnTo>
                    <a:pt x="2546" y="136"/>
                  </a:lnTo>
                  <a:lnTo>
                    <a:pt x="2548" y="124"/>
                  </a:lnTo>
                  <a:lnTo>
                    <a:pt x="2550" y="116"/>
                  </a:lnTo>
                  <a:lnTo>
                    <a:pt x="2552" y="11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2" name="Freeform 106"/>
            <p:cNvSpPr/>
            <p:nvPr/>
          </p:nvSpPr>
          <p:spPr bwMode="gray">
            <a:xfrm>
              <a:off x="2264" y="884"/>
              <a:ext cx="1641" cy="1473"/>
            </a:xfrm>
            <a:custGeom>
              <a:avLst/>
              <a:gdLst>
                <a:gd name="T0" fmla="*/ 651 w 3282"/>
                <a:gd name="T1" fmla="*/ 10 h 2947"/>
                <a:gd name="T2" fmla="*/ 669 w 3282"/>
                <a:gd name="T3" fmla="*/ 0 h 2947"/>
                <a:gd name="T4" fmla="*/ 720 w 3282"/>
                <a:gd name="T5" fmla="*/ 75 h 2947"/>
                <a:gd name="T6" fmla="*/ 808 w 3282"/>
                <a:gd name="T7" fmla="*/ 154 h 2947"/>
                <a:gd name="T8" fmla="*/ 761 w 3282"/>
                <a:gd name="T9" fmla="*/ 265 h 2947"/>
                <a:gd name="T10" fmla="*/ 737 w 3282"/>
                <a:gd name="T11" fmla="*/ 326 h 2947"/>
                <a:gd name="T12" fmla="*/ 793 w 3282"/>
                <a:gd name="T13" fmla="*/ 368 h 2947"/>
                <a:gd name="T14" fmla="*/ 785 w 3282"/>
                <a:gd name="T15" fmla="*/ 441 h 2947"/>
                <a:gd name="T16" fmla="*/ 710 w 3282"/>
                <a:gd name="T17" fmla="*/ 486 h 2947"/>
                <a:gd name="T18" fmla="*/ 693 w 3282"/>
                <a:gd name="T19" fmla="*/ 529 h 2947"/>
                <a:gd name="T20" fmla="*/ 634 w 3282"/>
                <a:gd name="T21" fmla="*/ 485 h 2947"/>
                <a:gd name="T22" fmla="*/ 587 w 3282"/>
                <a:gd name="T23" fmla="*/ 518 h 2947"/>
                <a:gd name="T24" fmla="*/ 530 w 3282"/>
                <a:gd name="T25" fmla="*/ 545 h 2947"/>
                <a:gd name="T26" fmla="*/ 470 w 3282"/>
                <a:gd name="T27" fmla="*/ 631 h 2947"/>
                <a:gd name="T28" fmla="*/ 376 w 3282"/>
                <a:gd name="T29" fmla="*/ 713 h 2947"/>
                <a:gd name="T30" fmla="*/ 309 w 3282"/>
                <a:gd name="T31" fmla="*/ 676 h 2947"/>
                <a:gd name="T32" fmla="*/ 235 w 3282"/>
                <a:gd name="T33" fmla="*/ 736 h 2947"/>
                <a:gd name="T34" fmla="*/ 189 w 3282"/>
                <a:gd name="T35" fmla="*/ 655 h 2947"/>
                <a:gd name="T36" fmla="*/ 88 w 3282"/>
                <a:gd name="T37" fmla="*/ 617 h 2947"/>
                <a:gd name="T38" fmla="*/ 9 w 3282"/>
                <a:gd name="T39" fmla="*/ 583 h 2947"/>
                <a:gd name="T40" fmla="*/ 20 w 3282"/>
                <a:gd name="T41" fmla="*/ 515 h 2947"/>
                <a:gd name="T42" fmla="*/ 70 w 3282"/>
                <a:gd name="T43" fmla="*/ 522 h 2947"/>
                <a:gd name="T44" fmla="*/ 103 w 3282"/>
                <a:gd name="T45" fmla="*/ 518 h 2947"/>
                <a:gd name="T46" fmla="*/ 144 w 3282"/>
                <a:gd name="T47" fmla="*/ 526 h 2947"/>
                <a:gd name="T48" fmla="*/ 178 w 3282"/>
                <a:gd name="T49" fmla="*/ 545 h 2947"/>
                <a:gd name="T50" fmla="*/ 223 w 3282"/>
                <a:gd name="T51" fmla="*/ 550 h 2947"/>
                <a:gd name="T52" fmla="*/ 246 w 3282"/>
                <a:gd name="T53" fmla="*/ 558 h 2947"/>
                <a:gd name="T54" fmla="*/ 291 w 3282"/>
                <a:gd name="T55" fmla="*/ 532 h 2947"/>
                <a:gd name="T56" fmla="*/ 341 w 3282"/>
                <a:gd name="T57" fmla="*/ 519 h 2947"/>
                <a:gd name="T58" fmla="*/ 375 w 3282"/>
                <a:gd name="T59" fmla="*/ 517 h 2947"/>
                <a:gd name="T60" fmla="*/ 398 w 3282"/>
                <a:gd name="T61" fmla="*/ 506 h 2947"/>
                <a:gd name="T62" fmla="*/ 420 w 3282"/>
                <a:gd name="T63" fmla="*/ 485 h 2947"/>
                <a:gd name="T64" fmla="*/ 443 w 3282"/>
                <a:gd name="T65" fmla="*/ 466 h 2947"/>
                <a:gd name="T66" fmla="*/ 459 w 3282"/>
                <a:gd name="T67" fmla="*/ 452 h 2947"/>
                <a:gd name="T68" fmla="*/ 443 w 3282"/>
                <a:gd name="T69" fmla="*/ 419 h 2947"/>
                <a:gd name="T70" fmla="*/ 466 w 3282"/>
                <a:gd name="T71" fmla="*/ 396 h 2947"/>
                <a:gd name="T72" fmla="*/ 505 w 3282"/>
                <a:gd name="T73" fmla="*/ 403 h 2947"/>
                <a:gd name="T74" fmla="*/ 530 w 3282"/>
                <a:gd name="T75" fmla="*/ 375 h 2947"/>
                <a:gd name="T76" fmla="*/ 561 w 3282"/>
                <a:gd name="T77" fmla="*/ 369 h 2947"/>
                <a:gd name="T78" fmla="*/ 579 w 3282"/>
                <a:gd name="T79" fmla="*/ 341 h 2947"/>
                <a:gd name="T80" fmla="*/ 607 w 3282"/>
                <a:gd name="T81" fmla="*/ 315 h 2947"/>
                <a:gd name="T82" fmla="*/ 634 w 3282"/>
                <a:gd name="T83" fmla="*/ 298 h 2947"/>
                <a:gd name="T84" fmla="*/ 672 w 3282"/>
                <a:gd name="T85" fmla="*/ 300 h 2947"/>
                <a:gd name="T86" fmla="*/ 671 w 3282"/>
                <a:gd name="T87" fmla="*/ 277 h 2947"/>
                <a:gd name="T88" fmla="*/ 631 w 3282"/>
                <a:gd name="T89" fmla="*/ 249 h 2947"/>
                <a:gd name="T90" fmla="*/ 607 w 3282"/>
                <a:gd name="T91" fmla="*/ 260 h 2947"/>
                <a:gd name="T92" fmla="*/ 576 w 3282"/>
                <a:gd name="T93" fmla="*/ 258 h 2947"/>
                <a:gd name="T94" fmla="*/ 553 w 3282"/>
                <a:gd name="T95" fmla="*/ 268 h 2947"/>
                <a:gd name="T96" fmla="*/ 549 w 3282"/>
                <a:gd name="T97" fmla="*/ 245 h 2947"/>
                <a:gd name="T98" fmla="*/ 560 w 3282"/>
                <a:gd name="T99" fmla="*/ 195 h 2947"/>
                <a:gd name="T100" fmla="*/ 583 w 3282"/>
                <a:gd name="T101" fmla="*/ 179 h 2947"/>
                <a:gd name="T102" fmla="*/ 611 w 3282"/>
                <a:gd name="T103" fmla="*/ 168 h 2947"/>
                <a:gd name="T104" fmla="*/ 635 w 3282"/>
                <a:gd name="T105" fmla="*/ 152 h 2947"/>
                <a:gd name="T106" fmla="*/ 636 w 3282"/>
                <a:gd name="T107" fmla="*/ 124 h 2947"/>
                <a:gd name="T108" fmla="*/ 647 w 3282"/>
                <a:gd name="T109" fmla="*/ 84 h 2947"/>
                <a:gd name="T110" fmla="*/ 659 w 3282"/>
                <a:gd name="T111" fmla="*/ 61 h 2947"/>
                <a:gd name="T112" fmla="*/ 652 w 3282"/>
                <a:gd name="T113" fmla="*/ 37 h 2947"/>
                <a:gd name="T114" fmla="*/ 637 w 3282"/>
                <a:gd name="T115" fmla="*/ 31 h 29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282"/>
                <a:gd name="T175" fmla="*/ 0 h 2947"/>
                <a:gd name="T176" fmla="*/ 3282 w 3282"/>
                <a:gd name="T177" fmla="*/ 2947 h 294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282" h="2947">
                  <a:moveTo>
                    <a:pt x="2552" y="115"/>
                  </a:moveTo>
                  <a:lnTo>
                    <a:pt x="2554" y="111"/>
                  </a:lnTo>
                  <a:lnTo>
                    <a:pt x="2559" y="101"/>
                  </a:lnTo>
                  <a:lnTo>
                    <a:pt x="2569" y="87"/>
                  </a:lnTo>
                  <a:lnTo>
                    <a:pt x="2579" y="73"/>
                  </a:lnTo>
                  <a:lnTo>
                    <a:pt x="2589" y="55"/>
                  </a:lnTo>
                  <a:lnTo>
                    <a:pt x="2601" y="42"/>
                  </a:lnTo>
                  <a:lnTo>
                    <a:pt x="2609" y="28"/>
                  </a:lnTo>
                  <a:lnTo>
                    <a:pt x="2617" y="20"/>
                  </a:lnTo>
                  <a:lnTo>
                    <a:pt x="2628" y="12"/>
                  </a:lnTo>
                  <a:lnTo>
                    <a:pt x="2642" y="6"/>
                  </a:lnTo>
                  <a:lnTo>
                    <a:pt x="2658" y="2"/>
                  </a:lnTo>
                  <a:lnTo>
                    <a:pt x="2670" y="0"/>
                  </a:lnTo>
                  <a:lnTo>
                    <a:pt x="2676" y="0"/>
                  </a:lnTo>
                  <a:lnTo>
                    <a:pt x="2715" y="50"/>
                  </a:lnTo>
                  <a:lnTo>
                    <a:pt x="2670" y="132"/>
                  </a:lnTo>
                  <a:lnTo>
                    <a:pt x="2758" y="183"/>
                  </a:lnTo>
                  <a:lnTo>
                    <a:pt x="2782" y="142"/>
                  </a:lnTo>
                  <a:lnTo>
                    <a:pt x="2849" y="164"/>
                  </a:lnTo>
                  <a:lnTo>
                    <a:pt x="2853" y="231"/>
                  </a:lnTo>
                  <a:lnTo>
                    <a:pt x="2880" y="303"/>
                  </a:lnTo>
                  <a:lnTo>
                    <a:pt x="2983" y="303"/>
                  </a:lnTo>
                  <a:lnTo>
                    <a:pt x="3091" y="268"/>
                  </a:lnTo>
                  <a:lnTo>
                    <a:pt x="3138" y="207"/>
                  </a:lnTo>
                  <a:lnTo>
                    <a:pt x="3250" y="286"/>
                  </a:lnTo>
                  <a:lnTo>
                    <a:pt x="3231" y="386"/>
                  </a:lnTo>
                  <a:lnTo>
                    <a:pt x="3201" y="500"/>
                  </a:lnTo>
                  <a:lnTo>
                    <a:pt x="3231" y="616"/>
                  </a:lnTo>
                  <a:lnTo>
                    <a:pt x="3199" y="632"/>
                  </a:lnTo>
                  <a:lnTo>
                    <a:pt x="3191" y="701"/>
                  </a:lnTo>
                  <a:lnTo>
                    <a:pt x="3140" y="756"/>
                  </a:lnTo>
                  <a:lnTo>
                    <a:pt x="3085" y="866"/>
                  </a:lnTo>
                  <a:lnTo>
                    <a:pt x="3002" y="957"/>
                  </a:lnTo>
                  <a:lnTo>
                    <a:pt x="2987" y="1004"/>
                  </a:lnTo>
                  <a:lnTo>
                    <a:pt x="3042" y="1063"/>
                  </a:lnTo>
                  <a:lnTo>
                    <a:pt x="3083" y="1120"/>
                  </a:lnTo>
                  <a:lnTo>
                    <a:pt x="3071" y="1201"/>
                  </a:lnTo>
                  <a:lnTo>
                    <a:pt x="3079" y="1266"/>
                  </a:lnTo>
                  <a:lnTo>
                    <a:pt x="3030" y="1244"/>
                  </a:lnTo>
                  <a:lnTo>
                    <a:pt x="3014" y="1264"/>
                  </a:lnTo>
                  <a:lnTo>
                    <a:pt x="2971" y="1250"/>
                  </a:lnTo>
                  <a:lnTo>
                    <a:pt x="2947" y="1305"/>
                  </a:lnTo>
                  <a:lnTo>
                    <a:pt x="2989" y="1313"/>
                  </a:lnTo>
                  <a:lnTo>
                    <a:pt x="3030" y="1368"/>
                  </a:lnTo>
                  <a:lnTo>
                    <a:pt x="3024" y="1451"/>
                  </a:lnTo>
                  <a:lnTo>
                    <a:pt x="3059" y="1500"/>
                  </a:lnTo>
                  <a:lnTo>
                    <a:pt x="3061" y="1530"/>
                  </a:lnTo>
                  <a:lnTo>
                    <a:pt x="3091" y="1536"/>
                  </a:lnTo>
                  <a:lnTo>
                    <a:pt x="3170" y="1475"/>
                  </a:lnTo>
                  <a:lnTo>
                    <a:pt x="3209" y="1541"/>
                  </a:lnTo>
                  <a:lnTo>
                    <a:pt x="3244" y="1608"/>
                  </a:lnTo>
                  <a:lnTo>
                    <a:pt x="3282" y="1630"/>
                  </a:lnTo>
                  <a:lnTo>
                    <a:pt x="3282" y="1677"/>
                  </a:lnTo>
                  <a:lnTo>
                    <a:pt x="3239" y="1728"/>
                  </a:lnTo>
                  <a:lnTo>
                    <a:pt x="3189" y="1776"/>
                  </a:lnTo>
                  <a:lnTo>
                    <a:pt x="3138" y="1766"/>
                  </a:lnTo>
                  <a:lnTo>
                    <a:pt x="3134" y="1803"/>
                  </a:lnTo>
                  <a:lnTo>
                    <a:pt x="3101" y="1819"/>
                  </a:lnTo>
                  <a:lnTo>
                    <a:pt x="3032" y="1839"/>
                  </a:lnTo>
                  <a:lnTo>
                    <a:pt x="2981" y="1898"/>
                  </a:lnTo>
                  <a:lnTo>
                    <a:pt x="2928" y="1941"/>
                  </a:lnTo>
                  <a:lnTo>
                    <a:pt x="2884" y="2012"/>
                  </a:lnTo>
                  <a:lnTo>
                    <a:pt x="2839" y="1947"/>
                  </a:lnTo>
                  <a:lnTo>
                    <a:pt x="2798" y="1917"/>
                  </a:lnTo>
                  <a:lnTo>
                    <a:pt x="2768" y="1945"/>
                  </a:lnTo>
                  <a:lnTo>
                    <a:pt x="2788" y="1967"/>
                  </a:lnTo>
                  <a:lnTo>
                    <a:pt x="2788" y="2032"/>
                  </a:lnTo>
                  <a:lnTo>
                    <a:pt x="2811" y="2087"/>
                  </a:lnTo>
                  <a:lnTo>
                    <a:pt x="2778" y="2140"/>
                  </a:lnTo>
                  <a:lnTo>
                    <a:pt x="2770" y="2118"/>
                  </a:lnTo>
                  <a:lnTo>
                    <a:pt x="2703" y="2116"/>
                  </a:lnTo>
                  <a:lnTo>
                    <a:pt x="2656" y="2073"/>
                  </a:lnTo>
                  <a:lnTo>
                    <a:pt x="2640" y="2012"/>
                  </a:lnTo>
                  <a:lnTo>
                    <a:pt x="2607" y="1971"/>
                  </a:lnTo>
                  <a:lnTo>
                    <a:pt x="2581" y="1925"/>
                  </a:lnTo>
                  <a:lnTo>
                    <a:pt x="2556" y="1911"/>
                  </a:lnTo>
                  <a:lnTo>
                    <a:pt x="2536" y="1941"/>
                  </a:lnTo>
                  <a:lnTo>
                    <a:pt x="2506" y="1943"/>
                  </a:lnTo>
                  <a:lnTo>
                    <a:pt x="2469" y="1967"/>
                  </a:lnTo>
                  <a:lnTo>
                    <a:pt x="2479" y="2035"/>
                  </a:lnTo>
                  <a:lnTo>
                    <a:pt x="2441" y="2049"/>
                  </a:lnTo>
                  <a:lnTo>
                    <a:pt x="2414" y="2039"/>
                  </a:lnTo>
                  <a:lnTo>
                    <a:pt x="2386" y="2075"/>
                  </a:lnTo>
                  <a:lnTo>
                    <a:pt x="2347" y="2073"/>
                  </a:lnTo>
                  <a:lnTo>
                    <a:pt x="2296" y="2128"/>
                  </a:lnTo>
                  <a:lnTo>
                    <a:pt x="2248" y="2132"/>
                  </a:lnTo>
                  <a:lnTo>
                    <a:pt x="2231" y="2055"/>
                  </a:lnTo>
                  <a:lnTo>
                    <a:pt x="2183" y="2051"/>
                  </a:lnTo>
                  <a:lnTo>
                    <a:pt x="2158" y="2093"/>
                  </a:lnTo>
                  <a:lnTo>
                    <a:pt x="2152" y="2142"/>
                  </a:lnTo>
                  <a:lnTo>
                    <a:pt x="2120" y="2181"/>
                  </a:lnTo>
                  <a:lnTo>
                    <a:pt x="2132" y="2222"/>
                  </a:lnTo>
                  <a:lnTo>
                    <a:pt x="2117" y="2246"/>
                  </a:lnTo>
                  <a:lnTo>
                    <a:pt x="2185" y="2333"/>
                  </a:lnTo>
                  <a:lnTo>
                    <a:pt x="2075" y="2376"/>
                  </a:lnTo>
                  <a:lnTo>
                    <a:pt x="2014" y="2376"/>
                  </a:lnTo>
                  <a:lnTo>
                    <a:pt x="1928" y="2407"/>
                  </a:lnTo>
                  <a:lnTo>
                    <a:pt x="1880" y="2526"/>
                  </a:lnTo>
                  <a:lnTo>
                    <a:pt x="1802" y="2555"/>
                  </a:lnTo>
                  <a:lnTo>
                    <a:pt x="1766" y="2539"/>
                  </a:lnTo>
                  <a:lnTo>
                    <a:pt x="1731" y="2598"/>
                  </a:lnTo>
                  <a:lnTo>
                    <a:pt x="1674" y="2579"/>
                  </a:lnTo>
                  <a:lnTo>
                    <a:pt x="1621" y="2638"/>
                  </a:lnTo>
                  <a:lnTo>
                    <a:pt x="1601" y="2718"/>
                  </a:lnTo>
                  <a:lnTo>
                    <a:pt x="1502" y="2852"/>
                  </a:lnTo>
                  <a:lnTo>
                    <a:pt x="1459" y="2888"/>
                  </a:lnTo>
                  <a:lnTo>
                    <a:pt x="1430" y="2860"/>
                  </a:lnTo>
                  <a:lnTo>
                    <a:pt x="1339" y="2876"/>
                  </a:lnTo>
                  <a:lnTo>
                    <a:pt x="1298" y="2823"/>
                  </a:lnTo>
                  <a:lnTo>
                    <a:pt x="1239" y="2821"/>
                  </a:lnTo>
                  <a:lnTo>
                    <a:pt x="1195" y="2781"/>
                  </a:lnTo>
                  <a:lnTo>
                    <a:pt x="1233" y="2707"/>
                  </a:lnTo>
                  <a:lnTo>
                    <a:pt x="1248" y="2659"/>
                  </a:lnTo>
                  <a:lnTo>
                    <a:pt x="1215" y="2612"/>
                  </a:lnTo>
                  <a:lnTo>
                    <a:pt x="1150" y="2630"/>
                  </a:lnTo>
                  <a:lnTo>
                    <a:pt x="1115" y="2709"/>
                  </a:lnTo>
                  <a:lnTo>
                    <a:pt x="1101" y="2846"/>
                  </a:lnTo>
                  <a:lnTo>
                    <a:pt x="1052" y="2901"/>
                  </a:lnTo>
                  <a:lnTo>
                    <a:pt x="939" y="2947"/>
                  </a:lnTo>
                  <a:lnTo>
                    <a:pt x="869" y="2941"/>
                  </a:lnTo>
                  <a:lnTo>
                    <a:pt x="810" y="2886"/>
                  </a:lnTo>
                  <a:lnTo>
                    <a:pt x="817" y="2795"/>
                  </a:lnTo>
                  <a:lnTo>
                    <a:pt x="874" y="2764"/>
                  </a:lnTo>
                  <a:lnTo>
                    <a:pt x="874" y="2657"/>
                  </a:lnTo>
                  <a:lnTo>
                    <a:pt x="829" y="2618"/>
                  </a:lnTo>
                  <a:lnTo>
                    <a:pt x="754" y="2620"/>
                  </a:lnTo>
                  <a:lnTo>
                    <a:pt x="658" y="2714"/>
                  </a:lnTo>
                  <a:lnTo>
                    <a:pt x="524" y="2714"/>
                  </a:lnTo>
                  <a:lnTo>
                    <a:pt x="441" y="2671"/>
                  </a:lnTo>
                  <a:lnTo>
                    <a:pt x="445" y="2610"/>
                  </a:lnTo>
                  <a:lnTo>
                    <a:pt x="378" y="2606"/>
                  </a:lnTo>
                  <a:lnTo>
                    <a:pt x="302" y="2539"/>
                  </a:lnTo>
                  <a:lnTo>
                    <a:pt x="351" y="2470"/>
                  </a:lnTo>
                  <a:lnTo>
                    <a:pt x="396" y="2457"/>
                  </a:lnTo>
                  <a:lnTo>
                    <a:pt x="376" y="2390"/>
                  </a:lnTo>
                  <a:lnTo>
                    <a:pt x="296" y="2362"/>
                  </a:lnTo>
                  <a:lnTo>
                    <a:pt x="203" y="2374"/>
                  </a:lnTo>
                  <a:lnTo>
                    <a:pt x="156" y="2429"/>
                  </a:lnTo>
                  <a:lnTo>
                    <a:pt x="111" y="2423"/>
                  </a:lnTo>
                  <a:lnTo>
                    <a:pt x="34" y="2333"/>
                  </a:lnTo>
                  <a:lnTo>
                    <a:pt x="0" y="2236"/>
                  </a:lnTo>
                  <a:lnTo>
                    <a:pt x="18" y="2179"/>
                  </a:lnTo>
                  <a:lnTo>
                    <a:pt x="10" y="2055"/>
                  </a:lnTo>
                  <a:lnTo>
                    <a:pt x="14" y="2057"/>
                  </a:lnTo>
                  <a:lnTo>
                    <a:pt x="30" y="2057"/>
                  </a:lnTo>
                  <a:lnTo>
                    <a:pt x="52" y="2059"/>
                  </a:lnTo>
                  <a:lnTo>
                    <a:pt x="79" y="2063"/>
                  </a:lnTo>
                  <a:lnTo>
                    <a:pt x="109" y="2065"/>
                  </a:lnTo>
                  <a:lnTo>
                    <a:pt x="138" y="2069"/>
                  </a:lnTo>
                  <a:lnTo>
                    <a:pt x="166" y="2073"/>
                  </a:lnTo>
                  <a:lnTo>
                    <a:pt x="189" y="2077"/>
                  </a:lnTo>
                  <a:lnTo>
                    <a:pt x="207" y="2081"/>
                  </a:lnTo>
                  <a:lnTo>
                    <a:pt x="243" y="2089"/>
                  </a:lnTo>
                  <a:lnTo>
                    <a:pt x="278" y="2089"/>
                  </a:lnTo>
                  <a:lnTo>
                    <a:pt x="308" y="2081"/>
                  </a:lnTo>
                  <a:lnTo>
                    <a:pt x="323" y="2075"/>
                  </a:lnTo>
                  <a:lnTo>
                    <a:pt x="337" y="2069"/>
                  </a:lnTo>
                  <a:lnTo>
                    <a:pt x="351" y="2067"/>
                  </a:lnTo>
                  <a:lnTo>
                    <a:pt x="367" y="2065"/>
                  </a:lnTo>
                  <a:lnTo>
                    <a:pt x="386" y="2069"/>
                  </a:lnTo>
                  <a:lnTo>
                    <a:pt x="412" y="2075"/>
                  </a:lnTo>
                  <a:lnTo>
                    <a:pt x="441" y="2079"/>
                  </a:lnTo>
                  <a:lnTo>
                    <a:pt x="473" y="2083"/>
                  </a:lnTo>
                  <a:lnTo>
                    <a:pt x="498" y="2087"/>
                  </a:lnTo>
                  <a:lnTo>
                    <a:pt x="518" y="2087"/>
                  </a:lnTo>
                  <a:lnTo>
                    <a:pt x="542" y="2089"/>
                  </a:lnTo>
                  <a:lnTo>
                    <a:pt x="560" y="2095"/>
                  </a:lnTo>
                  <a:lnTo>
                    <a:pt x="575" y="2104"/>
                  </a:lnTo>
                  <a:lnTo>
                    <a:pt x="589" y="2118"/>
                  </a:lnTo>
                  <a:lnTo>
                    <a:pt x="607" y="2134"/>
                  </a:lnTo>
                  <a:lnTo>
                    <a:pt x="626" y="2148"/>
                  </a:lnTo>
                  <a:lnTo>
                    <a:pt x="646" y="2156"/>
                  </a:lnTo>
                  <a:lnTo>
                    <a:pt x="666" y="2163"/>
                  </a:lnTo>
                  <a:lnTo>
                    <a:pt x="685" y="2173"/>
                  </a:lnTo>
                  <a:lnTo>
                    <a:pt x="709" y="2183"/>
                  </a:lnTo>
                  <a:lnTo>
                    <a:pt x="739" y="2193"/>
                  </a:lnTo>
                  <a:lnTo>
                    <a:pt x="762" y="2197"/>
                  </a:lnTo>
                  <a:lnTo>
                    <a:pt x="792" y="2199"/>
                  </a:lnTo>
                  <a:lnTo>
                    <a:pt x="821" y="2201"/>
                  </a:lnTo>
                  <a:lnTo>
                    <a:pt x="851" y="2201"/>
                  </a:lnTo>
                  <a:lnTo>
                    <a:pt x="874" y="2201"/>
                  </a:lnTo>
                  <a:lnTo>
                    <a:pt x="892" y="2203"/>
                  </a:lnTo>
                  <a:lnTo>
                    <a:pt x="904" y="2207"/>
                  </a:lnTo>
                  <a:lnTo>
                    <a:pt x="914" y="2215"/>
                  </a:lnTo>
                  <a:lnTo>
                    <a:pt x="924" y="2224"/>
                  </a:lnTo>
                  <a:lnTo>
                    <a:pt x="935" y="2232"/>
                  </a:lnTo>
                  <a:lnTo>
                    <a:pt x="947" y="2236"/>
                  </a:lnTo>
                  <a:lnTo>
                    <a:pt x="965" y="2238"/>
                  </a:lnTo>
                  <a:lnTo>
                    <a:pt x="985" y="2234"/>
                  </a:lnTo>
                  <a:lnTo>
                    <a:pt x="1002" y="2224"/>
                  </a:lnTo>
                  <a:lnTo>
                    <a:pt x="1024" y="2207"/>
                  </a:lnTo>
                  <a:lnTo>
                    <a:pt x="1048" y="2187"/>
                  </a:lnTo>
                  <a:lnTo>
                    <a:pt x="1073" y="2171"/>
                  </a:lnTo>
                  <a:lnTo>
                    <a:pt x="1103" y="2157"/>
                  </a:lnTo>
                  <a:lnTo>
                    <a:pt x="1134" y="2144"/>
                  </a:lnTo>
                  <a:lnTo>
                    <a:pt x="1164" y="2130"/>
                  </a:lnTo>
                  <a:lnTo>
                    <a:pt x="1199" y="2114"/>
                  </a:lnTo>
                  <a:lnTo>
                    <a:pt x="1241" y="2098"/>
                  </a:lnTo>
                  <a:lnTo>
                    <a:pt x="1282" y="2087"/>
                  </a:lnTo>
                  <a:lnTo>
                    <a:pt x="1325" y="2079"/>
                  </a:lnTo>
                  <a:lnTo>
                    <a:pt x="1345" y="2077"/>
                  </a:lnTo>
                  <a:lnTo>
                    <a:pt x="1357" y="2077"/>
                  </a:lnTo>
                  <a:lnTo>
                    <a:pt x="1363" y="2079"/>
                  </a:lnTo>
                  <a:lnTo>
                    <a:pt x="1367" y="2079"/>
                  </a:lnTo>
                  <a:lnTo>
                    <a:pt x="1371" y="2081"/>
                  </a:lnTo>
                  <a:lnTo>
                    <a:pt x="1378" y="2081"/>
                  </a:lnTo>
                  <a:lnTo>
                    <a:pt x="1392" y="2081"/>
                  </a:lnTo>
                  <a:lnTo>
                    <a:pt x="1418" y="2079"/>
                  </a:lnTo>
                  <a:lnTo>
                    <a:pt x="1463" y="2075"/>
                  </a:lnTo>
                  <a:lnTo>
                    <a:pt x="1498" y="2071"/>
                  </a:lnTo>
                  <a:lnTo>
                    <a:pt x="1526" y="2065"/>
                  </a:lnTo>
                  <a:lnTo>
                    <a:pt x="1548" y="2059"/>
                  </a:lnTo>
                  <a:lnTo>
                    <a:pt x="1561" y="2053"/>
                  </a:lnTo>
                  <a:lnTo>
                    <a:pt x="1571" y="2045"/>
                  </a:lnTo>
                  <a:lnTo>
                    <a:pt x="1577" y="2035"/>
                  </a:lnTo>
                  <a:lnTo>
                    <a:pt x="1581" y="2030"/>
                  </a:lnTo>
                  <a:lnTo>
                    <a:pt x="1589" y="2024"/>
                  </a:lnTo>
                  <a:lnTo>
                    <a:pt x="1603" y="2018"/>
                  </a:lnTo>
                  <a:lnTo>
                    <a:pt x="1622" y="2014"/>
                  </a:lnTo>
                  <a:lnTo>
                    <a:pt x="1640" y="2006"/>
                  </a:lnTo>
                  <a:lnTo>
                    <a:pt x="1656" y="1994"/>
                  </a:lnTo>
                  <a:lnTo>
                    <a:pt x="1668" y="1974"/>
                  </a:lnTo>
                  <a:lnTo>
                    <a:pt x="1674" y="1957"/>
                  </a:lnTo>
                  <a:lnTo>
                    <a:pt x="1680" y="1941"/>
                  </a:lnTo>
                  <a:lnTo>
                    <a:pt x="1685" y="1927"/>
                  </a:lnTo>
                  <a:lnTo>
                    <a:pt x="1697" y="1913"/>
                  </a:lnTo>
                  <a:lnTo>
                    <a:pt x="1715" y="1900"/>
                  </a:lnTo>
                  <a:lnTo>
                    <a:pt x="1737" y="1888"/>
                  </a:lnTo>
                  <a:lnTo>
                    <a:pt x="1752" y="1878"/>
                  </a:lnTo>
                  <a:lnTo>
                    <a:pt x="1764" y="1872"/>
                  </a:lnTo>
                  <a:lnTo>
                    <a:pt x="1772" y="1866"/>
                  </a:lnTo>
                  <a:lnTo>
                    <a:pt x="1780" y="1860"/>
                  </a:lnTo>
                  <a:lnTo>
                    <a:pt x="1790" y="1854"/>
                  </a:lnTo>
                  <a:lnTo>
                    <a:pt x="1804" y="1848"/>
                  </a:lnTo>
                  <a:lnTo>
                    <a:pt x="1817" y="1841"/>
                  </a:lnTo>
                  <a:lnTo>
                    <a:pt x="1831" y="1831"/>
                  </a:lnTo>
                  <a:lnTo>
                    <a:pt x="1837" y="1821"/>
                  </a:lnTo>
                  <a:lnTo>
                    <a:pt x="1837" y="1811"/>
                  </a:lnTo>
                  <a:lnTo>
                    <a:pt x="1825" y="1795"/>
                  </a:lnTo>
                  <a:lnTo>
                    <a:pt x="1809" y="1780"/>
                  </a:lnTo>
                  <a:lnTo>
                    <a:pt x="1794" y="1762"/>
                  </a:lnTo>
                  <a:lnTo>
                    <a:pt x="1780" y="1744"/>
                  </a:lnTo>
                  <a:lnTo>
                    <a:pt x="1772" y="1726"/>
                  </a:lnTo>
                  <a:lnTo>
                    <a:pt x="1772" y="1707"/>
                  </a:lnTo>
                  <a:lnTo>
                    <a:pt x="1772" y="1679"/>
                  </a:lnTo>
                  <a:lnTo>
                    <a:pt x="1776" y="1652"/>
                  </a:lnTo>
                  <a:lnTo>
                    <a:pt x="1782" y="1628"/>
                  </a:lnTo>
                  <a:lnTo>
                    <a:pt x="1790" y="1608"/>
                  </a:lnTo>
                  <a:lnTo>
                    <a:pt x="1806" y="1593"/>
                  </a:lnTo>
                  <a:lnTo>
                    <a:pt x="1823" y="1585"/>
                  </a:lnTo>
                  <a:lnTo>
                    <a:pt x="1843" y="1581"/>
                  </a:lnTo>
                  <a:lnTo>
                    <a:pt x="1863" y="1585"/>
                  </a:lnTo>
                  <a:lnTo>
                    <a:pt x="1884" y="1597"/>
                  </a:lnTo>
                  <a:lnTo>
                    <a:pt x="1910" y="1606"/>
                  </a:lnTo>
                  <a:lnTo>
                    <a:pt x="1937" y="1614"/>
                  </a:lnTo>
                  <a:lnTo>
                    <a:pt x="1963" y="1616"/>
                  </a:lnTo>
                  <a:lnTo>
                    <a:pt x="1985" y="1614"/>
                  </a:lnTo>
                  <a:lnTo>
                    <a:pt x="2002" y="1614"/>
                  </a:lnTo>
                  <a:lnTo>
                    <a:pt x="2020" y="1612"/>
                  </a:lnTo>
                  <a:lnTo>
                    <a:pt x="2034" y="1608"/>
                  </a:lnTo>
                  <a:lnTo>
                    <a:pt x="2046" y="1597"/>
                  </a:lnTo>
                  <a:lnTo>
                    <a:pt x="2058" y="1581"/>
                  </a:lnTo>
                  <a:lnTo>
                    <a:pt x="2071" y="1561"/>
                  </a:lnTo>
                  <a:lnTo>
                    <a:pt x="2085" y="1538"/>
                  </a:lnTo>
                  <a:lnTo>
                    <a:pt x="2101" y="1518"/>
                  </a:lnTo>
                  <a:lnTo>
                    <a:pt x="2117" y="1502"/>
                  </a:lnTo>
                  <a:lnTo>
                    <a:pt x="2130" y="1494"/>
                  </a:lnTo>
                  <a:lnTo>
                    <a:pt x="2146" y="1490"/>
                  </a:lnTo>
                  <a:lnTo>
                    <a:pt x="2166" y="1488"/>
                  </a:lnTo>
                  <a:lnTo>
                    <a:pt x="2189" y="1486"/>
                  </a:lnTo>
                  <a:lnTo>
                    <a:pt x="2213" y="1484"/>
                  </a:lnTo>
                  <a:lnTo>
                    <a:pt x="2231" y="1482"/>
                  </a:lnTo>
                  <a:lnTo>
                    <a:pt x="2243" y="1477"/>
                  </a:lnTo>
                  <a:lnTo>
                    <a:pt x="2254" y="1469"/>
                  </a:lnTo>
                  <a:lnTo>
                    <a:pt x="2268" y="1455"/>
                  </a:lnTo>
                  <a:lnTo>
                    <a:pt x="2284" y="1437"/>
                  </a:lnTo>
                  <a:lnTo>
                    <a:pt x="2298" y="1421"/>
                  </a:lnTo>
                  <a:lnTo>
                    <a:pt x="2308" y="1408"/>
                  </a:lnTo>
                  <a:lnTo>
                    <a:pt x="2311" y="1388"/>
                  </a:lnTo>
                  <a:lnTo>
                    <a:pt x="2315" y="1364"/>
                  </a:lnTo>
                  <a:lnTo>
                    <a:pt x="2321" y="1343"/>
                  </a:lnTo>
                  <a:lnTo>
                    <a:pt x="2331" y="1323"/>
                  </a:lnTo>
                  <a:lnTo>
                    <a:pt x="2351" y="1303"/>
                  </a:lnTo>
                  <a:lnTo>
                    <a:pt x="2374" y="1286"/>
                  </a:lnTo>
                  <a:lnTo>
                    <a:pt x="2402" y="1276"/>
                  </a:lnTo>
                  <a:lnTo>
                    <a:pt x="2416" y="1270"/>
                  </a:lnTo>
                  <a:lnTo>
                    <a:pt x="2426" y="1262"/>
                  </a:lnTo>
                  <a:lnTo>
                    <a:pt x="2433" y="1250"/>
                  </a:lnTo>
                  <a:lnTo>
                    <a:pt x="2443" y="1240"/>
                  </a:lnTo>
                  <a:lnTo>
                    <a:pt x="2455" y="1232"/>
                  </a:lnTo>
                  <a:lnTo>
                    <a:pt x="2469" y="1227"/>
                  </a:lnTo>
                  <a:lnTo>
                    <a:pt x="2487" y="1217"/>
                  </a:lnTo>
                  <a:lnTo>
                    <a:pt x="2510" y="1205"/>
                  </a:lnTo>
                  <a:lnTo>
                    <a:pt x="2534" y="1195"/>
                  </a:lnTo>
                  <a:lnTo>
                    <a:pt x="2559" y="1189"/>
                  </a:lnTo>
                  <a:lnTo>
                    <a:pt x="2583" y="1187"/>
                  </a:lnTo>
                  <a:lnTo>
                    <a:pt x="2607" y="1189"/>
                  </a:lnTo>
                  <a:lnTo>
                    <a:pt x="2628" y="1195"/>
                  </a:lnTo>
                  <a:lnTo>
                    <a:pt x="2652" y="1199"/>
                  </a:lnTo>
                  <a:lnTo>
                    <a:pt x="2670" y="1203"/>
                  </a:lnTo>
                  <a:lnTo>
                    <a:pt x="2685" y="1203"/>
                  </a:lnTo>
                  <a:lnTo>
                    <a:pt x="2697" y="1197"/>
                  </a:lnTo>
                  <a:lnTo>
                    <a:pt x="2707" y="1183"/>
                  </a:lnTo>
                  <a:lnTo>
                    <a:pt x="2713" y="1171"/>
                  </a:lnTo>
                  <a:lnTo>
                    <a:pt x="2713" y="1158"/>
                  </a:lnTo>
                  <a:lnTo>
                    <a:pt x="2707" y="1140"/>
                  </a:lnTo>
                  <a:lnTo>
                    <a:pt x="2695" y="1126"/>
                  </a:lnTo>
                  <a:lnTo>
                    <a:pt x="2682" y="1108"/>
                  </a:lnTo>
                  <a:lnTo>
                    <a:pt x="2662" y="1089"/>
                  </a:lnTo>
                  <a:lnTo>
                    <a:pt x="2644" y="1071"/>
                  </a:lnTo>
                  <a:lnTo>
                    <a:pt x="2626" y="1055"/>
                  </a:lnTo>
                  <a:lnTo>
                    <a:pt x="2611" y="1042"/>
                  </a:lnTo>
                  <a:lnTo>
                    <a:pt x="2575" y="1016"/>
                  </a:lnTo>
                  <a:lnTo>
                    <a:pt x="2538" y="1004"/>
                  </a:lnTo>
                  <a:lnTo>
                    <a:pt x="2524" y="998"/>
                  </a:lnTo>
                  <a:lnTo>
                    <a:pt x="2510" y="990"/>
                  </a:lnTo>
                  <a:lnTo>
                    <a:pt x="2498" y="986"/>
                  </a:lnTo>
                  <a:lnTo>
                    <a:pt x="2485" y="984"/>
                  </a:lnTo>
                  <a:lnTo>
                    <a:pt x="2469" y="990"/>
                  </a:lnTo>
                  <a:lnTo>
                    <a:pt x="2453" y="1006"/>
                  </a:lnTo>
                  <a:lnTo>
                    <a:pt x="2439" y="1024"/>
                  </a:lnTo>
                  <a:lnTo>
                    <a:pt x="2426" y="1040"/>
                  </a:lnTo>
                  <a:lnTo>
                    <a:pt x="2408" y="1051"/>
                  </a:lnTo>
                  <a:lnTo>
                    <a:pt x="2394" y="1053"/>
                  </a:lnTo>
                  <a:lnTo>
                    <a:pt x="2376" y="1049"/>
                  </a:lnTo>
                  <a:lnTo>
                    <a:pt x="2357" y="1044"/>
                  </a:lnTo>
                  <a:lnTo>
                    <a:pt x="2337" y="1036"/>
                  </a:lnTo>
                  <a:lnTo>
                    <a:pt x="2317" y="1032"/>
                  </a:lnTo>
                  <a:lnTo>
                    <a:pt x="2304" y="1034"/>
                  </a:lnTo>
                  <a:lnTo>
                    <a:pt x="2292" y="1042"/>
                  </a:lnTo>
                  <a:lnTo>
                    <a:pt x="2282" y="1053"/>
                  </a:lnTo>
                  <a:lnTo>
                    <a:pt x="2272" y="1067"/>
                  </a:lnTo>
                  <a:lnTo>
                    <a:pt x="2260" y="1079"/>
                  </a:lnTo>
                  <a:lnTo>
                    <a:pt x="2248" y="1087"/>
                  </a:lnTo>
                  <a:lnTo>
                    <a:pt x="2235" y="1087"/>
                  </a:lnTo>
                  <a:lnTo>
                    <a:pt x="2211" y="1075"/>
                  </a:lnTo>
                  <a:lnTo>
                    <a:pt x="2189" y="1061"/>
                  </a:lnTo>
                  <a:lnTo>
                    <a:pt x="2174" y="1044"/>
                  </a:lnTo>
                  <a:lnTo>
                    <a:pt x="2168" y="1024"/>
                  </a:lnTo>
                  <a:lnTo>
                    <a:pt x="2170" y="1010"/>
                  </a:lnTo>
                  <a:lnTo>
                    <a:pt x="2178" y="1002"/>
                  </a:lnTo>
                  <a:lnTo>
                    <a:pt x="2185" y="992"/>
                  </a:lnTo>
                  <a:lnTo>
                    <a:pt x="2193" y="982"/>
                  </a:lnTo>
                  <a:lnTo>
                    <a:pt x="2197" y="965"/>
                  </a:lnTo>
                  <a:lnTo>
                    <a:pt x="2199" y="935"/>
                  </a:lnTo>
                  <a:lnTo>
                    <a:pt x="2201" y="902"/>
                  </a:lnTo>
                  <a:lnTo>
                    <a:pt x="2207" y="868"/>
                  </a:lnTo>
                  <a:lnTo>
                    <a:pt x="2217" y="839"/>
                  </a:lnTo>
                  <a:lnTo>
                    <a:pt x="2229" y="811"/>
                  </a:lnTo>
                  <a:lnTo>
                    <a:pt x="2239" y="782"/>
                  </a:lnTo>
                  <a:lnTo>
                    <a:pt x="2248" y="754"/>
                  </a:lnTo>
                  <a:lnTo>
                    <a:pt x="2254" y="735"/>
                  </a:lnTo>
                  <a:lnTo>
                    <a:pt x="2262" y="721"/>
                  </a:lnTo>
                  <a:lnTo>
                    <a:pt x="2276" y="713"/>
                  </a:lnTo>
                  <a:lnTo>
                    <a:pt x="2296" y="711"/>
                  </a:lnTo>
                  <a:lnTo>
                    <a:pt x="2317" y="713"/>
                  </a:lnTo>
                  <a:lnTo>
                    <a:pt x="2331" y="719"/>
                  </a:lnTo>
                  <a:lnTo>
                    <a:pt x="2349" y="725"/>
                  </a:lnTo>
                  <a:lnTo>
                    <a:pt x="2365" y="733"/>
                  </a:lnTo>
                  <a:lnTo>
                    <a:pt x="2380" y="736"/>
                  </a:lnTo>
                  <a:lnTo>
                    <a:pt x="2394" y="736"/>
                  </a:lnTo>
                  <a:lnTo>
                    <a:pt x="2406" y="729"/>
                  </a:lnTo>
                  <a:lnTo>
                    <a:pt x="2424" y="703"/>
                  </a:lnTo>
                  <a:lnTo>
                    <a:pt x="2443" y="675"/>
                  </a:lnTo>
                  <a:lnTo>
                    <a:pt x="2463" y="650"/>
                  </a:lnTo>
                  <a:lnTo>
                    <a:pt x="2477" y="640"/>
                  </a:lnTo>
                  <a:lnTo>
                    <a:pt x="2493" y="636"/>
                  </a:lnTo>
                  <a:lnTo>
                    <a:pt x="2506" y="634"/>
                  </a:lnTo>
                  <a:lnTo>
                    <a:pt x="2522" y="630"/>
                  </a:lnTo>
                  <a:lnTo>
                    <a:pt x="2534" y="622"/>
                  </a:lnTo>
                  <a:lnTo>
                    <a:pt x="2540" y="611"/>
                  </a:lnTo>
                  <a:lnTo>
                    <a:pt x="2542" y="595"/>
                  </a:lnTo>
                  <a:lnTo>
                    <a:pt x="2538" y="577"/>
                  </a:lnTo>
                  <a:lnTo>
                    <a:pt x="2534" y="561"/>
                  </a:lnTo>
                  <a:lnTo>
                    <a:pt x="2530" y="548"/>
                  </a:lnTo>
                  <a:lnTo>
                    <a:pt x="2532" y="534"/>
                  </a:lnTo>
                  <a:lnTo>
                    <a:pt x="2536" y="518"/>
                  </a:lnTo>
                  <a:lnTo>
                    <a:pt x="2542" y="498"/>
                  </a:lnTo>
                  <a:lnTo>
                    <a:pt x="2550" y="477"/>
                  </a:lnTo>
                  <a:lnTo>
                    <a:pt x="2556" y="459"/>
                  </a:lnTo>
                  <a:lnTo>
                    <a:pt x="2561" y="443"/>
                  </a:lnTo>
                  <a:lnTo>
                    <a:pt x="2567" y="416"/>
                  </a:lnTo>
                  <a:lnTo>
                    <a:pt x="2571" y="386"/>
                  </a:lnTo>
                  <a:lnTo>
                    <a:pt x="2579" y="355"/>
                  </a:lnTo>
                  <a:lnTo>
                    <a:pt x="2585" y="337"/>
                  </a:lnTo>
                  <a:lnTo>
                    <a:pt x="2589" y="327"/>
                  </a:lnTo>
                  <a:lnTo>
                    <a:pt x="2595" y="317"/>
                  </a:lnTo>
                  <a:lnTo>
                    <a:pt x="2603" y="305"/>
                  </a:lnTo>
                  <a:lnTo>
                    <a:pt x="2615" y="294"/>
                  </a:lnTo>
                  <a:lnTo>
                    <a:pt x="2626" y="276"/>
                  </a:lnTo>
                  <a:lnTo>
                    <a:pt x="2632" y="260"/>
                  </a:lnTo>
                  <a:lnTo>
                    <a:pt x="2634" y="246"/>
                  </a:lnTo>
                  <a:lnTo>
                    <a:pt x="2634" y="231"/>
                  </a:lnTo>
                  <a:lnTo>
                    <a:pt x="2632" y="209"/>
                  </a:lnTo>
                  <a:lnTo>
                    <a:pt x="2632" y="185"/>
                  </a:lnTo>
                  <a:lnTo>
                    <a:pt x="2628" y="164"/>
                  </a:lnTo>
                  <a:lnTo>
                    <a:pt x="2622" y="150"/>
                  </a:lnTo>
                  <a:lnTo>
                    <a:pt x="2615" y="146"/>
                  </a:lnTo>
                  <a:lnTo>
                    <a:pt x="2605" y="148"/>
                  </a:lnTo>
                  <a:lnTo>
                    <a:pt x="2593" y="152"/>
                  </a:lnTo>
                  <a:lnTo>
                    <a:pt x="2581" y="156"/>
                  </a:lnTo>
                  <a:lnTo>
                    <a:pt x="2567" y="158"/>
                  </a:lnTo>
                  <a:lnTo>
                    <a:pt x="2556" y="156"/>
                  </a:lnTo>
                  <a:lnTo>
                    <a:pt x="2548" y="148"/>
                  </a:lnTo>
                  <a:lnTo>
                    <a:pt x="2546" y="136"/>
                  </a:lnTo>
                  <a:lnTo>
                    <a:pt x="2548" y="124"/>
                  </a:lnTo>
                  <a:lnTo>
                    <a:pt x="2550" y="116"/>
                  </a:lnTo>
                  <a:lnTo>
                    <a:pt x="2552" y="115"/>
                  </a:lnTo>
                </a:path>
              </a:pathLst>
            </a:custGeom>
            <a:grpFill/>
            <a:ln w="6350">
              <a:solidFill>
                <a:schemeClr val="tx1">
                  <a:lumMod val="85000"/>
                  <a:lumOff val="15000"/>
                </a:schemeClr>
              </a:solidFill>
              <a:prstDash val="solid"/>
              <a:round/>
            </a:ln>
          </p:spPr>
          <p:txBody>
            <a:bodyPr/>
            <a:lstStyle/>
            <a:p>
              <a:endParaRPr lang="zh-CN" altLang="en-US" sz="2400"/>
            </a:p>
          </p:txBody>
        </p:sp>
        <p:sp>
          <p:nvSpPr>
            <p:cNvPr id="63" name="Freeform 107"/>
            <p:cNvSpPr/>
            <p:nvPr/>
          </p:nvSpPr>
          <p:spPr bwMode="gray">
            <a:xfrm>
              <a:off x="2016" y="1899"/>
              <a:ext cx="1007" cy="870"/>
            </a:xfrm>
            <a:custGeom>
              <a:avLst/>
              <a:gdLst>
                <a:gd name="T0" fmla="*/ 92 w 2014"/>
                <a:gd name="T1" fmla="*/ 13 h 1739"/>
                <a:gd name="T2" fmla="*/ 66 w 2014"/>
                <a:gd name="T3" fmla="*/ 38 h 1739"/>
                <a:gd name="T4" fmla="*/ 0 w 2014"/>
                <a:gd name="T5" fmla="*/ 77 h 1739"/>
                <a:gd name="T6" fmla="*/ 45 w 2014"/>
                <a:gd name="T7" fmla="*/ 154 h 1739"/>
                <a:gd name="T8" fmla="*/ 90 w 2014"/>
                <a:gd name="T9" fmla="*/ 171 h 1739"/>
                <a:gd name="T10" fmla="*/ 140 w 2014"/>
                <a:gd name="T11" fmla="*/ 160 h 1739"/>
                <a:gd name="T12" fmla="*/ 188 w 2014"/>
                <a:gd name="T13" fmla="*/ 177 h 1739"/>
                <a:gd name="T14" fmla="*/ 215 w 2014"/>
                <a:gd name="T15" fmla="*/ 193 h 1739"/>
                <a:gd name="T16" fmla="*/ 258 w 2014"/>
                <a:gd name="T17" fmla="*/ 220 h 1739"/>
                <a:gd name="T18" fmla="*/ 284 w 2014"/>
                <a:gd name="T19" fmla="*/ 237 h 1739"/>
                <a:gd name="T20" fmla="*/ 301 w 2014"/>
                <a:gd name="T21" fmla="*/ 275 h 1739"/>
                <a:gd name="T22" fmla="*/ 283 w 2014"/>
                <a:gd name="T23" fmla="*/ 318 h 1739"/>
                <a:gd name="T24" fmla="*/ 270 w 2014"/>
                <a:gd name="T25" fmla="*/ 341 h 1739"/>
                <a:gd name="T26" fmla="*/ 249 w 2014"/>
                <a:gd name="T27" fmla="*/ 367 h 1739"/>
                <a:gd name="T28" fmla="*/ 239 w 2014"/>
                <a:gd name="T29" fmla="*/ 374 h 1739"/>
                <a:gd name="T30" fmla="*/ 281 w 2014"/>
                <a:gd name="T31" fmla="*/ 390 h 1739"/>
                <a:gd name="T32" fmla="*/ 314 w 2014"/>
                <a:gd name="T33" fmla="*/ 373 h 1739"/>
                <a:gd name="T34" fmla="*/ 353 w 2014"/>
                <a:gd name="T35" fmla="*/ 403 h 1739"/>
                <a:gd name="T36" fmla="*/ 385 w 2014"/>
                <a:gd name="T37" fmla="*/ 435 h 1739"/>
                <a:gd name="T38" fmla="*/ 413 w 2014"/>
                <a:gd name="T39" fmla="*/ 401 h 1739"/>
                <a:gd name="T40" fmla="*/ 430 w 2014"/>
                <a:gd name="T41" fmla="*/ 377 h 1739"/>
                <a:gd name="T42" fmla="*/ 425 w 2014"/>
                <a:gd name="T43" fmla="*/ 349 h 1739"/>
                <a:gd name="T44" fmla="*/ 431 w 2014"/>
                <a:gd name="T45" fmla="*/ 341 h 1739"/>
                <a:gd name="T46" fmla="*/ 432 w 2014"/>
                <a:gd name="T47" fmla="*/ 335 h 1739"/>
                <a:gd name="T48" fmla="*/ 432 w 2014"/>
                <a:gd name="T49" fmla="*/ 327 h 1739"/>
                <a:gd name="T50" fmla="*/ 472 w 2014"/>
                <a:gd name="T51" fmla="*/ 329 h 1739"/>
                <a:gd name="T52" fmla="*/ 500 w 2014"/>
                <a:gd name="T53" fmla="*/ 302 h 1739"/>
                <a:gd name="T54" fmla="*/ 501 w 2014"/>
                <a:gd name="T55" fmla="*/ 267 h 1739"/>
                <a:gd name="T56" fmla="*/ 453 w 2014"/>
                <a:gd name="T57" fmla="*/ 241 h 1739"/>
                <a:gd name="T58" fmla="*/ 429 w 2014"/>
                <a:gd name="T59" fmla="*/ 256 h 1739"/>
                <a:gd name="T60" fmla="*/ 444 w 2014"/>
                <a:gd name="T61" fmla="*/ 290 h 1739"/>
                <a:gd name="T62" fmla="*/ 429 w 2014"/>
                <a:gd name="T63" fmla="*/ 315 h 1739"/>
                <a:gd name="T64" fmla="*/ 398 w 2014"/>
                <a:gd name="T65" fmla="*/ 302 h 1739"/>
                <a:gd name="T66" fmla="*/ 391 w 2014"/>
                <a:gd name="T67" fmla="*/ 276 h 1739"/>
                <a:gd name="T68" fmla="*/ 369 w 2014"/>
                <a:gd name="T69" fmla="*/ 243 h 1739"/>
                <a:gd name="T70" fmla="*/ 342 w 2014"/>
                <a:gd name="T71" fmla="*/ 228 h 1739"/>
                <a:gd name="T72" fmla="*/ 343 w 2014"/>
                <a:gd name="T73" fmla="*/ 183 h 1739"/>
                <a:gd name="T74" fmla="*/ 313 w 2014"/>
                <a:gd name="T75" fmla="*/ 148 h 1739"/>
                <a:gd name="T76" fmla="*/ 235 w 2014"/>
                <a:gd name="T77" fmla="*/ 161 h 1739"/>
                <a:gd name="T78" fmla="*/ 200 w 2014"/>
                <a:gd name="T79" fmla="*/ 128 h 1739"/>
                <a:gd name="T80" fmla="*/ 218 w 2014"/>
                <a:gd name="T81" fmla="*/ 91 h 1739"/>
                <a:gd name="T82" fmla="*/ 163 w 2014"/>
                <a:gd name="T83" fmla="*/ 100 h 1739"/>
                <a:gd name="T84" fmla="*/ 124 w 2014"/>
                <a:gd name="T85" fmla="*/ 52 h 1739"/>
                <a:gd name="T86" fmla="*/ 116 w 2014"/>
                <a:gd name="T87" fmla="*/ 3 h 173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14"/>
                <a:gd name="T133" fmla="*/ 0 h 1739"/>
                <a:gd name="T134" fmla="*/ 2014 w 2014"/>
                <a:gd name="T135" fmla="*/ 1739 h 173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14" h="1739">
                  <a:moveTo>
                    <a:pt x="463" y="9"/>
                  </a:moveTo>
                  <a:lnTo>
                    <a:pt x="398" y="0"/>
                  </a:lnTo>
                  <a:lnTo>
                    <a:pt x="365" y="51"/>
                  </a:lnTo>
                  <a:lnTo>
                    <a:pt x="374" y="92"/>
                  </a:lnTo>
                  <a:lnTo>
                    <a:pt x="347" y="122"/>
                  </a:lnTo>
                  <a:lnTo>
                    <a:pt x="264" y="149"/>
                  </a:lnTo>
                  <a:lnTo>
                    <a:pt x="160" y="181"/>
                  </a:lnTo>
                  <a:lnTo>
                    <a:pt x="81" y="259"/>
                  </a:lnTo>
                  <a:lnTo>
                    <a:pt x="0" y="307"/>
                  </a:lnTo>
                  <a:lnTo>
                    <a:pt x="32" y="570"/>
                  </a:lnTo>
                  <a:lnTo>
                    <a:pt x="115" y="578"/>
                  </a:lnTo>
                  <a:lnTo>
                    <a:pt x="180" y="614"/>
                  </a:lnTo>
                  <a:lnTo>
                    <a:pt x="237" y="625"/>
                  </a:lnTo>
                  <a:lnTo>
                    <a:pt x="298" y="684"/>
                  </a:lnTo>
                  <a:lnTo>
                    <a:pt x="357" y="681"/>
                  </a:lnTo>
                  <a:lnTo>
                    <a:pt x="432" y="637"/>
                  </a:lnTo>
                  <a:lnTo>
                    <a:pt x="504" y="641"/>
                  </a:lnTo>
                  <a:lnTo>
                    <a:pt x="559" y="637"/>
                  </a:lnTo>
                  <a:lnTo>
                    <a:pt x="601" y="612"/>
                  </a:lnTo>
                  <a:lnTo>
                    <a:pt x="674" y="651"/>
                  </a:lnTo>
                  <a:lnTo>
                    <a:pt x="752" y="708"/>
                  </a:lnTo>
                  <a:lnTo>
                    <a:pt x="813" y="669"/>
                  </a:lnTo>
                  <a:lnTo>
                    <a:pt x="829" y="708"/>
                  </a:lnTo>
                  <a:lnTo>
                    <a:pt x="859" y="771"/>
                  </a:lnTo>
                  <a:lnTo>
                    <a:pt x="945" y="807"/>
                  </a:lnTo>
                  <a:lnTo>
                    <a:pt x="998" y="877"/>
                  </a:lnTo>
                  <a:lnTo>
                    <a:pt x="1032" y="879"/>
                  </a:lnTo>
                  <a:lnTo>
                    <a:pt x="1059" y="854"/>
                  </a:lnTo>
                  <a:lnTo>
                    <a:pt x="1101" y="895"/>
                  </a:lnTo>
                  <a:lnTo>
                    <a:pt x="1136" y="946"/>
                  </a:lnTo>
                  <a:lnTo>
                    <a:pt x="1150" y="1015"/>
                  </a:lnTo>
                  <a:lnTo>
                    <a:pt x="1181" y="1051"/>
                  </a:lnTo>
                  <a:lnTo>
                    <a:pt x="1203" y="1100"/>
                  </a:lnTo>
                  <a:lnTo>
                    <a:pt x="1229" y="1129"/>
                  </a:lnTo>
                  <a:lnTo>
                    <a:pt x="1197" y="1234"/>
                  </a:lnTo>
                  <a:lnTo>
                    <a:pt x="1132" y="1271"/>
                  </a:lnTo>
                  <a:lnTo>
                    <a:pt x="1144" y="1326"/>
                  </a:lnTo>
                  <a:lnTo>
                    <a:pt x="1105" y="1358"/>
                  </a:lnTo>
                  <a:lnTo>
                    <a:pt x="1077" y="1362"/>
                  </a:lnTo>
                  <a:lnTo>
                    <a:pt x="1085" y="1448"/>
                  </a:lnTo>
                  <a:lnTo>
                    <a:pt x="1050" y="1478"/>
                  </a:lnTo>
                  <a:lnTo>
                    <a:pt x="996" y="1468"/>
                  </a:lnTo>
                  <a:lnTo>
                    <a:pt x="971" y="1425"/>
                  </a:lnTo>
                  <a:lnTo>
                    <a:pt x="943" y="1444"/>
                  </a:lnTo>
                  <a:lnTo>
                    <a:pt x="953" y="1495"/>
                  </a:lnTo>
                  <a:lnTo>
                    <a:pt x="1018" y="1503"/>
                  </a:lnTo>
                  <a:lnTo>
                    <a:pt x="1073" y="1547"/>
                  </a:lnTo>
                  <a:lnTo>
                    <a:pt x="1124" y="1558"/>
                  </a:lnTo>
                  <a:lnTo>
                    <a:pt x="1126" y="1507"/>
                  </a:lnTo>
                  <a:lnTo>
                    <a:pt x="1223" y="1472"/>
                  </a:lnTo>
                  <a:lnTo>
                    <a:pt x="1256" y="1489"/>
                  </a:lnTo>
                  <a:lnTo>
                    <a:pt x="1282" y="1560"/>
                  </a:lnTo>
                  <a:lnTo>
                    <a:pt x="1363" y="1633"/>
                  </a:lnTo>
                  <a:lnTo>
                    <a:pt x="1410" y="1610"/>
                  </a:lnTo>
                  <a:lnTo>
                    <a:pt x="1437" y="1688"/>
                  </a:lnTo>
                  <a:lnTo>
                    <a:pt x="1493" y="1732"/>
                  </a:lnTo>
                  <a:lnTo>
                    <a:pt x="1540" y="1739"/>
                  </a:lnTo>
                  <a:lnTo>
                    <a:pt x="1587" y="1688"/>
                  </a:lnTo>
                  <a:lnTo>
                    <a:pt x="1654" y="1651"/>
                  </a:lnTo>
                  <a:lnTo>
                    <a:pt x="1650" y="1602"/>
                  </a:lnTo>
                  <a:lnTo>
                    <a:pt x="1634" y="1580"/>
                  </a:lnTo>
                  <a:lnTo>
                    <a:pt x="1731" y="1566"/>
                  </a:lnTo>
                  <a:lnTo>
                    <a:pt x="1719" y="1507"/>
                  </a:lnTo>
                  <a:lnTo>
                    <a:pt x="1744" y="1430"/>
                  </a:lnTo>
                  <a:lnTo>
                    <a:pt x="1697" y="1399"/>
                  </a:lnTo>
                  <a:lnTo>
                    <a:pt x="1699" y="1395"/>
                  </a:lnTo>
                  <a:lnTo>
                    <a:pt x="1707" y="1385"/>
                  </a:lnTo>
                  <a:lnTo>
                    <a:pt x="1715" y="1373"/>
                  </a:lnTo>
                  <a:lnTo>
                    <a:pt x="1723" y="1363"/>
                  </a:lnTo>
                  <a:lnTo>
                    <a:pt x="1727" y="1360"/>
                  </a:lnTo>
                  <a:lnTo>
                    <a:pt x="1727" y="1354"/>
                  </a:lnTo>
                  <a:lnTo>
                    <a:pt x="1725" y="1340"/>
                  </a:lnTo>
                  <a:lnTo>
                    <a:pt x="1725" y="1324"/>
                  </a:lnTo>
                  <a:lnTo>
                    <a:pt x="1725" y="1312"/>
                  </a:lnTo>
                  <a:lnTo>
                    <a:pt x="1725" y="1306"/>
                  </a:lnTo>
                  <a:lnTo>
                    <a:pt x="1788" y="1302"/>
                  </a:lnTo>
                  <a:lnTo>
                    <a:pt x="1835" y="1328"/>
                  </a:lnTo>
                  <a:lnTo>
                    <a:pt x="1888" y="1316"/>
                  </a:lnTo>
                  <a:lnTo>
                    <a:pt x="1888" y="1267"/>
                  </a:lnTo>
                  <a:lnTo>
                    <a:pt x="1996" y="1259"/>
                  </a:lnTo>
                  <a:lnTo>
                    <a:pt x="2000" y="1206"/>
                  </a:lnTo>
                  <a:lnTo>
                    <a:pt x="1989" y="1155"/>
                  </a:lnTo>
                  <a:lnTo>
                    <a:pt x="2014" y="1112"/>
                  </a:lnTo>
                  <a:lnTo>
                    <a:pt x="2002" y="1068"/>
                  </a:lnTo>
                  <a:lnTo>
                    <a:pt x="1882" y="1015"/>
                  </a:lnTo>
                  <a:lnTo>
                    <a:pt x="1811" y="993"/>
                  </a:lnTo>
                  <a:lnTo>
                    <a:pt x="1809" y="962"/>
                  </a:lnTo>
                  <a:lnTo>
                    <a:pt x="1758" y="960"/>
                  </a:lnTo>
                  <a:lnTo>
                    <a:pt x="1727" y="944"/>
                  </a:lnTo>
                  <a:lnTo>
                    <a:pt x="1713" y="1023"/>
                  </a:lnTo>
                  <a:lnTo>
                    <a:pt x="1701" y="1102"/>
                  </a:lnTo>
                  <a:lnTo>
                    <a:pt x="1754" y="1121"/>
                  </a:lnTo>
                  <a:lnTo>
                    <a:pt x="1774" y="1157"/>
                  </a:lnTo>
                  <a:lnTo>
                    <a:pt x="1756" y="1198"/>
                  </a:lnTo>
                  <a:lnTo>
                    <a:pt x="1717" y="1214"/>
                  </a:lnTo>
                  <a:lnTo>
                    <a:pt x="1713" y="1259"/>
                  </a:lnTo>
                  <a:lnTo>
                    <a:pt x="1678" y="1271"/>
                  </a:lnTo>
                  <a:lnTo>
                    <a:pt x="1613" y="1241"/>
                  </a:lnTo>
                  <a:lnTo>
                    <a:pt x="1589" y="1206"/>
                  </a:lnTo>
                  <a:lnTo>
                    <a:pt x="1546" y="1190"/>
                  </a:lnTo>
                  <a:lnTo>
                    <a:pt x="1546" y="1145"/>
                  </a:lnTo>
                  <a:lnTo>
                    <a:pt x="1563" y="1104"/>
                  </a:lnTo>
                  <a:lnTo>
                    <a:pt x="1524" y="1047"/>
                  </a:lnTo>
                  <a:lnTo>
                    <a:pt x="1528" y="1011"/>
                  </a:lnTo>
                  <a:lnTo>
                    <a:pt x="1475" y="970"/>
                  </a:lnTo>
                  <a:lnTo>
                    <a:pt x="1447" y="932"/>
                  </a:lnTo>
                  <a:lnTo>
                    <a:pt x="1437" y="915"/>
                  </a:lnTo>
                  <a:lnTo>
                    <a:pt x="1365" y="911"/>
                  </a:lnTo>
                  <a:lnTo>
                    <a:pt x="1306" y="856"/>
                  </a:lnTo>
                  <a:lnTo>
                    <a:pt x="1313" y="767"/>
                  </a:lnTo>
                  <a:lnTo>
                    <a:pt x="1370" y="732"/>
                  </a:lnTo>
                  <a:lnTo>
                    <a:pt x="1370" y="627"/>
                  </a:lnTo>
                  <a:lnTo>
                    <a:pt x="1325" y="588"/>
                  </a:lnTo>
                  <a:lnTo>
                    <a:pt x="1250" y="592"/>
                  </a:lnTo>
                  <a:lnTo>
                    <a:pt x="1154" y="684"/>
                  </a:lnTo>
                  <a:lnTo>
                    <a:pt x="1020" y="684"/>
                  </a:lnTo>
                  <a:lnTo>
                    <a:pt x="937" y="641"/>
                  </a:lnTo>
                  <a:lnTo>
                    <a:pt x="941" y="580"/>
                  </a:lnTo>
                  <a:lnTo>
                    <a:pt x="874" y="576"/>
                  </a:lnTo>
                  <a:lnTo>
                    <a:pt x="798" y="509"/>
                  </a:lnTo>
                  <a:lnTo>
                    <a:pt x="847" y="440"/>
                  </a:lnTo>
                  <a:lnTo>
                    <a:pt x="892" y="425"/>
                  </a:lnTo>
                  <a:lnTo>
                    <a:pt x="872" y="362"/>
                  </a:lnTo>
                  <a:lnTo>
                    <a:pt x="792" y="334"/>
                  </a:lnTo>
                  <a:lnTo>
                    <a:pt x="699" y="344"/>
                  </a:lnTo>
                  <a:lnTo>
                    <a:pt x="652" y="399"/>
                  </a:lnTo>
                  <a:lnTo>
                    <a:pt x="607" y="393"/>
                  </a:lnTo>
                  <a:lnTo>
                    <a:pt x="530" y="303"/>
                  </a:lnTo>
                  <a:lnTo>
                    <a:pt x="496" y="208"/>
                  </a:lnTo>
                  <a:lnTo>
                    <a:pt x="514" y="149"/>
                  </a:lnTo>
                  <a:lnTo>
                    <a:pt x="506" y="25"/>
                  </a:lnTo>
                  <a:lnTo>
                    <a:pt x="463" y="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4" name="Freeform 108"/>
            <p:cNvSpPr/>
            <p:nvPr/>
          </p:nvSpPr>
          <p:spPr bwMode="gray">
            <a:xfrm>
              <a:off x="2016" y="1899"/>
              <a:ext cx="1007" cy="870"/>
            </a:xfrm>
            <a:custGeom>
              <a:avLst/>
              <a:gdLst>
                <a:gd name="T0" fmla="*/ 92 w 2014"/>
                <a:gd name="T1" fmla="*/ 13 h 1739"/>
                <a:gd name="T2" fmla="*/ 66 w 2014"/>
                <a:gd name="T3" fmla="*/ 38 h 1739"/>
                <a:gd name="T4" fmla="*/ 0 w 2014"/>
                <a:gd name="T5" fmla="*/ 77 h 1739"/>
                <a:gd name="T6" fmla="*/ 45 w 2014"/>
                <a:gd name="T7" fmla="*/ 154 h 1739"/>
                <a:gd name="T8" fmla="*/ 90 w 2014"/>
                <a:gd name="T9" fmla="*/ 171 h 1739"/>
                <a:gd name="T10" fmla="*/ 140 w 2014"/>
                <a:gd name="T11" fmla="*/ 160 h 1739"/>
                <a:gd name="T12" fmla="*/ 188 w 2014"/>
                <a:gd name="T13" fmla="*/ 177 h 1739"/>
                <a:gd name="T14" fmla="*/ 215 w 2014"/>
                <a:gd name="T15" fmla="*/ 193 h 1739"/>
                <a:gd name="T16" fmla="*/ 258 w 2014"/>
                <a:gd name="T17" fmla="*/ 220 h 1739"/>
                <a:gd name="T18" fmla="*/ 284 w 2014"/>
                <a:gd name="T19" fmla="*/ 237 h 1739"/>
                <a:gd name="T20" fmla="*/ 301 w 2014"/>
                <a:gd name="T21" fmla="*/ 275 h 1739"/>
                <a:gd name="T22" fmla="*/ 283 w 2014"/>
                <a:gd name="T23" fmla="*/ 318 h 1739"/>
                <a:gd name="T24" fmla="*/ 270 w 2014"/>
                <a:gd name="T25" fmla="*/ 341 h 1739"/>
                <a:gd name="T26" fmla="*/ 249 w 2014"/>
                <a:gd name="T27" fmla="*/ 367 h 1739"/>
                <a:gd name="T28" fmla="*/ 239 w 2014"/>
                <a:gd name="T29" fmla="*/ 374 h 1739"/>
                <a:gd name="T30" fmla="*/ 281 w 2014"/>
                <a:gd name="T31" fmla="*/ 390 h 1739"/>
                <a:gd name="T32" fmla="*/ 314 w 2014"/>
                <a:gd name="T33" fmla="*/ 373 h 1739"/>
                <a:gd name="T34" fmla="*/ 353 w 2014"/>
                <a:gd name="T35" fmla="*/ 403 h 1739"/>
                <a:gd name="T36" fmla="*/ 385 w 2014"/>
                <a:gd name="T37" fmla="*/ 435 h 1739"/>
                <a:gd name="T38" fmla="*/ 413 w 2014"/>
                <a:gd name="T39" fmla="*/ 401 h 1739"/>
                <a:gd name="T40" fmla="*/ 430 w 2014"/>
                <a:gd name="T41" fmla="*/ 377 h 1739"/>
                <a:gd name="T42" fmla="*/ 425 w 2014"/>
                <a:gd name="T43" fmla="*/ 349 h 1739"/>
                <a:gd name="T44" fmla="*/ 431 w 2014"/>
                <a:gd name="T45" fmla="*/ 341 h 1739"/>
                <a:gd name="T46" fmla="*/ 432 w 2014"/>
                <a:gd name="T47" fmla="*/ 335 h 1739"/>
                <a:gd name="T48" fmla="*/ 432 w 2014"/>
                <a:gd name="T49" fmla="*/ 327 h 1739"/>
                <a:gd name="T50" fmla="*/ 472 w 2014"/>
                <a:gd name="T51" fmla="*/ 329 h 1739"/>
                <a:gd name="T52" fmla="*/ 500 w 2014"/>
                <a:gd name="T53" fmla="*/ 302 h 1739"/>
                <a:gd name="T54" fmla="*/ 501 w 2014"/>
                <a:gd name="T55" fmla="*/ 267 h 1739"/>
                <a:gd name="T56" fmla="*/ 453 w 2014"/>
                <a:gd name="T57" fmla="*/ 241 h 1739"/>
                <a:gd name="T58" fmla="*/ 429 w 2014"/>
                <a:gd name="T59" fmla="*/ 256 h 1739"/>
                <a:gd name="T60" fmla="*/ 444 w 2014"/>
                <a:gd name="T61" fmla="*/ 290 h 1739"/>
                <a:gd name="T62" fmla="*/ 429 w 2014"/>
                <a:gd name="T63" fmla="*/ 315 h 1739"/>
                <a:gd name="T64" fmla="*/ 398 w 2014"/>
                <a:gd name="T65" fmla="*/ 302 h 1739"/>
                <a:gd name="T66" fmla="*/ 391 w 2014"/>
                <a:gd name="T67" fmla="*/ 276 h 1739"/>
                <a:gd name="T68" fmla="*/ 369 w 2014"/>
                <a:gd name="T69" fmla="*/ 243 h 1739"/>
                <a:gd name="T70" fmla="*/ 342 w 2014"/>
                <a:gd name="T71" fmla="*/ 228 h 1739"/>
                <a:gd name="T72" fmla="*/ 343 w 2014"/>
                <a:gd name="T73" fmla="*/ 183 h 1739"/>
                <a:gd name="T74" fmla="*/ 313 w 2014"/>
                <a:gd name="T75" fmla="*/ 148 h 1739"/>
                <a:gd name="T76" fmla="*/ 235 w 2014"/>
                <a:gd name="T77" fmla="*/ 161 h 1739"/>
                <a:gd name="T78" fmla="*/ 200 w 2014"/>
                <a:gd name="T79" fmla="*/ 128 h 1739"/>
                <a:gd name="T80" fmla="*/ 218 w 2014"/>
                <a:gd name="T81" fmla="*/ 91 h 1739"/>
                <a:gd name="T82" fmla="*/ 163 w 2014"/>
                <a:gd name="T83" fmla="*/ 100 h 1739"/>
                <a:gd name="T84" fmla="*/ 124 w 2014"/>
                <a:gd name="T85" fmla="*/ 52 h 1739"/>
                <a:gd name="T86" fmla="*/ 116 w 2014"/>
                <a:gd name="T87" fmla="*/ 3 h 173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14"/>
                <a:gd name="T133" fmla="*/ 0 h 1739"/>
                <a:gd name="T134" fmla="*/ 2014 w 2014"/>
                <a:gd name="T135" fmla="*/ 1739 h 173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14" h="1739">
                  <a:moveTo>
                    <a:pt x="463" y="9"/>
                  </a:moveTo>
                  <a:lnTo>
                    <a:pt x="398" y="0"/>
                  </a:lnTo>
                  <a:lnTo>
                    <a:pt x="365" y="51"/>
                  </a:lnTo>
                  <a:lnTo>
                    <a:pt x="374" y="92"/>
                  </a:lnTo>
                  <a:lnTo>
                    <a:pt x="347" y="122"/>
                  </a:lnTo>
                  <a:lnTo>
                    <a:pt x="264" y="149"/>
                  </a:lnTo>
                  <a:lnTo>
                    <a:pt x="160" y="181"/>
                  </a:lnTo>
                  <a:lnTo>
                    <a:pt x="81" y="259"/>
                  </a:lnTo>
                  <a:lnTo>
                    <a:pt x="0" y="307"/>
                  </a:lnTo>
                  <a:lnTo>
                    <a:pt x="32" y="570"/>
                  </a:lnTo>
                  <a:lnTo>
                    <a:pt x="115" y="578"/>
                  </a:lnTo>
                  <a:lnTo>
                    <a:pt x="180" y="614"/>
                  </a:lnTo>
                  <a:lnTo>
                    <a:pt x="237" y="625"/>
                  </a:lnTo>
                  <a:lnTo>
                    <a:pt x="298" y="684"/>
                  </a:lnTo>
                  <a:lnTo>
                    <a:pt x="357" y="681"/>
                  </a:lnTo>
                  <a:lnTo>
                    <a:pt x="432" y="637"/>
                  </a:lnTo>
                  <a:lnTo>
                    <a:pt x="504" y="641"/>
                  </a:lnTo>
                  <a:lnTo>
                    <a:pt x="559" y="637"/>
                  </a:lnTo>
                  <a:lnTo>
                    <a:pt x="601" y="612"/>
                  </a:lnTo>
                  <a:lnTo>
                    <a:pt x="674" y="651"/>
                  </a:lnTo>
                  <a:lnTo>
                    <a:pt x="752" y="708"/>
                  </a:lnTo>
                  <a:lnTo>
                    <a:pt x="813" y="669"/>
                  </a:lnTo>
                  <a:lnTo>
                    <a:pt x="829" y="708"/>
                  </a:lnTo>
                  <a:lnTo>
                    <a:pt x="859" y="771"/>
                  </a:lnTo>
                  <a:lnTo>
                    <a:pt x="945" y="807"/>
                  </a:lnTo>
                  <a:lnTo>
                    <a:pt x="998" y="877"/>
                  </a:lnTo>
                  <a:lnTo>
                    <a:pt x="1032" y="879"/>
                  </a:lnTo>
                  <a:lnTo>
                    <a:pt x="1059" y="854"/>
                  </a:lnTo>
                  <a:lnTo>
                    <a:pt x="1101" y="895"/>
                  </a:lnTo>
                  <a:lnTo>
                    <a:pt x="1136" y="946"/>
                  </a:lnTo>
                  <a:lnTo>
                    <a:pt x="1150" y="1015"/>
                  </a:lnTo>
                  <a:lnTo>
                    <a:pt x="1181" y="1051"/>
                  </a:lnTo>
                  <a:lnTo>
                    <a:pt x="1203" y="1100"/>
                  </a:lnTo>
                  <a:lnTo>
                    <a:pt x="1229" y="1129"/>
                  </a:lnTo>
                  <a:lnTo>
                    <a:pt x="1197" y="1234"/>
                  </a:lnTo>
                  <a:lnTo>
                    <a:pt x="1132" y="1271"/>
                  </a:lnTo>
                  <a:lnTo>
                    <a:pt x="1144" y="1326"/>
                  </a:lnTo>
                  <a:lnTo>
                    <a:pt x="1105" y="1358"/>
                  </a:lnTo>
                  <a:lnTo>
                    <a:pt x="1077" y="1362"/>
                  </a:lnTo>
                  <a:lnTo>
                    <a:pt x="1085" y="1448"/>
                  </a:lnTo>
                  <a:lnTo>
                    <a:pt x="1050" y="1478"/>
                  </a:lnTo>
                  <a:lnTo>
                    <a:pt x="996" y="1468"/>
                  </a:lnTo>
                  <a:lnTo>
                    <a:pt x="971" y="1425"/>
                  </a:lnTo>
                  <a:lnTo>
                    <a:pt x="943" y="1444"/>
                  </a:lnTo>
                  <a:lnTo>
                    <a:pt x="953" y="1495"/>
                  </a:lnTo>
                  <a:lnTo>
                    <a:pt x="1018" y="1503"/>
                  </a:lnTo>
                  <a:lnTo>
                    <a:pt x="1073" y="1547"/>
                  </a:lnTo>
                  <a:lnTo>
                    <a:pt x="1124" y="1558"/>
                  </a:lnTo>
                  <a:lnTo>
                    <a:pt x="1126" y="1507"/>
                  </a:lnTo>
                  <a:lnTo>
                    <a:pt x="1223" y="1472"/>
                  </a:lnTo>
                  <a:lnTo>
                    <a:pt x="1256" y="1489"/>
                  </a:lnTo>
                  <a:lnTo>
                    <a:pt x="1282" y="1560"/>
                  </a:lnTo>
                  <a:lnTo>
                    <a:pt x="1363" y="1633"/>
                  </a:lnTo>
                  <a:lnTo>
                    <a:pt x="1410" y="1610"/>
                  </a:lnTo>
                  <a:lnTo>
                    <a:pt x="1437" y="1688"/>
                  </a:lnTo>
                  <a:lnTo>
                    <a:pt x="1493" y="1732"/>
                  </a:lnTo>
                  <a:lnTo>
                    <a:pt x="1540" y="1739"/>
                  </a:lnTo>
                  <a:lnTo>
                    <a:pt x="1587" y="1688"/>
                  </a:lnTo>
                  <a:lnTo>
                    <a:pt x="1654" y="1651"/>
                  </a:lnTo>
                  <a:lnTo>
                    <a:pt x="1650" y="1602"/>
                  </a:lnTo>
                  <a:lnTo>
                    <a:pt x="1634" y="1580"/>
                  </a:lnTo>
                  <a:lnTo>
                    <a:pt x="1731" y="1566"/>
                  </a:lnTo>
                  <a:lnTo>
                    <a:pt x="1719" y="1507"/>
                  </a:lnTo>
                  <a:lnTo>
                    <a:pt x="1744" y="1430"/>
                  </a:lnTo>
                  <a:lnTo>
                    <a:pt x="1697" y="1399"/>
                  </a:lnTo>
                  <a:lnTo>
                    <a:pt x="1699" y="1395"/>
                  </a:lnTo>
                  <a:lnTo>
                    <a:pt x="1707" y="1385"/>
                  </a:lnTo>
                  <a:lnTo>
                    <a:pt x="1715" y="1373"/>
                  </a:lnTo>
                  <a:lnTo>
                    <a:pt x="1723" y="1363"/>
                  </a:lnTo>
                  <a:lnTo>
                    <a:pt x="1727" y="1360"/>
                  </a:lnTo>
                  <a:lnTo>
                    <a:pt x="1727" y="1354"/>
                  </a:lnTo>
                  <a:lnTo>
                    <a:pt x="1725" y="1340"/>
                  </a:lnTo>
                  <a:lnTo>
                    <a:pt x="1725" y="1324"/>
                  </a:lnTo>
                  <a:lnTo>
                    <a:pt x="1725" y="1312"/>
                  </a:lnTo>
                  <a:lnTo>
                    <a:pt x="1725" y="1306"/>
                  </a:lnTo>
                  <a:lnTo>
                    <a:pt x="1788" y="1302"/>
                  </a:lnTo>
                  <a:lnTo>
                    <a:pt x="1835" y="1328"/>
                  </a:lnTo>
                  <a:lnTo>
                    <a:pt x="1888" y="1316"/>
                  </a:lnTo>
                  <a:lnTo>
                    <a:pt x="1888" y="1267"/>
                  </a:lnTo>
                  <a:lnTo>
                    <a:pt x="1996" y="1259"/>
                  </a:lnTo>
                  <a:lnTo>
                    <a:pt x="2000" y="1206"/>
                  </a:lnTo>
                  <a:lnTo>
                    <a:pt x="1989" y="1155"/>
                  </a:lnTo>
                  <a:lnTo>
                    <a:pt x="2014" y="1112"/>
                  </a:lnTo>
                  <a:lnTo>
                    <a:pt x="2002" y="1068"/>
                  </a:lnTo>
                  <a:lnTo>
                    <a:pt x="1882" y="1015"/>
                  </a:lnTo>
                  <a:lnTo>
                    <a:pt x="1811" y="993"/>
                  </a:lnTo>
                  <a:lnTo>
                    <a:pt x="1809" y="962"/>
                  </a:lnTo>
                  <a:lnTo>
                    <a:pt x="1758" y="960"/>
                  </a:lnTo>
                  <a:lnTo>
                    <a:pt x="1727" y="944"/>
                  </a:lnTo>
                  <a:lnTo>
                    <a:pt x="1713" y="1023"/>
                  </a:lnTo>
                  <a:lnTo>
                    <a:pt x="1701" y="1102"/>
                  </a:lnTo>
                  <a:lnTo>
                    <a:pt x="1754" y="1121"/>
                  </a:lnTo>
                  <a:lnTo>
                    <a:pt x="1774" y="1157"/>
                  </a:lnTo>
                  <a:lnTo>
                    <a:pt x="1756" y="1198"/>
                  </a:lnTo>
                  <a:lnTo>
                    <a:pt x="1717" y="1214"/>
                  </a:lnTo>
                  <a:lnTo>
                    <a:pt x="1713" y="1259"/>
                  </a:lnTo>
                  <a:lnTo>
                    <a:pt x="1678" y="1271"/>
                  </a:lnTo>
                  <a:lnTo>
                    <a:pt x="1613" y="1241"/>
                  </a:lnTo>
                  <a:lnTo>
                    <a:pt x="1589" y="1206"/>
                  </a:lnTo>
                  <a:lnTo>
                    <a:pt x="1546" y="1190"/>
                  </a:lnTo>
                  <a:lnTo>
                    <a:pt x="1546" y="1145"/>
                  </a:lnTo>
                  <a:lnTo>
                    <a:pt x="1563" y="1104"/>
                  </a:lnTo>
                  <a:lnTo>
                    <a:pt x="1524" y="1047"/>
                  </a:lnTo>
                  <a:lnTo>
                    <a:pt x="1528" y="1011"/>
                  </a:lnTo>
                  <a:lnTo>
                    <a:pt x="1475" y="970"/>
                  </a:lnTo>
                  <a:lnTo>
                    <a:pt x="1447" y="932"/>
                  </a:lnTo>
                  <a:lnTo>
                    <a:pt x="1437" y="915"/>
                  </a:lnTo>
                  <a:lnTo>
                    <a:pt x="1365" y="911"/>
                  </a:lnTo>
                  <a:lnTo>
                    <a:pt x="1306" y="856"/>
                  </a:lnTo>
                  <a:lnTo>
                    <a:pt x="1313" y="767"/>
                  </a:lnTo>
                  <a:lnTo>
                    <a:pt x="1370" y="732"/>
                  </a:lnTo>
                  <a:lnTo>
                    <a:pt x="1370" y="627"/>
                  </a:lnTo>
                  <a:lnTo>
                    <a:pt x="1325" y="588"/>
                  </a:lnTo>
                  <a:lnTo>
                    <a:pt x="1250" y="592"/>
                  </a:lnTo>
                  <a:lnTo>
                    <a:pt x="1154" y="684"/>
                  </a:lnTo>
                  <a:lnTo>
                    <a:pt x="1020" y="684"/>
                  </a:lnTo>
                  <a:lnTo>
                    <a:pt x="937" y="641"/>
                  </a:lnTo>
                  <a:lnTo>
                    <a:pt x="941" y="580"/>
                  </a:lnTo>
                  <a:lnTo>
                    <a:pt x="874" y="576"/>
                  </a:lnTo>
                  <a:lnTo>
                    <a:pt x="798" y="509"/>
                  </a:lnTo>
                  <a:lnTo>
                    <a:pt x="847" y="440"/>
                  </a:lnTo>
                  <a:lnTo>
                    <a:pt x="892" y="425"/>
                  </a:lnTo>
                  <a:lnTo>
                    <a:pt x="872" y="362"/>
                  </a:lnTo>
                  <a:lnTo>
                    <a:pt x="792" y="334"/>
                  </a:lnTo>
                  <a:lnTo>
                    <a:pt x="699" y="344"/>
                  </a:lnTo>
                  <a:lnTo>
                    <a:pt x="652" y="399"/>
                  </a:lnTo>
                  <a:lnTo>
                    <a:pt x="607" y="393"/>
                  </a:lnTo>
                  <a:lnTo>
                    <a:pt x="530" y="303"/>
                  </a:lnTo>
                  <a:lnTo>
                    <a:pt x="496" y="208"/>
                  </a:lnTo>
                  <a:lnTo>
                    <a:pt x="514" y="149"/>
                  </a:lnTo>
                  <a:lnTo>
                    <a:pt x="506" y="25"/>
                  </a:lnTo>
                  <a:lnTo>
                    <a:pt x="463" y="9"/>
                  </a:lnTo>
                </a:path>
              </a:pathLst>
            </a:custGeom>
            <a:grpFill/>
            <a:ln w="6350">
              <a:solidFill>
                <a:schemeClr val="tx1">
                  <a:lumMod val="85000"/>
                  <a:lumOff val="15000"/>
                </a:schemeClr>
              </a:solidFill>
              <a:prstDash val="solid"/>
              <a:round/>
            </a:ln>
          </p:spPr>
          <p:txBody>
            <a:bodyPr/>
            <a:lstStyle/>
            <a:p>
              <a:endParaRPr lang="zh-CN" altLang="en-US" sz="2400"/>
            </a:p>
          </p:txBody>
        </p:sp>
        <p:sp>
          <p:nvSpPr>
            <p:cNvPr id="65" name="Freeform 109"/>
            <p:cNvSpPr/>
            <p:nvPr/>
          </p:nvSpPr>
          <p:spPr bwMode="gray">
            <a:xfrm>
              <a:off x="1694" y="2177"/>
              <a:ext cx="936" cy="666"/>
            </a:xfrm>
            <a:custGeom>
              <a:avLst/>
              <a:gdLst>
                <a:gd name="T0" fmla="*/ 445 w 1872"/>
                <a:gd name="T1" fmla="*/ 276 h 1330"/>
                <a:gd name="T2" fmla="*/ 426 w 1872"/>
                <a:gd name="T3" fmla="*/ 279 h 1330"/>
                <a:gd name="T4" fmla="*/ 397 w 1872"/>
                <a:gd name="T5" fmla="*/ 279 h 1330"/>
                <a:gd name="T6" fmla="*/ 381 w 1872"/>
                <a:gd name="T7" fmla="*/ 296 h 1330"/>
                <a:gd name="T8" fmla="*/ 343 w 1872"/>
                <a:gd name="T9" fmla="*/ 274 h 1330"/>
                <a:gd name="T10" fmla="*/ 308 w 1872"/>
                <a:gd name="T11" fmla="*/ 269 h 1330"/>
                <a:gd name="T12" fmla="*/ 275 w 1872"/>
                <a:gd name="T13" fmla="*/ 273 h 1330"/>
                <a:gd name="T14" fmla="*/ 262 w 1872"/>
                <a:gd name="T15" fmla="*/ 288 h 1330"/>
                <a:gd name="T16" fmla="*/ 260 w 1872"/>
                <a:gd name="T17" fmla="*/ 309 h 1330"/>
                <a:gd name="T18" fmla="*/ 225 w 1872"/>
                <a:gd name="T19" fmla="*/ 329 h 1330"/>
                <a:gd name="T20" fmla="*/ 204 w 1872"/>
                <a:gd name="T21" fmla="*/ 313 h 1330"/>
                <a:gd name="T22" fmla="*/ 155 w 1872"/>
                <a:gd name="T23" fmla="*/ 287 h 1330"/>
                <a:gd name="T24" fmla="*/ 113 w 1872"/>
                <a:gd name="T25" fmla="*/ 280 h 1330"/>
                <a:gd name="T26" fmla="*/ 85 w 1872"/>
                <a:gd name="T27" fmla="*/ 274 h 1330"/>
                <a:gd name="T28" fmla="*/ 64 w 1872"/>
                <a:gd name="T29" fmla="*/ 264 h 1330"/>
                <a:gd name="T30" fmla="*/ 28 w 1872"/>
                <a:gd name="T31" fmla="*/ 256 h 1330"/>
                <a:gd name="T32" fmla="*/ 2 w 1872"/>
                <a:gd name="T33" fmla="*/ 206 h 1330"/>
                <a:gd name="T34" fmla="*/ 12 w 1872"/>
                <a:gd name="T35" fmla="*/ 185 h 1330"/>
                <a:gd name="T36" fmla="*/ 20 w 1872"/>
                <a:gd name="T37" fmla="*/ 149 h 1330"/>
                <a:gd name="T38" fmla="*/ 11 w 1872"/>
                <a:gd name="T39" fmla="*/ 133 h 1330"/>
                <a:gd name="T40" fmla="*/ 20 w 1872"/>
                <a:gd name="T41" fmla="*/ 117 h 1330"/>
                <a:gd name="T42" fmla="*/ 61 w 1872"/>
                <a:gd name="T43" fmla="*/ 117 h 1330"/>
                <a:gd name="T44" fmla="*/ 53 w 1872"/>
                <a:gd name="T45" fmla="*/ 96 h 1330"/>
                <a:gd name="T46" fmla="*/ 74 w 1872"/>
                <a:gd name="T47" fmla="*/ 75 h 1330"/>
                <a:gd name="T48" fmla="*/ 45 w 1872"/>
                <a:gd name="T49" fmla="*/ 32 h 1330"/>
                <a:gd name="T50" fmla="*/ 99 w 1872"/>
                <a:gd name="T51" fmla="*/ 18 h 1330"/>
                <a:gd name="T52" fmla="*/ 134 w 1872"/>
                <a:gd name="T53" fmla="*/ 10 h 1330"/>
                <a:gd name="T54" fmla="*/ 169 w 1872"/>
                <a:gd name="T55" fmla="*/ 4 h 1330"/>
                <a:gd name="T56" fmla="*/ 206 w 1872"/>
                <a:gd name="T57" fmla="*/ 15 h 1330"/>
                <a:gd name="T58" fmla="*/ 235 w 1872"/>
                <a:gd name="T59" fmla="*/ 32 h 1330"/>
                <a:gd name="T60" fmla="*/ 269 w 1872"/>
                <a:gd name="T61" fmla="*/ 20 h 1330"/>
                <a:gd name="T62" fmla="*/ 301 w 1872"/>
                <a:gd name="T63" fmla="*/ 20 h 1330"/>
                <a:gd name="T64" fmla="*/ 330 w 1872"/>
                <a:gd name="T65" fmla="*/ 24 h 1330"/>
                <a:gd name="T66" fmla="*/ 364 w 1872"/>
                <a:gd name="T67" fmla="*/ 28 h 1330"/>
                <a:gd name="T68" fmla="*/ 376 w 1872"/>
                <a:gd name="T69" fmla="*/ 54 h 1330"/>
                <a:gd name="T70" fmla="*/ 411 w 1872"/>
                <a:gd name="T71" fmla="*/ 80 h 1330"/>
                <a:gd name="T72" fmla="*/ 426 w 1872"/>
                <a:gd name="T73" fmla="*/ 75 h 1330"/>
                <a:gd name="T74" fmla="*/ 445 w 1872"/>
                <a:gd name="T75" fmla="*/ 98 h 1330"/>
                <a:gd name="T76" fmla="*/ 456 w 1872"/>
                <a:gd name="T77" fmla="*/ 124 h 1330"/>
                <a:gd name="T78" fmla="*/ 468 w 1872"/>
                <a:gd name="T79" fmla="*/ 143 h 1330"/>
                <a:gd name="T80" fmla="*/ 444 w 1872"/>
                <a:gd name="T81" fmla="*/ 179 h 1330"/>
                <a:gd name="T82" fmla="*/ 437 w 1872"/>
                <a:gd name="T83" fmla="*/ 201 h 1330"/>
                <a:gd name="T84" fmla="*/ 432 w 1872"/>
                <a:gd name="T85" fmla="*/ 223 h 1330"/>
                <a:gd name="T86" fmla="*/ 410 w 1872"/>
                <a:gd name="T87" fmla="*/ 228 h 1330"/>
                <a:gd name="T88" fmla="*/ 397 w 1872"/>
                <a:gd name="T89" fmla="*/ 222 h 1330"/>
                <a:gd name="T90" fmla="*/ 416 w 1872"/>
                <a:gd name="T91" fmla="*/ 237 h 1330"/>
                <a:gd name="T92" fmla="*/ 442 w 1872"/>
                <a:gd name="T93" fmla="*/ 251 h 133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872"/>
                <a:gd name="T142" fmla="*/ 0 h 1330"/>
                <a:gd name="T143" fmla="*/ 1872 w 1872"/>
                <a:gd name="T144" fmla="*/ 1330 h 133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872" h="1330">
                  <a:moveTo>
                    <a:pt x="1801" y="1035"/>
                  </a:moveTo>
                  <a:lnTo>
                    <a:pt x="1779" y="1102"/>
                  </a:lnTo>
                  <a:lnTo>
                    <a:pt x="1736" y="1082"/>
                  </a:lnTo>
                  <a:lnTo>
                    <a:pt x="1702" y="1115"/>
                  </a:lnTo>
                  <a:lnTo>
                    <a:pt x="1655" y="1072"/>
                  </a:lnTo>
                  <a:lnTo>
                    <a:pt x="1586" y="1114"/>
                  </a:lnTo>
                  <a:lnTo>
                    <a:pt x="1588" y="1184"/>
                  </a:lnTo>
                  <a:lnTo>
                    <a:pt x="1521" y="1180"/>
                  </a:lnTo>
                  <a:lnTo>
                    <a:pt x="1421" y="1068"/>
                  </a:lnTo>
                  <a:lnTo>
                    <a:pt x="1372" y="1094"/>
                  </a:lnTo>
                  <a:lnTo>
                    <a:pt x="1279" y="1049"/>
                  </a:lnTo>
                  <a:lnTo>
                    <a:pt x="1232" y="1072"/>
                  </a:lnTo>
                  <a:lnTo>
                    <a:pt x="1138" y="1062"/>
                  </a:lnTo>
                  <a:lnTo>
                    <a:pt x="1100" y="1090"/>
                  </a:lnTo>
                  <a:lnTo>
                    <a:pt x="1092" y="1155"/>
                  </a:lnTo>
                  <a:lnTo>
                    <a:pt x="1045" y="1149"/>
                  </a:lnTo>
                  <a:lnTo>
                    <a:pt x="1055" y="1184"/>
                  </a:lnTo>
                  <a:lnTo>
                    <a:pt x="1039" y="1234"/>
                  </a:lnTo>
                  <a:lnTo>
                    <a:pt x="968" y="1330"/>
                  </a:lnTo>
                  <a:lnTo>
                    <a:pt x="897" y="1314"/>
                  </a:lnTo>
                  <a:lnTo>
                    <a:pt x="821" y="1304"/>
                  </a:lnTo>
                  <a:lnTo>
                    <a:pt x="813" y="1251"/>
                  </a:lnTo>
                  <a:lnTo>
                    <a:pt x="728" y="1190"/>
                  </a:lnTo>
                  <a:lnTo>
                    <a:pt x="618" y="1147"/>
                  </a:lnTo>
                  <a:lnTo>
                    <a:pt x="521" y="1149"/>
                  </a:lnTo>
                  <a:lnTo>
                    <a:pt x="452" y="1117"/>
                  </a:lnTo>
                  <a:lnTo>
                    <a:pt x="389" y="1121"/>
                  </a:lnTo>
                  <a:lnTo>
                    <a:pt x="338" y="1092"/>
                  </a:lnTo>
                  <a:lnTo>
                    <a:pt x="281" y="1056"/>
                  </a:lnTo>
                  <a:lnTo>
                    <a:pt x="256" y="1054"/>
                  </a:lnTo>
                  <a:lnTo>
                    <a:pt x="185" y="1021"/>
                  </a:lnTo>
                  <a:lnTo>
                    <a:pt x="112" y="1023"/>
                  </a:lnTo>
                  <a:lnTo>
                    <a:pt x="61" y="911"/>
                  </a:lnTo>
                  <a:lnTo>
                    <a:pt x="6" y="822"/>
                  </a:lnTo>
                  <a:lnTo>
                    <a:pt x="0" y="740"/>
                  </a:lnTo>
                  <a:lnTo>
                    <a:pt x="45" y="738"/>
                  </a:lnTo>
                  <a:lnTo>
                    <a:pt x="43" y="686"/>
                  </a:lnTo>
                  <a:lnTo>
                    <a:pt x="77" y="594"/>
                  </a:lnTo>
                  <a:lnTo>
                    <a:pt x="78" y="549"/>
                  </a:lnTo>
                  <a:lnTo>
                    <a:pt x="43" y="529"/>
                  </a:lnTo>
                  <a:lnTo>
                    <a:pt x="80" y="501"/>
                  </a:lnTo>
                  <a:lnTo>
                    <a:pt x="77" y="466"/>
                  </a:lnTo>
                  <a:lnTo>
                    <a:pt x="139" y="501"/>
                  </a:lnTo>
                  <a:lnTo>
                    <a:pt x="244" y="466"/>
                  </a:lnTo>
                  <a:lnTo>
                    <a:pt x="206" y="433"/>
                  </a:lnTo>
                  <a:lnTo>
                    <a:pt x="212" y="383"/>
                  </a:lnTo>
                  <a:lnTo>
                    <a:pt x="265" y="364"/>
                  </a:lnTo>
                  <a:lnTo>
                    <a:pt x="293" y="299"/>
                  </a:lnTo>
                  <a:lnTo>
                    <a:pt x="175" y="206"/>
                  </a:lnTo>
                  <a:lnTo>
                    <a:pt x="179" y="126"/>
                  </a:lnTo>
                  <a:lnTo>
                    <a:pt x="252" y="84"/>
                  </a:lnTo>
                  <a:lnTo>
                    <a:pt x="393" y="70"/>
                  </a:lnTo>
                  <a:lnTo>
                    <a:pt x="502" y="41"/>
                  </a:lnTo>
                  <a:lnTo>
                    <a:pt x="533" y="37"/>
                  </a:lnTo>
                  <a:lnTo>
                    <a:pt x="596" y="0"/>
                  </a:lnTo>
                  <a:lnTo>
                    <a:pt x="675" y="13"/>
                  </a:lnTo>
                  <a:lnTo>
                    <a:pt x="758" y="21"/>
                  </a:lnTo>
                  <a:lnTo>
                    <a:pt x="823" y="57"/>
                  </a:lnTo>
                  <a:lnTo>
                    <a:pt x="880" y="68"/>
                  </a:lnTo>
                  <a:lnTo>
                    <a:pt x="941" y="127"/>
                  </a:lnTo>
                  <a:lnTo>
                    <a:pt x="996" y="124"/>
                  </a:lnTo>
                  <a:lnTo>
                    <a:pt x="1075" y="80"/>
                  </a:lnTo>
                  <a:lnTo>
                    <a:pt x="1147" y="84"/>
                  </a:lnTo>
                  <a:lnTo>
                    <a:pt x="1202" y="80"/>
                  </a:lnTo>
                  <a:lnTo>
                    <a:pt x="1244" y="57"/>
                  </a:lnTo>
                  <a:lnTo>
                    <a:pt x="1319" y="96"/>
                  </a:lnTo>
                  <a:lnTo>
                    <a:pt x="1395" y="151"/>
                  </a:lnTo>
                  <a:lnTo>
                    <a:pt x="1456" y="112"/>
                  </a:lnTo>
                  <a:lnTo>
                    <a:pt x="1480" y="171"/>
                  </a:lnTo>
                  <a:lnTo>
                    <a:pt x="1502" y="214"/>
                  </a:lnTo>
                  <a:lnTo>
                    <a:pt x="1588" y="250"/>
                  </a:lnTo>
                  <a:lnTo>
                    <a:pt x="1641" y="320"/>
                  </a:lnTo>
                  <a:lnTo>
                    <a:pt x="1675" y="322"/>
                  </a:lnTo>
                  <a:lnTo>
                    <a:pt x="1702" y="299"/>
                  </a:lnTo>
                  <a:lnTo>
                    <a:pt x="1740" y="334"/>
                  </a:lnTo>
                  <a:lnTo>
                    <a:pt x="1779" y="389"/>
                  </a:lnTo>
                  <a:lnTo>
                    <a:pt x="1793" y="458"/>
                  </a:lnTo>
                  <a:lnTo>
                    <a:pt x="1824" y="494"/>
                  </a:lnTo>
                  <a:lnTo>
                    <a:pt x="1846" y="543"/>
                  </a:lnTo>
                  <a:lnTo>
                    <a:pt x="1872" y="572"/>
                  </a:lnTo>
                  <a:lnTo>
                    <a:pt x="1840" y="677"/>
                  </a:lnTo>
                  <a:lnTo>
                    <a:pt x="1775" y="714"/>
                  </a:lnTo>
                  <a:lnTo>
                    <a:pt x="1787" y="769"/>
                  </a:lnTo>
                  <a:lnTo>
                    <a:pt x="1748" y="801"/>
                  </a:lnTo>
                  <a:lnTo>
                    <a:pt x="1720" y="805"/>
                  </a:lnTo>
                  <a:lnTo>
                    <a:pt x="1726" y="889"/>
                  </a:lnTo>
                  <a:lnTo>
                    <a:pt x="1693" y="921"/>
                  </a:lnTo>
                  <a:lnTo>
                    <a:pt x="1639" y="911"/>
                  </a:lnTo>
                  <a:lnTo>
                    <a:pt x="1614" y="868"/>
                  </a:lnTo>
                  <a:lnTo>
                    <a:pt x="1586" y="887"/>
                  </a:lnTo>
                  <a:lnTo>
                    <a:pt x="1596" y="938"/>
                  </a:lnTo>
                  <a:lnTo>
                    <a:pt x="1661" y="946"/>
                  </a:lnTo>
                  <a:lnTo>
                    <a:pt x="1716" y="990"/>
                  </a:lnTo>
                  <a:lnTo>
                    <a:pt x="1767" y="1001"/>
                  </a:lnTo>
                  <a:lnTo>
                    <a:pt x="1801" y="1035"/>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6" name="Freeform 110"/>
            <p:cNvSpPr/>
            <p:nvPr/>
          </p:nvSpPr>
          <p:spPr bwMode="gray">
            <a:xfrm>
              <a:off x="1694" y="2177"/>
              <a:ext cx="936" cy="666"/>
            </a:xfrm>
            <a:custGeom>
              <a:avLst/>
              <a:gdLst>
                <a:gd name="T0" fmla="*/ 445 w 1872"/>
                <a:gd name="T1" fmla="*/ 276 h 1330"/>
                <a:gd name="T2" fmla="*/ 426 w 1872"/>
                <a:gd name="T3" fmla="*/ 279 h 1330"/>
                <a:gd name="T4" fmla="*/ 397 w 1872"/>
                <a:gd name="T5" fmla="*/ 279 h 1330"/>
                <a:gd name="T6" fmla="*/ 381 w 1872"/>
                <a:gd name="T7" fmla="*/ 296 h 1330"/>
                <a:gd name="T8" fmla="*/ 343 w 1872"/>
                <a:gd name="T9" fmla="*/ 274 h 1330"/>
                <a:gd name="T10" fmla="*/ 308 w 1872"/>
                <a:gd name="T11" fmla="*/ 269 h 1330"/>
                <a:gd name="T12" fmla="*/ 275 w 1872"/>
                <a:gd name="T13" fmla="*/ 273 h 1330"/>
                <a:gd name="T14" fmla="*/ 262 w 1872"/>
                <a:gd name="T15" fmla="*/ 288 h 1330"/>
                <a:gd name="T16" fmla="*/ 260 w 1872"/>
                <a:gd name="T17" fmla="*/ 309 h 1330"/>
                <a:gd name="T18" fmla="*/ 225 w 1872"/>
                <a:gd name="T19" fmla="*/ 329 h 1330"/>
                <a:gd name="T20" fmla="*/ 204 w 1872"/>
                <a:gd name="T21" fmla="*/ 313 h 1330"/>
                <a:gd name="T22" fmla="*/ 155 w 1872"/>
                <a:gd name="T23" fmla="*/ 287 h 1330"/>
                <a:gd name="T24" fmla="*/ 113 w 1872"/>
                <a:gd name="T25" fmla="*/ 280 h 1330"/>
                <a:gd name="T26" fmla="*/ 85 w 1872"/>
                <a:gd name="T27" fmla="*/ 274 h 1330"/>
                <a:gd name="T28" fmla="*/ 64 w 1872"/>
                <a:gd name="T29" fmla="*/ 264 h 1330"/>
                <a:gd name="T30" fmla="*/ 28 w 1872"/>
                <a:gd name="T31" fmla="*/ 256 h 1330"/>
                <a:gd name="T32" fmla="*/ 2 w 1872"/>
                <a:gd name="T33" fmla="*/ 206 h 1330"/>
                <a:gd name="T34" fmla="*/ 12 w 1872"/>
                <a:gd name="T35" fmla="*/ 185 h 1330"/>
                <a:gd name="T36" fmla="*/ 20 w 1872"/>
                <a:gd name="T37" fmla="*/ 149 h 1330"/>
                <a:gd name="T38" fmla="*/ 11 w 1872"/>
                <a:gd name="T39" fmla="*/ 133 h 1330"/>
                <a:gd name="T40" fmla="*/ 20 w 1872"/>
                <a:gd name="T41" fmla="*/ 117 h 1330"/>
                <a:gd name="T42" fmla="*/ 61 w 1872"/>
                <a:gd name="T43" fmla="*/ 117 h 1330"/>
                <a:gd name="T44" fmla="*/ 53 w 1872"/>
                <a:gd name="T45" fmla="*/ 96 h 1330"/>
                <a:gd name="T46" fmla="*/ 74 w 1872"/>
                <a:gd name="T47" fmla="*/ 75 h 1330"/>
                <a:gd name="T48" fmla="*/ 45 w 1872"/>
                <a:gd name="T49" fmla="*/ 32 h 1330"/>
                <a:gd name="T50" fmla="*/ 99 w 1872"/>
                <a:gd name="T51" fmla="*/ 18 h 1330"/>
                <a:gd name="T52" fmla="*/ 134 w 1872"/>
                <a:gd name="T53" fmla="*/ 10 h 1330"/>
                <a:gd name="T54" fmla="*/ 169 w 1872"/>
                <a:gd name="T55" fmla="*/ 4 h 1330"/>
                <a:gd name="T56" fmla="*/ 206 w 1872"/>
                <a:gd name="T57" fmla="*/ 15 h 1330"/>
                <a:gd name="T58" fmla="*/ 235 w 1872"/>
                <a:gd name="T59" fmla="*/ 32 h 1330"/>
                <a:gd name="T60" fmla="*/ 269 w 1872"/>
                <a:gd name="T61" fmla="*/ 20 h 1330"/>
                <a:gd name="T62" fmla="*/ 301 w 1872"/>
                <a:gd name="T63" fmla="*/ 20 h 1330"/>
                <a:gd name="T64" fmla="*/ 330 w 1872"/>
                <a:gd name="T65" fmla="*/ 24 h 1330"/>
                <a:gd name="T66" fmla="*/ 364 w 1872"/>
                <a:gd name="T67" fmla="*/ 28 h 1330"/>
                <a:gd name="T68" fmla="*/ 376 w 1872"/>
                <a:gd name="T69" fmla="*/ 54 h 1330"/>
                <a:gd name="T70" fmla="*/ 411 w 1872"/>
                <a:gd name="T71" fmla="*/ 80 h 1330"/>
                <a:gd name="T72" fmla="*/ 426 w 1872"/>
                <a:gd name="T73" fmla="*/ 75 h 1330"/>
                <a:gd name="T74" fmla="*/ 445 w 1872"/>
                <a:gd name="T75" fmla="*/ 98 h 1330"/>
                <a:gd name="T76" fmla="*/ 456 w 1872"/>
                <a:gd name="T77" fmla="*/ 124 h 1330"/>
                <a:gd name="T78" fmla="*/ 468 w 1872"/>
                <a:gd name="T79" fmla="*/ 143 h 1330"/>
                <a:gd name="T80" fmla="*/ 444 w 1872"/>
                <a:gd name="T81" fmla="*/ 179 h 1330"/>
                <a:gd name="T82" fmla="*/ 437 w 1872"/>
                <a:gd name="T83" fmla="*/ 201 h 1330"/>
                <a:gd name="T84" fmla="*/ 432 w 1872"/>
                <a:gd name="T85" fmla="*/ 223 h 1330"/>
                <a:gd name="T86" fmla="*/ 410 w 1872"/>
                <a:gd name="T87" fmla="*/ 228 h 1330"/>
                <a:gd name="T88" fmla="*/ 397 w 1872"/>
                <a:gd name="T89" fmla="*/ 222 h 1330"/>
                <a:gd name="T90" fmla="*/ 416 w 1872"/>
                <a:gd name="T91" fmla="*/ 237 h 1330"/>
                <a:gd name="T92" fmla="*/ 442 w 1872"/>
                <a:gd name="T93" fmla="*/ 251 h 133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872"/>
                <a:gd name="T142" fmla="*/ 0 h 1330"/>
                <a:gd name="T143" fmla="*/ 1872 w 1872"/>
                <a:gd name="T144" fmla="*/ 1330 h 133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872" h="1330">
                  <a:moveTo>
                    <a:pt x="1801" y="1035"/>
                  </a:moveTo>
                  <a:lnTo>
                    <a:pt x="1779" y="1102"/>
                  </a:lnTo>
                  <a:lnTo>
                    <a:pt x="1736" y="1082"/>
                  </a:lnTo>
                  <a:lnTo>
                    <a:pt x="1702" y="1115"/>
                  </a:lnTo>
                  <a:lnTo>
                    <a:pt x="1655" y="1072"/>
                  </a:lnTo>
                  <a:lnTo>
                    <a:pt x="1586" y="1114"/>
                  </a:lnTo>
                  <a:lnTo>
                    <a:pt x="1588" y="1184"/>
                  </a:lnTo>
                  <a:lnTo>
                    <a:pt x="1521" y="1180"/>
                  </a:lnTo>
                  <a:lnTo>
                    <a:pt x="1421" y="1068"/>
                  </a:lnTo>
                  <a:lnTo>
                    <a:pt x="1372" y="1094"/>
                  </a:lnTo>
                  <a:lnTo>
                    <a:pt x="1279" y="1049"/>
                  </a:lnTo>
                  <a:lnTo>
                    <a:pt x="1232" y="1072"/>
                  </a:lnTo>
                  <a:lnTo>
                    <a:pt x="1138" y="1062"/>
                  </a:lnTo>
                  <a:lnTo>
                    <a:pt x="1100" y="1090"/>
                  </a:lnTo>
                  <a:lnTo>
                    <a:pt x="1092" y="1155"/>
                  </a:lnTo>
                  <a:lnTo>
                    <a:pt x="1045" y="1149"/>
                  </a:lnTo>
                  <a:lnTo>
                    <a:pt x="1055" y="1184"/>
                  </a:lnTo>
                  <a:lnTo>
                    <a:pt x="1039" y="1234"/>
                  </a:lnTo>
                  <a:lnTo>
                    <a:pt x="968" y="1330"/>
                  </a:lnTo>
                  <a:lnTo>
                    <a:pt x="897" y="1314"/>
                  </a:lnTo>
                  <a:lnTo>
                    <a:pt x="821" y="1304"/>
                  </a:lnTo>
                  <a:lnTo>
                    <a:pt x="813" y="1251"/>
                  </a:lnTo>
                  <a:lnTo>
                    <a:pt x="728" y="1190"/>
                  </a:lnTo>
                  <a:lnTo>
                    <a:pt x="618" y="1147"/>
                  </a:lnTo>
                  <a:lnTo>
                    <a:pt x="521" y="1149"/>
                  </a:lnTo>
                  <a:lnTo>
                    <a:pt x="452" y="1117"/>
                  </a:lnTo>
                  <a:lnTo>
                    <a:pt x="389" y="1121"/>
                  </a:lnTo>
                  <a:lnTo>
                    <a:pt x="338" y="1092"/>
                  </a:lnTo>
                  <a:lnTo>
                    <a:pt x="281" y="1056"/>
                  </a:lnTo>
                  <a:lnTo>
                    <a:pt x="256" y="1054"/>
                  </a:lnTo>
                  <a:lnTo>
                    <a:pt x="185" y="1021"/>
                  </a:lnTo>
                  <a:lnTo>
                    <a:pt x="112" y="1023"/>
                  </a:lnTo>
                  <a:lnTo>
                    <a:pt x="61" y="911"/>
                  </a:lnTo>
                  <a:lnTo>
                    <a:pt x="6" y="822"/>
                  </a:lnTo>
                  <a:lnTo>
                    <a:pt x="0" y="740"/>
                  </a:lnTo>
                  <a:lnTo>
                    <a:pt x="45" y="738"/>
                  </a:lnTo>
                  <a:lnTo>
                    <a:pt x="43" y="686"/>
                  </a:lnTo>
                  <a:lnTo>
                    <a:pt x="77" y="594"/>
                  </a:lnTo>
                  <a:lnTo>
                    <a:pt x="78" y="549"/>
                  </a:lnTo>
                  <a:lnTo>
                    <a:pt x="43" y="529"/>
                  </a:lnTo>
                  <a:lnTo>
                    <a:pt x="80" y="501"/>
                  </a:lnTo>
                  <a:lnTo>
                    <a:pt x="77" y="466"/>
                  </a:lnTo>
                  <a:lnTo>
                    <a:pt x="139" y="501"/>
                  </a:lnTo>
                  <a:lnTo>
                    <a:pt x="244" y="466"/>
                  </a:lnTo>
                  <a:lnTo>
                    <a:pt x="206" y="433"/>
                  </a:lnTo>
                  <a:lnTo>
                    <a:pt x="212" y="383"/>
                  </a:lnTo>
                  <a:lnTo>
                    <a:pt x="265" y="364"/>
                  </a:lnTo>
                  <a:lnTo>
                    <a:pt x="293" y="299"/>
                  </a:lnTo>
                  <a:lnTo>
                    <a:pt x="175" y="206"/>
                  </a:lnTo>
                  <a:lnTo>
                    <a:pt x="179" y="126"/>
                  </a:lnTo>
                  <a:lnTo>
                    <a:pt x="252" y="84"/>
                  </a:lnTo>
                  <a:lnTo>
                    <a:pt x="393" y="70"/>
                  </a:lnTo>
                  <a:lnTo>
                    <a:pt x="502" y="41"/>
                  </a:lnTo>
                  <a:lnTo>
                    <a:pt x="533" y="37"/>
                  </a:lnTo>
                  <a:lnTo>
                    <a:pt x="596" y="0"/>
                  </a:lnTo>
                  <a:lnTo>
                    <a:pt x="675" y="13"/>
                  </a:lnTo>
                  <a:lnTo>
                    <a:pt x="758" y="21"/>
                  </a:lnTo>
                  <a:lnTo>
                    <a:pt x="823" y="57"/>
                  </a:lnTo>
                  <a:lnTo>
                    <a:pt x="880" y="68"/>
                  </a:lnTo>
                  <a:lnTo>
                    <a:pt x="941" y="127"/>
                  </a:lnTo>
                  <a:lnTo>
                    <a:pt x="996" y="124"/>
                  </a:lnTo>
                  <a:lnTo>
                    <a:pt x="1075" y="80"/>
                  </a:lnTo>
                  <a:lnTo>
                    <a:pt x="1147" y="84"/>
                  </a:lnTo>
                  <a:lnTo>
                    <a:pt x="1202" y="80"/>
                  </a:lnTo>
                  <a:lnTo>
                    <a:pt x="1244" y="57"/>
                  </a:lnTo>
                  <a:lnTo>
                    <a:pt x="1319" y="96"/>
                  </a:lnTo>
                  <a:lnTo>
                    <a:pt x="1395" y="151"/>
                  </a:lnTo>
                  <a:lnTo>
                    <a:pt x="1456" y="112"/>
                  </a:lnTo>
                  <a:lnTo>
                    <a:pt x="1480" y="171"/>
                  </a:lnTo>
                  <a:lnTo>
                    <a:pt x="1502" y="214"/>
                  </a:lnTo>
                  <a:lnTo>
                    <a:pt x="1588" y="250"/>
                  </a:lnTo>
                  <a:lnTo>
                    <a:pt x="1641" y="320"/>
                  </a:lnTo>
                  <a:lnTo>
                    <a:pt x="1675" y="322"/>
                  </a:lnTo>
                  <a:lnTo>
                    <a:pt x="1702" y="299"/>
                  </a:lnTo>
                  <a:lnTo>
                    <a:pt x="1740" y="334"/>
                  </a:lnTo>
                  <a:lnTo>
                    <a:pt x="1779" y="389"/>
                  </a:lnTo>
                  <a:lnTo>
                    <a:pt x="1793" y="458"/>
                  </a:lnTo>
                  <a:lnTo>
                    <a:pt x="1824" y="494"/>
                  </a:lnTo>
                  <a:lnTo>
                    <a:pt x="1846" y="543"/>
                  </a:lnTo>
                  <a:lnTo>
                    <a:pt x="1872" y="572"/>
                  </a:lnTo>
                  <a:lnTo>
                    <a:pt x="1840" y="677"/>
                  </a:lnTo>
                  <a:lnTo>
                    <a:pt x="1775" y="714"/>
                  </a:lnTo>
                  <a:lnTo>
                    <a:pt x="1787" y="769"/>
                  </a:lnTo>
                  <a:lnTo>
                    <a:pt x="1748" y="801"/>
                  </a:lnTo>
                  <a:lnTo>
                    <a:pt x="1720" y="805"/>
                  </a:lnTo>
                  <a:lnTo>
                    <a:pt x="1726" y="889"/>
                  </a:lnTo>
                  <a:lnTo>
                    <a:pt x="1693" y="921"/>
                  </a:lnTo>
                  <a:lnTo>
                    <a:pt x="1639" y="911"/>
                  </a:lnTo>
                  <a:lnTo>
                    <a:pt x="1614" y="868"/>
                  </a:lnTo>
                  <a:lnTo>
                    <a:pt x="1586" y="887"/>
                  </a:lnTo>
                  <a:lnTo>
                    <a:pt x="1596" y="938"/>
                  </a:lnTo>
                  <a:lnTo>
                    <a:pt x="1661" y="946"/>
                  </a:lnTo>
                  <a:lnTo>
                    <a:pt x="1716" y="990"/>
                  </a:lnTo>
                  <a:lnTo>
                    <a:pt x="1767" y="1001"/>
                  </a:lnTo>
                  <a:lnTo>
                    <a:pt x="1801" y="1035"/>
                  </a:lnTo>
                </a:path>
              </a:pathLst>
            </a:custGeom>
            <a:grpFill/>
            <a:ln w="6350">
              <a:solidFill>
                <a:schemeClr val="tx1">
                  <a:lumMod val="85000"/>
                  <a:lumOff val="15000"/>
                </a:schemeClr>
              </a:solidFill>
              <a:prstDash val="solid"/>
              <a:round/>
            </a:ln>
          </p:spPr>
          <p:txBody>
            <a:bodyPr/>
            <a:lstStyle/>
            <a:p>
              <a:endParaRPr lang="zh-CN" altLang="en-US" sz="2400"/>
            </a:p>
          </p:txBody>
        </p:sp>
        <p:sp>
          <p:nvSpPr>
            <p:cNvPr id="67" name="Freeform 111"/>
            <p:cNvSpPr/>
            <p:nvPr/>
          </p:nvSpPr>
          <p:spPr bwMode="gray">
            <a:xfrm>
              <a:off x="2241" y="2635"/>
              <a:ext cx="911" cy="693"/>
            </a:xfrm>
            <a:custGeom>
              <a:avLst/>
              <a:gdLst>
                <a:gd name="T0" fmla="*/ 300 w 1823"/>
                <a:gd name="T1" fmla="*/ 274 h 1385"/>
                <a:gd name="T2" fmla="*/ 284 w 1823"/>
                <a:gd name="T3" fmla="*/ 262 h 1385"/>
                <a:gd name="T4" fmla="*/ 269 w 1823"/>
                <a:gd name="T5" fmla="*/ 266 h 1385"/>
                <a:gd name="T6" fmla="*/ 248 w 1823"/>
                <a:gd name="T7" fmla="*/ 249 h 1385"/>
                <a:gd name="T8" fmla="*/ 236 w 1823"/>
                <a:gd name="T9" fmla="*/ 235 h 1385"/>
                <a:gd name="T10" fmla="*/ 232 w 1823"/>
                <a:gd name="T11" fmla="*/ 246 h 1385"/>
                <a:gd name="T12" fmla="*/ 222 w 1823"/>
                <a:gd name="T13" fmla="*/ 252 h 1385"/>
                <a:gd name="T14" fmla="*/ 218 w 1823"/>
                <a:gd name="T15" fmla="*/ 270 h 1385"/>
                <a:gd name="T16" fmla="*/ 195 w 1823"/>
                <a:gd name="T17" fmla="*/ 293 h 1385"/>
                <a:gd name="T18" fmla="*/ 201 w 1823"/>
                <a:gd name="T19" fmla="*/ 318 h 1385"/>
                <a:gd name="T20" fmla="*/ 188 w 1823"/>
                <a:gd name="T21" fmla="*/ 338 h 1385"/>
                <a:gd name="T22" fmla="*/ 167 w 1823"/>
                <a:gd name="T23" fmla="*/ 345 h 1385"/>
                <a:gd name="T24" fmla="*/ 148 w 1823"/>
                <a:gd name="T25" fmla="*/ 338 h 1385"/>
                <a:gd name="T26" fmla="*/ 132 w 1823"/>
                <a:gd name="T27" fmla="*/ 302 h 1385"/>
                <a:gd name="T28" fmla="*/ 111 w 1823"/>
                <a:gd name="T29" fmla="*/ 270 h 1385"/>
                <a:gd name="T30" fmla="*/ 90 w 1823"/>
                <a:gd name="T31" fmla="*/ 257 h 1385"/>
                <a:gd name="T32" fmla="*/ 87 w 1823"/>
                <a:gd name="T33" fmla="*/ 239 h 1385"/>
                <a:gd name="T34" fmla="*/ 65 w 1823"/>
                <a:gd name="T35" fmla="*/ 253 h 1385"/>
                <a:gd name="T36" fmla="*/ 53 w 1823"/>
                <a:gd name="T37" fmla="*/ 209 h 1385"/>
                <a:gd name="T38" fmla="*/ 51 w 1823"/>
                <a:gd name="T39" fmla="*/ 156 h 1385"/>
                <a:gd name="T40" fmla="*/ 40 w 1823"/>
                <a:gd name="T41" fmla="*/ 128 h 1385"/>
                <a:gd name="T42" fmla="*/ 49 w 1823"/>
                <a:gd name="T43" fmla="*/ 117 h 1385"/>
                <a:gd name="T44" fmla="*/ 26 w 1823"/>
                <a:gd name="T45" fmla="*/ 77 h 1385"/>
                <a:gd name="T46" fmla="*/ 2 w 1823"/>
                <a:gd name="T47" fmla="*/ 45 h 1385"/>
                <a:gd name="T48" fmla="*/ 35 w 1823"/>
                <a:gd name="T49" fmla="*/ 40 h 1385"/>
                <a:gd name="T50" fmla="*/ 70 w 1823"/>
                <a:gd name="T51" fmla="*/ 45 h 1385"/>
                <a:gd name="T52" fmla="*/ 107 w 1823"/>
                <a:gd name="T53" fmla="*/ 67 h 1385"/>
                <a:gd name="T54" fmla="*/ 124 w 1823"/>
                <a:gd name="T55" fmla="*/ 50 h 1385"/>
                <a:gd name="T56" fmla="*/ 152 w 1823"/>
                <a:gd name="T57" fmla="*/ 50 h 1385"/>
                <a:gd name="T58" fmla="*/ 171 w 1823"/>
                <a:gd name="T59" fmla="*/ 47 h 1385"/>
                <a:gd name="T60" fmla="*/ 168 w 1823"/>
                <a:gd name="T61" fmla="*/ 22 h 1385"/>
                <a:gd name="T62" fmla="*/ 193 w 1823"/>
                <a:gd name="T63" fmla="*/ 0 h 1385"/>
                <a:gd name="T64" fmla="*/ 208 w 1823"/>
                <a:gd name="T65" fmla="*/ 22 h 1385"/>
                <a:gd name="T66" fmla="*/ 240 w 1823"/>
                <a:gd name="T67" fmla="*/ 35 h 1385"/>
                <a:gd name="T68" fmla="*/ 261 w 1823"/>
                <a:gd name="T69" fmla="*/ 65 h 1385"/>
                <a:gd name="T70" fmla="*/ 284 w 1823"/>
                <a:gd name="T71" fmla="*/ 54 h 1385"/>
                <a:gd name="T72" fmla="*/ 310 w 1823"/>
                <a:gd name="T73" fmla="*/ 64 h 1385"/>
                <a:gd name="T74" fmla="*/ 358 w 1823"/>
                <a:gd name="T75" fmla="*/ 68 h 1385"/>
                <a:gd name="T76" fmla="*/ 390 w 1823"/>
                <a:gd name="T77" fmla="*/ 73 h 1385"/>
                <a:gd name="T78" fmla="*/ 419 w 1823"/>
                <a:gd name="T79" fmla="*/ 84 h 1385"/>
                <a:gd name="T80" fmla="*/ 448 w 1823"/>
                <a:gd name="T81" fmla="*/ 89 h 1385"/>
                <a:gd name="T82" fmla="*/ 455 w 1823"/>
                <a:gd name="T83" fmla="*/ 130 h 1385"/>
                <a:gd name="T84" fmla="*/ 431 w 1823"/>
                <a:gd name="T85" fmla="*/ 144 h 1385"/>
                <a:gd name="T86" fmla="*/ 396 w 1823"/>
                <a:gd name="T87" fmla="*/ 155 h 1385"/>
                <a:gd name="T88" fmla="*/ 417 w 1823"/>
                <a:gd name="T89" fmla="*/ 193 h 1385"/>
                <a:gd name="T90" fmla="*/ 433 w 1823"/>
                <a:gd name="T91" fmla="*/ 227 h 1385"/>
                <a:gd name="T92" fmla="*/ 417 w 1823"/>
                <a:gd name="T93" fmla="*/ 246 h 1385"/>
                <a:gd name="T94" fmla="*/ 397 w 1823"/>
                <a:gd name="T95" fmla="*/ 227 h 1385"/>
                <a:gd name="T96" fmla="*/ 379 w 1823"/>
                <a:gd name="T97" fmla="*/ 214 h 1385"/>
                <a:gd name="T98" fmla="*/ 361 w 1823"/>
                <a:gd name="T99" fmla="*/ 210 h 1385"/>
                <a:gd name="T100" fmla="*/ 355 w 1823"/>
                <a:gd name="T101" fmla="*/ 224 h 1385"/>
                <a:gd name="T102" fmla="*/ 344 w 1823"/>
                <a:gd name="T103" fmla="*/ 240 h 1385"/>
                <a:gd name="T104" fmla="*/ 312 w 1823"/>
                <a:gd name="T105" fmla="*/ 227 h 1385"/>
                <a:gd name="T106" fmla="*/ 300 w 1823"/>
                <a:gd name="T107" fmla="*/ 247 h 1385"/>
                <a:gd name="T108" fmla="*/ 320 w 1823"/>
                <a:gd name="T109" fmla="*/ 253 h 13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23"/>
                <a:gd name="T166" fmla="*/ 0 h 1385"/>
                <a:gd name="T167" fmla="*/ 1823 w 1823"/>
                <a:gd name="T168" fmla="*/ 1385 h 138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23" h="1385">
                  <a:moveTo>
                    <a:pt x="1301" y="1068"/>
                  </a:moveTo>
                  <a:lnTo>
                    <a:pt x="1203" y="1096"/>
                  </a:lnTo>
                  <a:lnTo>
                    <a:pt x="1142" y="1088"/>
                  </a:lnTo>
                  <a:lnTo>
                    <a:pt x="1138" y="1047"/>
                  </a:lnTo>
                  <a:lnTo>
                    <a:pt x="1105" y="1025"/>
                  </a:lnTo>
                  <a:lnTo>
                    <a:pt x="1077" y="1061"/>
                  </a:lnTo>
                  <a:lnTo>
                    <a:pt x="1014" y="1066"/>
                  </a:lnTo>
                  <a:lnTo>
                    <a:pt x="992" y="996"/>
                  </a:lnTo>
                  <a:lnTo>
                    <a:pt x="992" y="942"/>
                  </a:lnTo>
                  <a:lnTo>
                    <a:pt x="945" y="939"/>
                  </a:lnTo>
                  <a:lnTo>
                    <a:pt x="916" y="954"/>
                  </a:lnTo>
                  <a:lnTo>
                    <a:pt x="929" y="982"/>
                  </a:lnTo>
                  <a:lnTo>
                    <a:pt x="923" y="1005"/>
                  </a:lnTo>
                  <a:lnTo>
                    <a:pt x="890" y="1007"/>
                  </a:lnTo>
                  <a:lnTo>
                    <a:pt x="866" y="1033"/>
                  </a:lnTo>
                  <a:lnTo>
                    <a:pt x="874" y="1078"/>
                  </a:lnTo>
                  <a:lnTo>
                    <a:pt x="817" y="1149"/>
                  </a:lnTo>
                  <a:lnTo>
                    <a:pt x="780" y="1169"/>
                  </a:lnTo>
                  <a:lnTo>
                    <a:pt x="780" y="1234"/>
                  </a:lnTo>
                  <a:lnTo>
                    <a:pt x="805" y="1271"/>
                  </a:lnTo>
                  <a:lnTo>
                    <a:pt x="801" y="1326"/>
                  </a:lnTo>
                  <a:lnTo>
                    <a:pt x="752" y="1352"/>
                  </a:lnTo>
                  <a:lnTo>
                    <a:pt x="742" y="1330"/>
                  </a:lnTo>
                  <a:lnTo>
                    <a:pt x="670" y="1377"/>
                  </a:lnTo>
                  <a:lnTo>
                    <a:pt x="632" y="1385"/>
                  </a:lnTo>
                  <a:lnTo>
                    <a:pt x="595" y="1352"/>
                  </a:lnTo>
                  <a:lnTo>
                    <a:pt x="563" y="1273"/>
                  </a:lnTo>
                  <a:lnTo>
                    <a:pt x="528" y="1206"/>
                  </a:lnTo>
                  <a:lnTo>
                    <a:pt x="500" y="1163"/>
                  </a:lnTo>
                  <a:lnTo>
                    <a:pt x="445" y="1078"/>
                  </a:lnTo>
                  <a:lnTo>
                    <a:pt x="396" y="1076"/>
                  </a:lnTo>
                  <a:lnTo>
                    <a:pt x="362" y="1025"/>
                  </a:lnTo>
                  <a:lnTo>
                    <a:pt x="378" y="988"/>
                  </a:lnTo>
                  <a:lnTo>
                    <a:pt x="349" y="954"/>
                  </a:lnTo>
                  <a:lnTo>
                    <a:pt x="303" y="1004"/>
                  </a:lnTo>
                  <a:lnTo>
                    <a:pt x="260" y="1011"/>
                  </a:lnTo>
                  <a:lnTo>
                    <a:pt x="227" y="950"/>
                  </a:lnTo>
                  <a:lnTo>
                    <a:pt x="215" y="834"/>
                  </a:lnTo>
                  <a:lnTo>
                    <a:pt x="211" y="712"/>
                  </a:lnTo>
                  <a:lnTo>
                    <a:pt x="205" y="624"/>
                  </a:lnTo>
                  <a:lnTo>
                    <a:pt x="199" y="582"/>
                  </a:lnTo>
                  <a:lnTo>
                    <a:pt x="160" y="509"/>
                  </a:lnTo>
                  <a:lnTo>
                    <a:pt x="193" y="496"/>
                  </a:lnTo>
                  <a:lnTo>
                    <a:pt x="199" y="468"/>
                  </a:lnTo>
                  <a:lnTo>
                    <a:pt x="136" y="401"/>
                  </a:lnTo>
                  <a:lnTo>
                    <a:pt x="105" y="305"/>
                  </a:lnTo>
                  <a:lnTo>
                    <a:pt x="0" y="240"/>
                  </a:lnTo>
                  <a:lnTo>
                    <a:pt x="8" y="177"/>
                  </a:lnTo>
                  <a:lnTo>
                    <a:pt x="49" y="147"/>
                  </a:lnTo>
                  <a:lnTo>
                    <a:pt x="140" y="157"/>
                  </a:lnTo>
                  <a:lnTo>
                    <a:pt x="189" y="134"/>
                  </a:lnTo>
                  <a:lnTo>
                    <a:pt x="280" y="179"/>
                  </a:lnTo>
                  <a:lnTo>
                    <a:pt x="329" y="153"/>
                  </a:lnTo>
                  <a:lnTo>
                    <a:pt x="429" y="265"/>
                  </a:lnTo>
                  <a:lnTo>
                    <a:pt x="496" y="267"/>
                  </a:lnTo>
                  <a:lnTo>
                    <a:pt x="496" y="200"/>
                  </a:lnTo>
                  <a:lnTo>
                    <a:pt x="563" y="157"/>
                  </a:lnTo>
                  <a:lnTo>
                    <a:pt x="610" y="200"/>
                  </a:lnTo>
                  <a:lnTo>
                    <a:pt x="644" y="167"/>
                  </a:lnTo>
                  <a:lnTo>
                    <a:pt x="687" y="187"/>
                  </a:lnTo>
                  <a:lnTo>
                    <a:pt x="709" y="120"/>
                  </a:lnTo>
                  <a:lnTo>
                    <a:pt x="673" y="86"/>
                  </a:lnTo>
                  <a:lnTo>
                    <a:pt x="677" y="35"/>
                  </a:lnTo>
                  <a:lnTo>
                    <a:pt x="774" y="0"/>
                  </a:lnTo>
                  <a:lnTo>
                    <a:pt x="807" y="17"/>
                  </a:lnTo>
                  <a:lnTo>
                    <a:pt x="833" y="88"/>
                  </a:lnTo>
                  <a:lnTo>
                    <a:pt x="914" y="161"/>
                  </a:lnTo>
                  <a:lnTo>
                    <a:pt x="961" y="138"/>
                  </a:lnTo>
                  <a:lnTo>
                    <a:pt x="988" y="216"/>
                  </a:lnTo>
                  <a:lnTo>
                    <a:pt x="1044" y="260"/>
                  </a:lnTo>
                  <a:lnTo>
                    <a:pt x="1091" y="267"/>
                  </a:lnTo>
                  <a:lnTo>
                    <a:pt x="1138" y="216"/>
                  </a:lnTo>
                  <a:lnTo>
                    <a:pt x="1183" y="195"/>
                  </a:lnTo>
                  <a:lnTo>
                    <a:pt x="1242" y="254"/>
                  </a:lnTo>
                  <a:lnTo>
                    <a:pt x="1335" y="228"/>
                  </a:lnTo>
                  <a:lnTo>
                    <a:pt x="1433" y="269"/>
                  </a:lnTo>
                  <a:lnTo>
                    <a:pt x="1496" y="317"/>
                  </a:lnTo>
                  <a:lnTo>
                    <a:pt x="1561" y="291"/>
                  </a:lnTo>
                  <a:lnTo>
                    <a:pt x="1632" y="336"/>
                  </a:lnTo>
                  <a:lnTo>
                    <a:pt x="1679" y="336"/>
                  </a:lnTo>
                  <a:lnTo>
                    <a:pt x="1681" y="368"/>
                  </a:lnTo>
                  <a:lnTo>
                    <a:pt x="1795" y="356"/>
                  </a:lnTo>
                  <a:lnTo>
                    <a:pt x="1823" y="433"/>
                  </a:lnTo>
                  <a:lnTo>
                    <a:pt x="1821" y="519"/>
                  </a:lnTo>
                  <a:lnTo>
                    <a:pt x="1770" y="527"/>
                  </a:lnTo>
                  <a:lnTo>
                    <a:pt x="1727" y="576"/>
                  </a:lnTo>
                  <a:lnTo>
                    <a:pt x="1620" y="584"/>
                  </a:lnTo>
                  <a:lnTo>
                    <a:pt x="1587" y="618"/>
                  </a:lnTo>
                  <a:lnTo>
                    <a:pt x="1610" y="693"/>
                  </a:lnTo>
                  <a:lnTo>
                    <a:pt x="1669" y="771"/>
                  </a:lnTo>
                  <a:lnTo>
                    <a:pt x="1721" y="815"/>
                  </a:lnTo>
                  <a:lnTo>
                    <a:pt x="1732" y="905"/>
                  </a:lnTo>
                  <a:lnTo>
                    <a:pt x="1731" y="956"/>
                  </a:lnTo>
                  <a:lnTo>
                    <a:pt x="1669" y="984"/>
                  </a:lnTo>
                  <a:lnTo>
                    <a:pt x="1616" y="913"/>
                  </a:lnTo>
                  <a:lnTo>
                    <a:pt x="1591" y="905"/>
                  </a:lnTo>
                  <a:lnTo>
                    <a:pt x="1575" y="838"/>
                  </a:lnTo>
                  <a:lnTo>
                    <a:pt x="1516" y="856"/>
                  </a:lnTo>
                  <a:lnTo>
                    <a:pt x="1463" y="818"/>
                  </a:lnTo>
                  <a:lnTo>
                    <a:pt x="1445" y="838"/>
                  </a:lnTo>
                  <a:lnTo>
                    <a:pt x="1457" y="880"/>
                  </a:lnTo>
                  <a:lnTo>
                    <a:pt x="1421" y="895"/>
                  </a:lnTo>
                  <a:lnTo>
                    <a:pt x="1362" y="909"/>
                  </a:lnTo>
                  <a:lnTo>
                    <a:pt x="1378" y="958"/>
                  </a:lnTo>
                  <a:lnTo>
                    <a:pt x="1313" y="950"/>
                  </a:lnTo>
                  <a:lnTo>
                    <a:pt x="1248" y="907"/>
                  </a:lnTo>
                  <a:lnTo>
                    <a:pt x="1197" y="944"/>
                  </a:lnTo>
                  <a:lnTo>
                    <a:pt x="1201" y="986"/>
                  </a:lnTo>
                  <a:lnTo>
                    <a:pt x="1252" y="1009"/>
                  </a:lnTo>
                  <a:lnTo>
                    <a:pt x="1280" y="1009"/>
                  </a:lnTo>
                  <a:lnTo>
                    <a:pt x="1301" y="1068"/>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68" name="Freeform 112"/>
            <p:cNvSpPr/>
            <p:nvPr/>
          </p:nvSpPr>
          <p:spPr bwMode="gray">
            <a:xfrm>
              <a:off x="2241" y="2635"/>
              <a:ext cx="911" cy="693"/>
            </a:xfrm>
            <a:custGeom>
              <a:avLst/>
              <a:gdLst>
                <a:gd name="T0" fmla="*/ 300 w 1823"/>
                <a:gd name="T1" fmla="*/ 274 h 1385"/>
                <a:gd name="T2" fmla="*/ 284 w 1823"/>
                <a:gd name="T3" fmla="*/ 262 h 1385"/>
                <a:gd name="T4" fmla="*/ 269 w 1823"/>
                <a:gd name="T5" fmla="*/ 266 h 1385"/>
                <a:gd name="T6" fmla="*/ 248 w 1823"/>
                <a:gd name="T7" fmla="*/ 249 h 1385"/>
                <a:gd name="T8" fmla="*/ 236 w 1823"/>
                <a:gd name="T9" fmla="*/ 235 h 1385"/>
                <a:gd name="T10" fmla="*/ 232 w 1823"/>
                <a:gd name="T11" fmla="*/ 246 h 1385"/>
                <a:gd name="T12" fmla="*/ 222 w 1823"/>
                <a:gd name="T13" fmla="*/ 252 h 1385"/>
                <a:gd name="T14" fmla="*/ 218 w 1823"/>
                <a:gd name="T15" fmla="*/ 270 h 1385"/>
                <a:gd name="T16" fmla="*/ 195 w 1823"/>
                <a:gd name="T17" fmla="*/ 293 h 1385"/>
                <a:gd name="T18" fmla="*/ 201 w 1823"/>
                <a:gd name="T19" fmla="*/ 318 h 1385"/>
                <a:gd name="T20" fmla="*/ 188 w 1823"/>
                <a:gd name="T21" fmla="*/ 338 h 1385"/>
                <a:gd name="T22" fmla="*/ 167 w 1823"/>
                <a:gd name="T23" fmla="*/ 345 h 1385"/>
                <a:gd name="T24" fmla="*/ 148 w 1823"/>
                <a:gd name="T25" fmla="*/ 338 h 1385"/>
                <a:gd name="T26" fmla="*/ 132 w 1823"/>
                <a:gd name="T27" fmla="*/ 302 h 1385"/>
                <a:gd name="T28" fmla="*/ 111 w 1823"/>
                <a:gd name="T29" fmla="*/ 270 h 1385"/>
                <a:gd name="T30" fmla="*/ 90 w 1823"/>
                <a:gd name="T31" fmla="*/ 257 h 1385"/>
                <a:gd name="T32" fmla="*/ 87 w 1823"/>
                <a:gd name="T33" fmla="*/ 239 h 1385"/>
                <a:gd name="T34" fmla="*/ 65 w 1823"/>
                <a:gd name="T35" fmla="*/ 253 h 1385"/>
                <a:gd name="T36" fmla="*/ 53 w 1823"/>
                <a:gd name="T37" fmla="*/ 209 h 1385"/>
                <a:gd name="T38" fmla="*/ 51 w 1823"/>
                <a:gd name="T39" fmla="*/ 156 h 1385"/>
                <a:gd name="T40" fmla="*/ 40 w 1823"/>
                <a:gd name="T41" fmla="*/ 128 h 1385"/>
                <a:gd name="T42" fmla="*/ 49 w 1823"/>
                <a:gd name="T43" fmla="*/ 117 h 1385"/>
                <a:gd name="T44" fmla="*/ 26 w 1823"/>
                <a:gd name="T45" fmla="*/ 77 h 1385"/>
                <a:gd name="T46" fmla="*/ 2 w 1823"/>
                <a:gd name="T47" fmla="*/ 45 h 1385"/>
                <a:gd name="T48" fmla="*/ 35 w 1823"/>
                <a:gd name="T49" fmla="*/ 40 h 1385"/>
                <a:gd name="T50" fmla="*/ 70 w 1823"/>
                <a:gd name="T51" fmla="*/ 45 h 1385"/>
                <a:gd name="T52" fmla="*/ 107 w 1823"/>
                <a:gd name="T53" fmla="*/ 67 h 1385"/>
                <a:gd name="T54" fmla="*/ 124 w 1823"/>
                <a:gd name="T55" fmla="*/ 50 h 1385"/>
                <a:gd name="T56" fmla="*/ 152 w 1823"/>
                <a:gd name="T57" fmla="*/ 50 h 1385"/>
                <a:gd name="T58" fmla="*/ 171 w 1823"/>
                <a:gd name="T59" fmla="*/ 47 h 1385"/>
                <a:gd name="T60" fmla="*/ 168 w 1823"/>
                <a:gd name="T61" fmla="*/ 22 h 1385"/>
                <a:gd name="T62" fmla="*/ 193 w 1823"/>
                <a:gd name="T63" fmla="*/ 0 h 1385"/>
                <a:gd name="T64" fmla="*/ 208 w 1823"/>
                <a:gd name="T65" fmla="*/ 22 h 1385"/>
                <a:gd name="T66" fmla="*/ 240 w 1823"/>
                <a:gd name="T67" fmla="*/ 35 h 1385"/>
                <a:gd name="T68" fmla="*/ 261 w 1823"/>
                <a:gd name="T69" fmla="*/ 65 h 1385"/>
                <a:gd name="T70" fmla="*/ 284 w 1823"/>
                <a:gd name="T71" fmla="*/ 54 h 1385"/>
                <a:gd name="T72" fmla="*/ 310 w 1823"/>
                <a:gd name="T73" fmla="*/ 64 h 1385"/>
                <a:gd name="T74" fmla="*/ 358 w 1823"/>
                <a:gd name="T75" fmla="*/ 68 h 1385"/>
                <a:gd name="T76" fmla="*/ 390 w 1823"/>
                <a:gd name="T77" fmla="*/ 73 h 1385"/>
                <a:gd name="T78" fmla="*/ 419 w 1823"/>
                <a:gd name="T79" fmla="*/ 84 h 1385"/>
                <a:gd name="T80" fmla="*/ 448 w 1823"/>
                <a:gd name="T81" fmla="*/ 89 h 1385"/>
                <a:gd name="T82" fmla="*/ 455 w 1823"/>
                <a:gd name="T83" fmla="*/ 130 h 1385"/>
                <a:gd name="T84" fmla="*/ 431 w 1823"/>
                <a:gd name="T85" fmla="*/ 144 h 1385"/>
                <a:gd name="T86" fmla="*/ 396 w 1823"/>
                <a:gd name="T87" fmla="*/ 155 h 1385"/>
                <a:gd name="T88" fmla="*/ 417 w 1823"/>
                <a:gd name="T89" fmla="*/ 193 h 1385"/>
                <a:gd name="T90" fmla="*/ 433 w 1823"/>
                <a:gd name="T91" fmla="*/ 227 h 1385"/>
                <a:gd name="T92" fmla="*/ 417 w 1823"/>
                <a:gd name="T93" fmla="*/ 246 h 1385"/>
                <a:gd name="T94" fmla="*/ 397 w 1823"/>
                <a:gd name="T95" fmla="*/ 227 h 1385"/>
                <a:gd name="T96" fmla="*/ 379 w 1823"/>
                <a:gd name="T97" fmla="*/ 214 h 1385"/>
                <a:gd name="T98" fmla="*/ 361 w 1823"/>
                <a:gd name="T99" fmla="*/ 210 h 1385"/>
                <a:gd name="T100" fmla="*/ 355 w 1823"/>
                <a:gd name="T101" fmla="*/ 224 h 1385"/>
                <a:gd name="T102" fmla="*/ 344 w 1823"/>
                <a:gd name="T103" fmla="*/ 240 h 1385"/>
                <a:gd name="T104" fmla="*/ 312 w 1823"/>
                <a:gd name="T105" fmla="*/ 227 h 1385"/>
                <a:gd name="T106" fmla="*/ 300 w 1823"/>
                <a:gd name="T107" fmla="*/ 247 h 1385"/>
                <a:gd name="T108" fmla="*/ 320 w 1823"/>
                <a:gd name="T109" fmla="*/ 253 h 13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23"/>
                <a:gd name="T166" fmla="*/ 0 h 1385"/>
                <a:gd name="T167" fmla="*/ 1823 w 1823"/>
                <a:gd name="T168" fmla="*/ 1385 h 138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23" h="1385">
                  <a:moveTo>
                    <a:pt x="1301" y="1068"/>
                  </a:moveTo>
                  <a:lnTo>
                    <a:pt x="1203" y="1096"/>
                  </a:lnTo>
                  <a:lnTo>
                    <a:pt x="1142" y="1088"/>
                  </a:lnTo>
                  <a:lnTo>
                    <a:pt x="1138" y="1047"/>
                  </a:lnTo>
                  <a:lnTo>
                    <a:pt x="1105" y="1025"/>
                  </a:lnTo>
                  <a:lnTo>
                    <a:pt x="1077" y="1061"/>
                  </a:lnTo>
                  <a:lnTo>
                    <a:pt x="1014" y="1066"/>
                  </a:lnTo>
                  <a:lnTo>
                    <a:pt x="992" y="996"/>
                  </a:lnTo>
                  <a:lnTo>
                    <a:pt x="992" y="942"/>
                  </a:lnTo>
                  <a:lnTo>
                    <a:pt x="945" y="939"/>
                  </a:lnTo>
                  <a:lnTo>
                    <a:pt x="916" y="954"/>
                  </a:lnTo>
                  <a:lnTo>
                    <a:pt x="929" y="982"/>
                  </a:lnTo>
                  <a:lnTo>
                    <a:pt x="923" y="1005"/>
                  </a:lnTo>
                  <a:lnTo>
                    <a:pt x="890" y="1007"/>
                  </a:lnTo>
                  <a:lnTo>
                    <a:pt x="866" y="1033"/>
                  </a:lnTo>
                  <a:lnTo>
                    <a:pt x="874" y="1078"/>
                  </a:lnTo>
                  <a:lnTo>
                    <a:pt x="817" y="1149"/>
                  </a:lnTo>
                  <a:lnTo>
                    <a:pt x="780" y="1169"/>
                  </a:lnTo>
                  <a:lnTo>
                    <a:pt x="780" y="1234"/>
                  </a:lnTo>
                  <a:lnTo>
                    <a:pt x="805" y="1271"/>
                  </a:lnTo>
                  <a:lnTo>
                    <a:pt x="801" y="1326"/>
                  </a:lnTo>
                  <a:lnTo>
                    <a:pt x="752" y="1352"/>
                  </a:lnTo>
                  <a:lnTo>
                    <a:pt x="742" y="1330"/>
                  </a:lnTo>
                  <a:lnTo>
                    <a:pt x="670" y="1377"/>
                  </a:lnTo>
                  <a:lnTo>
                    <a:pt x="632" y="1385"/>
                  </a:lnTo>
                  <a:lnTo>
                    <a:pt x="595" y="1352"/>
                  </a:lnTo>
                  <a:lnTo>
                    <a:pt x="563" y="1273"/>
                  </a:lnTo>
                  <a:lnTo>
                    <a:pt x="528" y="1206"/>
                  </a:lnTo>
                  <a:lnTo>
                    <a:pt x="500" y="1163"/>
                  </a:lnTo>
                  <a:lnTo>
                    <a:pt x="445" y="1078"/>
                  </a:lnTo>
                  <a:lnTo>
                    <a:pt x="396" y="1076"/>
                  </a:lnTo>
                  <a:lnTo>
                    <a:pt x="362" y="1025"/>
                  </a:lnTo>
                  <a:lnTo>
                    <a:pt x="378" y="988"/>
                  </a:lnTo>
                  <a:lnTo>
                    <a:pt x="349" y="954"/>
                  </a:lnTo>
                  <a:lnTo>
                    <a:pt x="303" y="1004"/>
                  </a:lnTo>
                  <a:lnTo>
                    <a:pt x="260" y="1011"/>
                  </a:lnTo>
                  <a:lnTo>
                    <a:pt x="227" y="950"/>
                  </a:lnTo>
                  <a:lnTo>
                    <a:pt x="215" y="834"/>
                  </a:lnTo>
                  <a:lnTo>
                    <a:pt x="211" y="712"/>
                  </a:lnTo>
                  <a:lnTo>
                    <a:pt x="205" y="624"/>
                  </a:lnTo>
                  <a:lnTo>
                    <a:pt x="199" y="582"/>
                  </a:lnTo>
                  <a:lnTo>
                    <a:pt x="160" y="509"/>
                  </a:lnTo>
                  <a:lnTo>
                    <a:pt x="193" y="496"/>
                  </a:lnTo>
                  <a:lnTo>
                    <a:pt x="199" y="468"/>
                  </a:lnTo>
                  <a:lnTo>
                    <a:pt x="136" y="401"/>
                  </a:lnTo>
                  <a:lnTo>
                    <a:pt x="105" y="305"/>
                  </a:lnTo>
                  <a:lnTo>
                    <a:pt x="0" y="240"/>
                  </a:lnTo>
                  <a:lnTo>
                    <a:pt x="8" y="177"/>
                  </a:lnTo>
                  <a:lnTo>
                    <a:pt x="49" y="147"/>
                  </a:lnTo>
                  <a:lnTo>
                    <a:pt x="140" y="157"/>
                  </a:lnTo>
                  <a:lnTo>
                    <a:pt x="189" y="134"/>
                  </a:lnTo>
                  <a:lnTo>
                    <a:pt x="280" y="179"/>
                  </a:lnTo>
                  <a:lnTo>
                    <a:pt x="329" y="153"/>
                  </a:lnTo>
                  <a:lnTo>
                    <a:pt x="429" y="265"/>
                  </a:lnTo>
                  <a:lnTo>
                    <a:pt x="496" y="267"/>
                  </a:lnTo>
                  <a:lnTo>
                    <a:pt x="496" y="200"/>
                  </a:lnTo>
                  <a:lnTo>
                    <a:pt x="563" y="157"/>
                  </a:lnTo>
                  <a:lnTo>
                    <a:pt x="610" y="200"/>
                  </a:lnTo>
                  <a:lnTo>
                    <a:pt x="644" y="167"/>
                  </a:lnTo>
                  <a:lnTo>
                    <a:pt x="687" y="187"/>
                  </a:lnTo>
                  <a:lnTo>
                    <a:pt x="709" y="120"/>
                  </a:lnTo>
                  <a:lnTo>
                    <a:pt x="673" y="86"/>
                  </a:lnTo>
                  <a:lnTo>
                    <a:pt x="677" y="35"/>
                  </a:lnTo>
                  <a:lnTo>
                    <a:pt x="774" y="0"/>
                  </a:lnTo>
                  <a:lnTo>
                    <a:pt x="807" y="17"/>
                  </a:lnTo>
                  <a:lnTo>
                    <a:pt x="833" y="88"/>
                  </a:lnTo>
                  <a:lnTo>
                    <a:pt x="914" y="161"/>
                  </a:lnTo>
                  <a:lnTo>
                    <a:pt x="961" y="138"/>
                  </a:lnTo>
                  <a:lnTo>
                    <a:pt x="988" y="216"/>
                  </a:lnTo>
                  <a:lnTo>
                    <a:pt x="1044" y="260"/>
                  </a:lnTo>
                  <a:lnTo>
                    <a:pt x="1091" y="267"/>
                  </a:lnTo>
                  <a:lnTo>
                    <a:pt x="1138" y="216"/>
                  </a:lnTo>
                  <a:lnTo>
                    <a:pt x="1183" y="195"/>
                  </a:lnTo>
                  <a:lnTo>
                    <a:pt x="1242" y="254"/>
                  </a:lnTo>
                  <a:lnTo>
                    <a:pt x="1335" y="228"/>
                  </a:lnTo>
                  <a:lnTo>
                    <a:pt x="1433" y="269"/>
                  </a:lnTo>
                  <a:lnTo>
                    <a:pt x="1496" y="317"/>
                  </a:lnTo>
                  <a:lnTo>
                    <a:pt x="1561" y="291"/>
                  </a:lnTo>
                  <a:lnTo>
                    <a:pt x="1632" y="336"/>
                  </a:lnTo>
                  <a:lnTo>
                    <a:pt x="1679" y="336"/>
                  </a:lnTo>
                  <a:lnTo>
                    <a:pt x="1681" y="368"/>
                  </a:lnTo>
                  <a:lnTo>
                    <a:pt x="1795" y="356"/>
                  </a:lnTo>
                  <a:lnTo>
                    <a:pt x="1823" y="433"/>
                  </a:lnTo>
                  <a:lnTo>
                    <a:pt x="1821" y="519"/>
                  </a:lnTo>
                  <a:lnTo>
                    <a:pt x="1770" y="527"/>
                  </a:lnTo>
                  <a:lnTo>
                    <a:pt x="1727" y="576"/>
                  </a:lnTo>
                  <a:lnTo>
                    <a:pt x="1620" y="584"/>
                  </a:lnTo>
                  <a:lnTo>
                    <a:pt x="1587" y="618"/>
                  </a:lnTo>
                  <a:lnTo>
                    <a:pt x="1610" y="693"/>
                  </a:lnTo>
                  <a:lnTo>
                    <a:pt x="1669" y="771"/>
                  </a:lnTo>
                  <a:lnTo>
                    <a:pt x="1721" y="815"/>
                  </a:lnTo>
                  <a:lnTo>
                    <a:pt x="1732" y="905"/>
                  </a:lnTo>
                  <a:lnTo>
                    <a:pt x="1731" y="956"/>
                  </a:lnTo>
                  <a:lnTo>
                    <a:pt x="1669" y="984"/>
                  </a:lnTo>
                  <a:lnTo>
                    <a:pt x="1616" y="913"/>
                  </a:lnTo>
                  <a:lnTo>
                    <a:pt x="1591" y="905"/>
                  </a:lnTo>
                  <a:lnTo>
                    <a:pt x="1575" y="838"/>
                  </a:lnTo>
                  <a:lnTo>
                    <a:pt x="1516" y="856"/>
                  </a:lnTo>
                  <a:lnTo>
                    <a:pt x="1463" y="818"/>
                  </a:lnTo>
                  <a:lnTo>
                    <a:pt x="1445" y="838"/>
                  </a:lnTo>
                  <a:lnTo>
                    <a:pt x="1457" y="880"/>
                  </a:lnTo>
                  <a:lnTo>
                    <a:pt x="1421" y="895"/>
                  </a:lnTo>
                  <a:lnTo>
                    <a:pt x="1362" y="909"/>
                  </a:lnTo>
                  <a:lnTo>
                    <a:pt x="1378" y="958"/>
                  </a:lnTo>
                  <a:lnTo>
                    <a:pt x="1313" y="950"/>
                  </a:lnTo>
                  <a:lnTo>
                    <a:pt x="1248" y="907"/>
                  </a:lnTo>
                  <a:lnTo>
                    <a:pt x="1197" y="944"/>
                  </a:lnTo>
                  <a:lnTo>
                    <a:pt x="1201" y="986"/>
                  </a:lnTo>
                  <a:lnTo>
                    <a:pt x="1252" y="1009"/>
                  </a:lnTo>
                  <a:lnTo>
                    <a:pt x="1280" y="1009"/>
                  </a:lnTo>
                  <a:lnTo>
                    <a:pt x="1301" y="1068"/>
                  </a:lnTo>
                </a:path>
              </a:pathLst>
            </a:custGeom>
            <a:grpFill/>
            <a:ln w="6350">
              <a:solidFill>
                <a:schemeClr val="tx1">
                  <a:lumMod val="85000"/>
                  <a:lumOff val="15000"/>
                </a:schemeClr>
              </a:solidFill>
              <a:prstDash val="solid"/>
              <a:round/>
            </a:ln>
          </p:spPr>
          <p:txBody>
            <a:bodyPr/>
            <a:lstStyle/>
            <a:p>
              <a:endParaRPr lang="zh-CN" altLang="en-US" sz="2400"/>
            </a:p>
          </p:txBody>
        </p:sp>
        <p:sp>
          <p:nvSpPr>
            <p:cNvPr id="69" name="Freeform 113"/>
            <p:cNvSpPr/>
            <p:nvPr/>
          </p:nvSpPr>
          <p:spPr bwMode="gray">
            <a:xfrm>
              <a:off x="2685" y="3045"/>
              <a:ext cx="453" cy="398"/>
            </a:xfrm>
            <a:custGeom>
              <a:avLst/>
              <a:gdLst>
                <a:gd name="T0" fmla="*/ 221 w 907"/>
                <a:gd name="T1" fmla="*/ 85 h 796"/>
                <a:gd name="T2" fmla="*/ 221 w 907"/>
                <a:gd name="T3" fmla="*/ 106 h 796"/>
                <a:gd name="T4" fmla="*/ 226 w 907"/>
                <a:gd name="T5" fmla="*/ 130 h 796"/>
                <a:gd name="T6" fmla="*/ 217 w 907"/>
                <a:gd name="T7" fmla="*/ 139 h 796"/>
                <a:gd name="T8" fmla="*/ 209 w 907"/>
                <a:gd name="T9" fmla="*/ 152 h 796"/>
                <a:gd name="T10" fmla="*/ 195 w 907"/>
                <a:gd name="T11" fmla="*/ 160 h 796"/>
                <a:gd name="T12" fmla="*/ 179 w 907"/>
                <a:gd name="T13" fmla="*/ 159 h 796"/>
                <a:gd name="T14" fmla="*/ 165 w 907"/>
                <a:gd name="T15" fmla="*/ 174 h 796"/>
                <a:gd name="T16" fmla="*/ 150 w 907"/>
                <a:gd name="T17" fmla="*/ 168 h 796"/>
                <a:gd name="T18" fmla="*/ 134 w 907"/>
                <a:gd name="T19" fmla="*/ 164 h 796"/>
                <a:gd name="T20" fmla="*/ 120 w 907"/>
                <a:gd name="T21" fmla="*/ 174 h 796"/>
                <a:gd name="T22" fmla="*/ 105 w 907"/>
                <a:gd name="T23" fmla="*/ 184 h 796"/>
                <a:gd name="T24" fmla="*/ 98 w 907"/>
                <a:gd name="T25" fmla="*/ 196 h 796"/>
                <a:gd name="T26" fmla="*/ 70 w 907"/>
                <a:gd name="T27" fmla="*/ 185 h 796"/>
                <a:gd name="T28" fmla="*/ 48 w 907"/>
                <a:gd name="T29" fmla="*/ 199 h 796"/>
                <a:gd name="T30" fmla="*/ 44 w 907"/>
                <a:gd name="T31" fmla="*/ 187 h 796"/>
                <a:gd name="T32" fmla="*/ 34 w 907"/>
                <a:gd name="T33" fmla="*/ 168 h 796"/>
                <a:gd name="T34" fmla="*/ 41 w 907"/>
                <a:gd name="T35" fmla="*/ 126 h 796"/>
                <a:gd name="T36" fmla="*/ 27 w 907"/>
                <a:gd name="T37" fmla="*/ 116 h 796"/>
                <a:gd name="T38" fmla="*/ 6 w 907"/>
                <a:gd name="T39" fmla="*/ 118 h 796"/>
                <a:gd name="T40" fmla="*/ 0 w 907"/>
                <a:gd name="T41" fmla="*/ 98 h 796"/>
                <a:gd name="T42" fmla="*/ 21 w 907"/>
                <a:gd name="T43" fmla="*/ 88 h 796"/>
                <a:gd name="T44" fmla="*/ 30 w 907"/>
                <a:gd name="T45" fmla="*/ 86 h 796"/>
                <a:gd name="T46" fmla="*/ 59 w 907"/>
                <a:gd name="T47" fmla="*/ 83 h 796"/>
                <a:gd name="T48" fmla="*/ 78 w 907"/>
                <a:gd name="T49" fmla="*/ 69 h 796"/>
                <a:gd name="T50" fmla="*/ 98 w 907"/>
                <a:gd name="T51" fmla="*/ 48 h 796"/>
                <a:gd name="T52" fmla="*/ 78 w 907"/>
                <a:gd name="T53" fmla="*/ 42 h 796"/>
                <a:gd name="T54" fmla="*/ 90 w 907"/>
                <a:gd name="T55" fmla="*/ 22 h 796"/>
                <a:gd name="T56" fmla="*/ 122 w 907"/>
                <a:gd name="T57" fmla="*/ 35 h 796"/>
                <a:gd name="T58" fmla="*/ 132 w 907"/>
                <a:gd name="T59" fmla="*/ 19 h 796"/>
                <a:gd name="T60" fmla="*/ 139 w 907"/>
                <a:gd name="T61" fmla="*/ 5 h 796"/>
                <a:gd name="T62" fmla="*/ 157 w 907"/>
                <a:gd name="T63" fmla="*/ 9 h 796"/>
                <a:gd name="T64" fmla="*/ 175 w 907"/>
                <a:gd name="T65" fmla="*/ 22 h 796"/>
                <a:gd name="T66" fmla="*/ 195 w 907"/>
                <a:gd name="T67" fmla="*/ 41 h 796"/>
                <a:gd name="T68" fmla="*/ 216 w 907"/>
                <a:gd name="T69" fmla="*/ 52 h 796"/>
                <a:gd name="T70" fmla="*/ 208 w 907"/>
                <a:gd name="T71" fmla="*/ 78 h 79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07"/>
                <a:gd name="T109" fmla="*/ 0 h 796"/>
                <a:gd name="T110" fmla="*/ 907 w 907"/>
                <a:gd name="T111" fmla="*/ 796 h 79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07" h="796">
                  <a:moveTo>
                    <a:pt x="817" y="333"/>
                  </a:moveTo>
                  <a:lnTo>
                    <a:pt x="884" y="339"/>
                  </a:lnTo>
                  <a:lnTo>
                    <a:pt x="905" y="372"/>
                  </a:lnTo>
                  <a:lnTo>
                    <a:pt x="884" y="424"/>
                  </a:lnTo>
                  <a:lnTo>
                    <a:pt x="880" y="475"/>
                  </a:lnTo>
                  <a:lnTo>
                    <a:pt x="907" y="520"/>
                  </a:lnTo>
                  <a:lnTo>
                    <a:pt x="882" y="569"/>
                  </a:lnTo>
                  <a:lnTo>
                    <a:pt x="870" y="555"/>
                  </a:lnTo>
                  <a:lnTo>
                    <a:pt x="837" y="567"/>
                  </a:lnTo>
                  <a:lnTo>
                    <a:pt x="837" y="607"/>
                  </a:lnTo>
                  <a:lnTo>
                    <a:pt x="801" y="607"/>
                  </a:lnTo>
                  <a:lnTo>
                    <a:pt x="783" y="640"/>
                  </a:lnTo>
                  <a:lnTo>
                    <a:pt x="746" y="620"/>
                  </a:lnTo>
                  <a:lnTo>
                    <a:pt x="717" y="636"/>
                  </a:lnTo>
                  <a:lnTo>
                    <a:pt x="709" y="670"/>
                  </a:lnTo>
                  <a:lnTo>
                    <a:pt x="663" y="695"/>
                  </a:lnTo>
                  <a:lnTo>
                    <a:pt x="640" y="674"/>
                  </a:lnTo>
                  <a:lnTo>
                    <a:pt x="600" y="670"/>
                  </a:lnTo>
                  <a:lnTo>
                    <a:pt x="579" y="630"/>
                  </a:lnTo>
                  <a:lnTo>
                    <a:pt x="539" y="654"/>
                  </a:lnTo>
                  <a:lnTo>
                    <a:pt x="530" y="683"/>
                  </a:lnTo>
                  <a:lnTo>
                    <a:pt x="480" y="695"/>
                  </a:lnTo>
                  <a:lnTo>
                    <a:pt x="449" y="725"/>
                  </a:lnTo>
                  <a:lnTo>
                    <a:pt x="421" y="735"/>
                  </a:lnTo>
                  <a:lnTo>
                    <a:pt x="417" y="756"/>
                  </a:lnTo>
                  <a:lnTo>
                    <a:pt x="392" y="782"/>
                  </a:lnTo>
                  <a:lnTo>
                    <a:pt x="337" y="774"/>
                  </a:lnTo>
                  <a:lnTo>
                    <a:pt x="283" y="740"/>
                  </a:lnTo>
                  <a:lnTo>
                    <a:pt x="246" y="742"/>
                  </a:lnTo>
                  <a:lnTo>
                    <a:pt x="193" y="794"/>
                  </a:lnTo>
                  <a:lnTo>
                    <a:pt x="142" y="796"/>
                  </a:lnTo>
                  <a:lnTo>
                    <a:pt x="179" y="746"/>
                  </a:lnTo>
                  <a:lnTo>
                    <a:pt x="177" y="691"/>
                  </a:lnTo>
                  <a:lnTo>
                    <a:pt x="136" y="672"/>
                  </a:lnTo>
                  <a:lnTo>
                    <a:pt x="114" y="628"/>
                  </a:lnTo>
                  <a:lnTo>
                    <a:pt x="165" y="504"/>
                  </a:lnTo>
                  <a:lnTo>
                    <a:pt x="130" y="459"/>
                  </a:lnTo>
                  <a:lnTo>
                    <a:pt x="108" y="465"/>
                  </a:lnTo>
                  <a:lnTo>
                    <a:pt x="67" y="485"/>
                  </a:lnTo>
                  <a:lnTo>
                    <a:pt x="26" y="473"/>
                  </a:lnTo>
                  <a:lnTo>
                    <a:pt x="22" y="418"/>
                  </a:lnTo>
                  <a:lnTo>
                    <a:pt x="0" y="390"/>
                  </a:lnTo>
                  <a:lnTo>
                    <a:pt x="55" y="329"/>
                  </a:lnTo>
                  <a:lnTo>
                    <a:pt x="85" y="351"/>
                  </a:lnTo>
                  <a:lnTo>
                    <a:pt x="108" y="325"/>
                  </a:lnTo>
                  <a:lnTo>
                    <a:pt x="122" y="341"/>
                  </a:lnTo>
                  <a:lnTo>
                    <a:pt x="191" y="341"/>
                  </a:lnTo>
                  <a:lnTo>
                    <a:pt x="238" y="331"/>
                  </a:lnTo>
                  <a:lnTo>
                    <a:pt x="254" y="266"/>
                  </a:lnTo>
                  <a:lnTo>
                    <a:pt x="315" y="276"/>
                  </a:lnTo>
                  <a:lnTo>
                    <a:pt x="413" y="248"/>
                  </a:lnTo>
                  <a:lnTo>
                    <a:pt x="392" y="189"/>
                  </a:lnTo>
                  <a:lnTo>
                    <a:pt x="364" y="189"/>
                  </a:lnTo>
                  <a:lnTo>
                    <a:pt x="313" y="166"/>
                  </a:lnTo>
                  <a:lnTo>
                    <a:pt x="309" y="124"/>
                  </a:lnTo>
                  <a:lnTo>
                    <a:pt x="360" y="87"/>
                  </a:lnTo>
                  <a:lnTo>
                    <a:pt x="421" y="128"/>
                  </a:lnTo>
                  <a:lnTo>
                    <a:pt x="490" y="138"/>
                  </a:lnTo>
                  <a:lnTo>
                    <a:pt x="476" y="89"/>
                  </a:lnTo>
                  <a:lnTo>
                    <a:pt x="531" y="75"/>
                  </a:lnTo>
                  <a:lnTo>
                    <a:pt x="569" y="60"/>
                  </a:lnTo>
                  <a:lnTo>
                    <a:pt x="557" y="18"/>
                  </a:lnTo>
                  <a:lnTo>
                    <a:pt x="577" y="0"/>
                  </a:lnTo>
                  <a:lnTo>
                    <a:pt x="628" y="36"/>
                  </a:lnTo>
                  <a:lnTo>
                    <a:pt x="687" y="18"/>
                  </a:lnTo>
                  <a:lnTo>
                    <a:pt x="703" y="85"/>
                  </a:lnTo>
                  <a:lnTo>
                    <a:pt x="728" y="93"/>
                  </a:lnTo>
                  <a:lnTo>
                    <a:pt x="781" y="164"/>
                  </a:lnTo>
                  <a:lnTo>
                    <a:pt x="843" y="136"/>
                  </a:lnTo>
                  <a:lnTo>
                    <a:pt x="864" y="209"/>
                  </a:lnTo>
                  <a:lnTo>
                    <a:pt x="884" y="280"/>
                  </a:lnTo>
                  <a:lnTo>
                    <a:pt x="833" y="309"/>
                  </a:lnTo>
                  <a:lnTo>
                    <a:pt x="817" y="333"/>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0" name="Freeform 114"/>
            <p:cNvSpPr/>
            <p:nvPr/>
          </p:nvSpPr>
          <p:spPr bwMode="gray">
            <a:xfrm>
              <a:off x="2685" y="3045"/>
              <a:ext cx="453" cy="398"/>
            </a:xfrm>
            <a:custGeom>
              <a:avLst/>
              <a:gdLst>
                <a:gd name="T0" fmla="*/ 221 w 907"/>
                <a:gd name="T1" fmla="*/ 85 h 796"/>
                <a:gd name="T2" fmla="*/ 221 w 907"/>
                <a:gd name="T3" fmla="*/ 106 h 796"/>
                <a:gd name="T4" fmla="*/ 226 w 907"/>
                <a:gd name="T5" fmla="*/ 130 h 796"/>
                <a:gd name="T6" fmla="*/ 217 w 907"/>
                <a:gd name="T7" fmla="*/ 139 h 796"/>
                <a:gd name="T8" fmla="*/ 209 w 907"/>
                <a:gd name="T9" fmla="*/ 152 h 796"/>
                <a:gd name="T10" fmla="*/ 195 w 907"/>
                <a:gd name="T11" fmla="*/ 160 h 796"/>
                <a:gd name="T12" fmla="*/ 179 w 907"/>
                <a:gd name="T13" fmla="*/ 159 h 796"/>
                <a:gd name="T14" fmla="*/ 165 w 907"/>
                <a:gd name="T15" fmla="*/ 174 h 796"/>
                <a:gd name="T16" fmla="*/ 150 w 907"/>
                <a:gd name="T17" fmla="*/ 168 h 796"/>
                <a:gd name="T18" fmla="*/ 134 w 907"/>
                <a:gd name="T19" fmla="*/ 164 h 796"/>
                <a:gd name="T20" fmla="*/ 120 w 907"/>
                <a:gd name="T21" fmla="*/ 174 h 796"/>
                <a:gd name="T22" fmla="*/ 105 w 907"/>
                <a:gd name="T23" fmla="*/ 184 h 796"/>
                <a:gd name="T24" fmla="*/ 98 w 907"/>
                <a:gd name="T25" fmla="*/ 196 h 796"/>
                <a:gd name="T26" fmla="*/ 70 w 907"/>
                <a:gd name="T27" fmla="*/ 185 h 796"/>
                <a:gd name="T28" fmla="*/ 48 w 907"/>
                <a:gd name="T29" fmla="*/ 199 h 796"/>
                <a:gd name="T30" fmla="*/ 44 w 907"/>
                <a:gd name="T31" fmla="*/ 187 h 796"/>
                <a:gd name="T32" fmla="*/ 34 w 907"/>
                <a:gd name="T33" fmla="*/ 168 h 796"/>
                <a:gd name="T34" fmla="*/ 41 w 907"/>
                <a:gd name="T35" fmla="*/ 126 h 796"/>
                <a:gd name="T36" fmla="*/ 27 w 907"/>
                <a:gd name="T37" fmla="*/ 116 h 796"/>
                <a:gd name="T38" fmla="*/ 6 w 907"/>
                <a:gd name="T39" fmla="*/ 118 h 796"/>
                <a:gd name="T40" fmla="*/ 0 w 907"/>
                <a:gd name="T41" fmla="*/ 98 h 796"/>
                <a:gd name="T42" fmla="*/ 21 w 907"/>
                <a:gd name="T43" fmla="*/ 88 h 796"/>
                <a:gd name="T44" fmla="*/ 30 w 907"/>
                <a:gd name="T45" fmla="*/ 86 h 796"/>
                <a:gd name="T46" fmla="*/ 59 w 907"/>
                <a:gd name="T47" fmla="*/ 83 h 796"/>
                <a:gd name="T48" fmla="*/ 78 w 907"/>
                <a:gd name="T49" fmla="*/ 69 h 796"/>
                <a:gd name="T50" fmla="*/ 98 w 907"/>
                <a:gd name="T51" fmla="*/ 48 h 796"/>
                <a:gd name="T52" fmla="*/ 78 w 907"/>
                <a:gd name="T53" fmla="*/ 42 h 796"/>
                <a:gd name="T54" fmla="*/ 90 w 907"/>
                <a:gd name="T55" fmla="*/ 22 h 796"/>
                <a:gd name="T56" fmla="*/ 122 w 907"/>
                <a:gd name="T57" fmla="*/ 35 h 796"/>
                <a:gd name="T58" fmla="*/ 132 w 907"/>
                <a:gd name="T59" fmla="*/ 19 h 796"/>
                <a:gd name="T60" fmla="*/ 139 w 907"/>
                <a:gd name="T61" fmla="*/ 5 h 796"/>
                <a:gd name="T62" fmla="*/ 157 w 907"/>
                <a:gd name="T63" fmla="*/ 9 h 796"/>
                <a:gd name="T64" fmla="*/ 175 w 907"/>
                <a:gd name="T65" fmla="*/ 22 h 796"/>
                <a:gd name="T66" fmla="*/ 195 w 907"/>
                <a:gd name="T67" fmla="*/ 41 h 796"/>
                <a:gd name="T68" fmla="*/ 216 w 907"/>
                <a:gd name="T69" fmla="*/ 52 h 796"/>
                <a:gd name="T70" fmla="*/ 208 w 907"/>
                <a:gd name="T71" fmla="*/ 78 h 79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07"/>
                <a:gd name="T109" fmla="*/ 0 h 796"/>
                <a:gd name="T110" fmla="*/ 907 w 907"/>
                <a:gd name="T111" fmla="*/ 796 h 79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07" h="796">
                  <a:moveTo>
                    <a:pt x="817" y="333"/>
                  </a:moveTo>
                  <a:lnTo>
                    <a:pt x="884" y="339"/>
                  </a:lnTo>
                  <a:lnTo>
                    <a:pt x="905" y="372"/>
                  </a:lnTo>
                  <a:lnTo>
                    <a:pt x="884" y="424"/>
                  </a:lnTo>
                  <a:lnTo>
                    <a:pt x="880" y="475"/>
                  </a:lnTo>
                  <a:lnTo>
                    <a:pt x="907" y="520"/>
                  </a:lnTo>
                  <a:lnTo>
                    <a:pt x="882" y="569"/>
                  </a:lnTo>
                  <a:lnTo>
                    <a:pt x="870" y="555"/>
                  </a:lnTo>
                  <a:lnTo>
                    <a:pt x="837" y="567"/>
                  </a:lnTo>
                  <a:lnTo>
                    <a:pt x="837" y="607"/>
                  </a:lnTo>
                  <a:lnTo>
                    <a:pt x="801" y="607"/>
                  </a:lnTo>
                  <a:lnTo>
                    <a:pt x="783" y="640"/>
                  </a:lnTo>
                  <a:lnTo>
                    <a:pt x="746" y="620"/>
                  </a:lnTo>
                  <a:lnTo>
                    <a:pt x="717" y="636"/>
                  </a:lnTo>
                  <a:lnTo>
                    <a:pt x="709" y="670"/>
                  </a:lnTo>
                  <a:lnTo>
                    <a:pt x="663" y="695"/>
                  </a:lnTo>
                  <a:lnTo>
                    <a:pt x="640" y="674"/>
                  </a:lnTo>
                  <a:lnTo>
                    <a:pt x="600" y="670"/>
                  </a:lnTo>
                  <a:lnTo>
                    <a:pt x="579" y="630"/>
                  </a:lnTo>
                  <a:lnTo>
                    <a:pt x="539" y="654"/>
                  </a:lnTo>
                  <a:lnTo>
                    <a:pt x="530" y="683"/>
                  </a:lnTo>
                  <a:lnTo>
                    <a:pt x="480" y="695"/>
                  </a:lnTo>
                  <a:lnTo>
                    <a:pt x="449" y="725"/>
                  </a:lnTo>
                  <a:lnTo>
                    <a:pt x="421" y="735"/>
                  </a:lnTo>
                  <a:lnTo>
                    <a:pt x="417" y="756"/>
                  </a:lnTo>
                  <a:lnTo>
                    <a:pt x="392" y="782"/>
                  </a:lnTo>
                  <a:lnTo>
                    <a:pt x="337" y="774"/>
                  </a:lnTo>
                  <a:lnTo>
                    <a:pt x="283" y="740"/>
                  </a:lnTo>
                  <a:lnTo>
                    <a:pt x="246" y="742"/>
                  </a:lnTo>
                  <a:lnTo>
                    <a:pt x="193" y="794"/>
                  </a:lnTo>
                  <a:lnTo>
                    <a:pt x="142" y="796"/>
                  </a:lnTo>
                  <a:lnTo>
                    <a:pt x="179" y="746"/>
                  </a:lnTo>
                  <a:lnTo>
                    <a:pt x="177" y="691"/>
                  </a:lnTo>
                  <a:lnTo>
                    <a:pt x="136" y="672"/>
                  </a:lnTo>
                  <a:lnTo>
                    <a:pt x="114" y="628"/>
                  </a:lnTo>
                  <a:lnTo>
                    <a:pt x="165" y="504"/>
                  </a:lnTo>
                  <a:lnTo>
                    <a:pt x="130" y="459"/>
                  </a:lnTo>
                  <a:lnTo>
                    <a:pt x="108" y="465"/>
                  </a:lnTo>
                  <a:lnTo>
                    <a:pt x="67" y="485"/>
                  </a:lnTo>
                  <a:lnTo>
                    <a:pt x="26" y="473"/>
                  </a:lnTo>
                  <a:lnTo>
                    <a:pt x="22" y="418"/>
                  </a:lnTo>
                  <a:lnTo>
                    <a:pt x="0" y="390"/>
                  </a:lnTo>
                  <a:lnTo>
                    <a:pt x="55" y="329"/>
                  </a:lnTo>
                  <a:lnTo>
                    <a:pt x="85" y="351"/>
                  </a:lnTo>
                  <a:lnTo>
                    <a:pt x="108" y="325"/>
                  </a:lnTo>
                  <a:lnTo>
                    <a:pt x="122" y="341"/>
                  </a:lnTo>
                  <a:lnTo>
                    <a:pt x="191" y="341"/>
                  </a:lnTo>
                  <a:lnTo>
                    <a:pt x="238" y="331"/>
                  </a:lnTo>
                  <a:lnTo>
                    <a:pt x="254" y="266"/>
                  </a:lnTo>
                  <a:lnTo>
                    <a:pt x="315" y="276"/>
                  </a:lnTo>
                  <a:lnTo>
                    <a:pt x="413" y="248"/>
                  </a:lnTo>
                  <a:lnTo>
                    <a:pt x="392" y="189"/>
                  </a:lnTo>
                  <a:lnTo>
                    <a:pt x="364" y="189"/>
                  </a:lnTo>
                  <a:lnTo>
                    <a:pt x="313" y="166"/>
                  </a:lnTo>
                  <a:lnTo>
                    <a:pt x="309" y="124"/>
                  </a:lnTo>
                  <a:lnTo>
                    <a:pt x="360" y="87"/>
                  </a:lnTo>
                  <a:lnTo>
                    <a:pt x="421" y="128"/>
                  </a:lnTo>
                  <a:lnTo>
                    <a:pt x="490" y="138"/>
                  </a:lnTo>
                  <a:lnTo>
                    <a:pt x="476" y="89"/>
                  </a:lnTo>
                  <a:lnTo>
                    <a:pt x="531" y="75"/>
                  </a:lnTo>
                  <a:lnTo>
                    <a:pt x="569" y="60"/>
                  </a:lnTo>
                  <a:lnTo>
                    <a:pt x="557" y="18"/>
                  </a:lnTo>
                  <a:lnTo>
                    <a:pt x="577" y="0"/>
                  </a:lnTo>
                  <a:lnTo>
                    <a:pt x="628" y="36"/>
                  </a:lnTo>
                  <a:lnTo>
                    <a:pt x="687" y="18"/>
                  </a:lnTo>
                  <a:lnTo>
                    <a:pt x="703" y="85"/>
                  </a:lnTo>
                  <a:lnTo>
                    <a:pt x="728" y="93"/>
                  </a:lnTo>
                  <a:lnTo>
                    <a:pt x="781" y="164"/>
                  </a:lnTo>
                  <a:lnTo>
                    <a:pt x="843" y="136"/>
                  </a:lnTo>
                  <a:lnTo>
                    <a:pt x="864" y="209"/>
                  </a:lnTo>
                  <a:lnTo>
                    <a:pt x="884" y="280"/>
                  </a:lnTo>
                  <a:lnTo>
                    <a:pt x="833" y="309"/>
                  </a:lnTo>
                  <a:lnTo>
                    <a:pt x="817" y="333"/>
                  </a:lnTo>
                </a:path>
              </a:pathLst>
            </a:custGeom>
            <a:grpFill/>
            <a:ln w="6350">
              <a:solidFill>
                <a:schemeClr val="tx1">
                  <a:lumMod val="85000"/>
                  <a:lumOff val="15000"/>
                </a:schemeClr>
              </a:solidFill>
              <a:prstDash val="solid"/>
              <a:round/>
            </a:ln>
          </p:spPr>
          <p:txBody>
            <a:bodyPr/>
            <a:lstStyle/>
            <a:p>
              <a:endParaRPr lang="zh-CN" altLang="en-US" sz="2400"/>
            </a:p>
          </p:txBody>
        </p:sp>
        <p:sp>
          <p:nvSpPr>
            <p:cNvPr id="71" name="Freeform 115"/>
            <p:cNvSpPr/>
            <p:nvPr/>
          </p:nvSpPr>
          <p:spPr bwMode="gray">
            <a:xfrm>
              <a:off x="3094" y="2950"/>
              <a:ext cx="402" cy="458"/>
            </a:xfrm>
            <a:custGeom>
              <a:avLst/>
              <a:gdLst>
                <a:gd name="T0" fmla="*/ 186 w 805"/>
                <a:gd name="T1" fmla="*/ 44 h 917"/>
                <a:gd name="T2" fmla="*/ 191 w 805"/>
                <a:gd name="T3" fmla="*/ 62 h 917"/>
                <a:gd name="T4" fmla="*/ 185 w 805"/>
                <a:gd name="T5" fmla="*/ 74 h 917"/>
                <a:gd name="T6" fmla="*/ 176 w 805"/>
                <a:gd name="T7" fmla="*/ 80 h 917"/>
                <a:gd name="T8" fmla="*/ 171 w 805"/>
                <a:gd name="T9" fmla="*/ 98 h 917"/>
                <a:gd name="T10" fmla="*/ 184 w 805"/>
                <a:gd name="T11" fmla="*/ 111 h 917"/>
                <a:gd name="T12" fmla="*/ 186 w 805"/>
                <a:gd name="T13" fmla="*/ 132 h 917"/>
                <a:gd name="T14" fmla="*/ 196 w 805"/>
                <a:gd name="T15" fmla="*/ 139 h 917"/>
                <a:gd name="T16" fmla="*/ 201 w 805"/>
                <a:gd name="T17" fmla="*/ 156 h 917"/>
                <a:gd name="T18" fmla="*/ 194 w 805"/>
                <a:gd name="T19" fmla="*/ 172 h 917"/>
                <a:gd name="T20" fmla="*/ 195 w 805"/>
                <a:gd name="T21" fmla="*/ 186 h 917"/>
                <a:gd name="T22" fmla="*/ 181 w 805"/>
                <a:gd name="T23" fmla="*/ 194 h 917"/>
                <a:gd name="T24" fmla="*/ 168 w 805"/>
                <a:gd name="T25" fmla="*/ 186 h 917"/>
                <a:gd name="T26" fmla="*/ 143 w 805"/>
                <a:gd name="T27" fmla="*/ 204 h 917"/>
                <a:gd name="T28" fmla="*/ 129 w 805"/>
                <a:gd name="T29" fmla="*/ 206 h 917"/>
                <a:gd name="T30" fmla="*/ 129 w 805"/>
                <a:gd name="T31" fmla="*/ 220 h 917"/>
                <a:gd name="T32" fmla="*/ 123 w 805"/>
                <a:gd name="T33" fmla="*/ 223 h 917"/>
                <a:gd name="T34" fmla="*/ 114 w 805"/>
                <a:gd name="T35" fmla="*/ 223 h 917"/>
                <a:gd name="T36" fmla="*/ 104 w 805"/>
                <a:gd name="T37" fmla="*/ 229 h 917"/>
                <a:gd name="T38" fmla="*/ 104 w 805"/>
                <a:gd name="T39" fmla="*/ 218 h 917"/>
                <a:gd name="T40" fmla="*/ 100 w 805"/>
                <a:gd name="T41" fmla="*/ 212 h 917"/>
                <a:gd name="T42" fmla="*/ 83 w 805"/>
                <a:gd name="T43" fmla="*/ 212 h 917"/>
                <a:gd name="T44" fmla="*/ 96 w 805"/>
                <a:gd name="T45" fmla="*/ 196 h 917"/>
                <a:gd name="T46" fmla="*/ 97 w 805"/>
                <a:gd name="T47" fmla="*/ 181 h 917"/>
                <a:gd name="T48" fmla="*/ 90 w 805"/>
                <a:gd name="T49" fmla="*/ 176 h 917"/>
                <a:gd name="T50" fmla="*/ 90 w 805"/>
                <a:gd name="T51" fmla="*/ 161 h 917"/>
                <a:gd name="T52" fmla="*/ 82 w 805"/>
                <a:gd name="T53" fmla="*/ 159 h 917"/>
                <a:gd name="T54" fmla="*/ 74 w 805"/>
                <a:gd name="T55" fmla="*/ 163 h 917"/>
                <a:gd name="T56" fmla="*/ 64 w 805"/>
                <a:gd name="T57" fmla="*/ 160 h 917"/>
                <a:gd name="T58" fmla="*/ 53 w 805"/>
                <a:gd name="T59" fmla="*/ 175 h 917"/>
                <a:gd name="T60" fmla="*/ 47 w 805"/>
                <a:gd name="T61" fmla="*/ 168 h 917"/>
                <a:gd name="T62" fmla="*/ 40 w 805"/>
                <a:gd name="T63" fmla="*/ 166 h 917"/>
                <a:gd name="T64" fmla="*/ 37 w 805"/>
                <a:gd name="T65" fmla="*/ 178 h 917"/>
                <a:gd name="T66" fmla="*/ 22 w 805"/>
                <a:gd name="T67" fmla="*/ 177 h 917"/>
                <a:gd name="T68" fmla="*/ 15 w 805"/>
                <a:gd name="T69" fmla="*/ 166 h 917"/>
                <a:gd name="T70" fmla="*/ 16 w 805"/>
                <a:gd name="T71" fmla="*/ 153 h 917"/>
                <a:gd name="T72" fmla="*/ 21 w 805"/>
                <a:gd name="T73" fmla="*/ 140 h 917"/>
                <a:gd name="T74" fmla="*/ 16 w 805"/>
                <a:gd name="T75" fmla="*/ 132 h 917"/>
                <a:gd name="T76" fmla="*/ 0 w 805"/>
                <a:gd name="T77" fmla="*/ 130 h 917"/>
                <a:gd name="T78" fmla="*/ 3 w 805"/>
                <a:gd name="T79" fmla="*/ 124 h 917"/>
                <a:gd name="T80" fmla="*/ 15 w 805"/>
                <a:gd name="T81" fmla="*/ 117 h 917"/>
                <a:gd name="T82" fmla="*/ 6 w 805"/>
                <a:gd name="T83" fmla="*/ 81 h 917"/>
                <a:gd name="T84" fmla="*/ 6 w 805"/>
                <a:gd name="T85" fmla="*/ 68 h 917"/>
                <a:gd name="T86" fmla="*/ 3 w 805"/>
                <a:gd name="T87" fmla="*/ 46 h 917"/>
                <a:gd name="T88" fmla="*/ 10 w 805"/>
                <a:gd name="T89" fmla="*/ 30 h 917"/>
                <a:gd name="T90" fmla="*/ 25 w 805"/>
                <a:gd name="T91" fmla="*/ 17 h 917"/>
                <a:gd name="T92" fmla="*/ 49 w 805"/>
                <a:gd name="T93" fmla="*/ 21 h 917"/>
                <a:gd name="T94" fmla="*/ 53 w 805"/>
                <a:gd name="T95" fmla="*/ 14 h 917"/>
                <a:gd name="T96" fmla="*/ 45 w 805"/>
                <a:gd name="T97" fmla="*/ 4 h 917"/>
                <a:gd name="T98" fmla="*/ 63 w 805"/>
                <a:gd name="T99" fmla="*/ 0 h 917"/>
                <a:gd name="T100" fmla="*/ 85 w 805"/>
                <a:gd name="T101" fmla="*/ 6 h 917"/>
                <a:gd name="T102" fmla="*/ 102 w 805"/>
                <a:gd name="T103" fmla="*/ 7 h 917"/>
                <a:gd name="T104" fmla="*/ 117 w 805"/>
                <a:gd name="T105" fmla="*/ 17 h 917"/>
                <a:gd name="T106" fmla="*/ 132 w 805"/>
                <a:gd name="T107" fmla="*/ 8 h 917"/>
                <a:gd name="T108" fmla="*/ 140 w 805"/>
                <a:gd name="T109" fmla="*/ 10 h 917"/>
                <a:gd name="T110" fmla="*/ 141 w 805"/>
                <a:gd name="T111" fmla="*/ 18 h 917"/>
                <a:gd name="T112" fmla="*/ 159 w 805"/>
                <a:gd name="T113" fmla="*/ 6 h 917"/>
                <a:gd name="T114" fmla="*/ 167 w 805"/>
                <a:gd name="T115" fmla="*/ 14 h 917"/>
                <a:gd name="T116" fmla="*/ 166 w 805"/>
                <a:gd name="T117" fmla="*/ 28 h 917"/>
                <a:gd name="T118" fmla="*/ 178 w 805"/>
                <a:gd name="T119" fmla="*/ 31 h 917"/>
                <a:gd name="T120" fmla="*/ 186 w 805"/>
                <a:gd name="T121" fmla="*/ 44 h 91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05"/>
                <a:gd name="T184" fmla="*/ 0 h 917"/>
                <a:gd name="T185" fmla="*/ 805 w 805"/>
                <a:gd name="T186" fmla="*/ 917 h 91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05" h="917">
                  <a:moveTo>
                    <a:pt x="746" y="177"/>
                  </a:moveTo>
                  <a:lnTo>
                    <a:pt x="766" y="251"/>
                  </a:lnTo>
                  <a:lnTo>
                    <a:pt x="740" y="299"/>
                  </a:lnTo>
                  <a:lnTo>
                    <a:pt x="707" y="322"/>
                  </a:lnTo>
                  <a:lnTo>
                    <a:pt x="685" y="393"/>
                  </a:lnTo>
                  <a:lnTo>
                    <a:pt x="736" y="446"/>
                  </a:lnTo>
                  <a:lnTo>
                    <a:pt x="746" y="531"/>
                  </a:lnTo>
                  <a:lnTo>
                    <a:pt x="787" y="557"/>
                  </a:lnTo>
                  <a:lnTo>
                    <a:pt x="805" y="627"/>
                  </a:lnTo>
                  <a:lnTo>
                    <a:pt x="777" y="688"/>
                  </a:lnTo>
                  <a:lnTo>
                    <a:pt x="781" y="747"/>
                  </a:lnTo>
                  <a:lnTo>
                    <a:pt x="724" y="777"/>
                  </a:lnTo>
                  <a:lnTo>
                    <a:pt x="673" y="747"/>
                  </a:lnTo>
                  <a:lnTo>
                    <a:pt x="573" y="816"/>
                  </a:lnTo>
                  <a:lnTo>
                    <a:pt x="518" y="824"/>
                  </a:lnTo>
                  <a:lnTo>
                    <a:pt x="518" y="881"/>
                  </a:lnTo>
                  <a:lnTo>
                    <a:pt x="492" y="895"/>
                  </a:lnTo>
                  <a:lnTo>
                    <a:pt x="457" y="895"/>
                  </a:lnTo>
                  <a:lnTo>
                    <a:pt x="419" y="917"/>
                  </a:lnTo>
                  <a:lnTo>
                    <a:pt x="419" y="873"/>
                  </a:lnTo>
                  <a:lnTo>
                    <a:pt x="403" y="848"/>
                  </a:lnTo>
                  <a:lnTo>
                    <a:pt x="333" y="850"/>
                  </a:lnTo>
                  <a:lnTo>
                    <a:pt x="384" y="787"/>
                  </a:lnTo>
                  <a:lnTo>
                    <a:pt x="388" y="726"/>
                  </a:lnTo>
                  <a:lnTo>
                    <a:pt x="362" y="706"/>
                  </a:lnTo>
                  <a:lnTo>
                    <a:pt x="362" y="647"/>
                  </a:lnTo>
                  <a:lnTo>
                    <a:pt x="329" y="637"/>
                  </a:lnTo>
                  <a:lnTo>
                    <a:pt x="297" y="655"/>
                  </a:lnTo>
                  <a:lnTo>
                    <a:pt x="256" y="643"/>
                  </a:lnTo>
                  <a:lnTo>
                    <a:pt x="214" y="700"/>
                  </a:lnTo>
                  <a:lnTo>
                    <a:pt x="191" y="673"/>
                  </a:lnTo>
                  <a:lnTo>
                    <a:pt x="163" y="667"/>
                  </a:lnTo>
                  <a:lnTo>
                    <a:pt x="148" y="714"/>
                  </a:lnTo>
                  <a:lnTo>
                    <a:pt x="88" y="708"/>
                  </a:lnTo>
                  <a:lnTo>
                    <a:pt x="61" y="667"/>
                  </a:lnTo>
                  <a:lnTo>
                    <a:pt x="65" y="614"/>
                  </a:lnTo>
                  <a:lnTo>
                    <a:pt x="86" y="562"/>
                  </a:lnTo>
                  <a:lnTo>
                    <a:pt x="65" y="529"/>
                  </a:lnTo>
                  <a:lnTo>
                    <a:pt x="0" y="523"/>
                  </a:lnTo>
                  <a:lnTo>
                    <a:pt x="14" y="499"/>
                  </a:lnTo>
                  <a:lnTo>
                    <a:pt x="63" y="468"/>
                  </a:lnTo>
                  <a:lnTo>
                    <a:pt x="24" y="326"/>
                  </a:lnTo>
                  <a:lnTo>
                    <a:pt x="25" y="275"/>
                  </a:lnTo>
                  <a:lnTo>
                    <a:pt x="14" y="185"/>
                  </a:lnTo>
                  <a:lnTo>
                    <a:pt x="41" y="120"/>
                  </a:lnTo>
                  <a:lnTo>
                    <a:pt x="100" y="68"/>
                  </a:lnTo>
                  <a:lnTo>
                    <a:pt x="199" y="84"/>
                  </a:lnTo>
                  <a:lnTo>
                    <a:pt x="212" y="59"/>
                  </a:lnTo>
                  <a:lnTo>
                    <a:pt x="183" y="17"/>
                  </a:lnTo>
                  <a:lnTo>
                    <a:pt x="252" y="0"/>
                  </a:lnTo>
                  <a:lnTo>
                    <a:pt x="340" y="27"/>
                  </a:lnTo>
                  <a:lnTo>
                    <a:pt x="411" y="31"/>
                  </a:lnTo>
                  <a:lnTo>
                    <a:pt x="468" y="70"/>
                  </a:lnTo>
                  <a:lnTo>
                    <a:pt x="529" y="35"/>
                  </a:lnTo>
                  <a:lnTo>
                    <a:pt x="561" y="41"/>
                  </a:lnTo>
                  <a:lnTo>
                    <a:pt x="567" y="74"/>
                  </a:lnTo>
                  <a:lnTo>
                    <a:pt x="638" y="25"/>
                  </a:lnTo>
                  <a:lnTo>
                    <a:pt x="671" y="59"/>
                  </a:lnTo>
                  <a:lnTo>
                    <a:pt x="665" y="112"/>
                  </a:lnTo>
                  <a:lnTo>
                    <a:pt x="712" y="126"/>
                  </a:lnTo>
                  <a:lnTo>
                    <a:pt x="746" y="177"/>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2" name="Freeform 116"/>
            <p:cNvSpPr/>
            <p:nvPr/>
          </p:nvSpPr>
          <p:spPr bwMode="gray">
            <a:xfrm>
              <a:off x="3094" y="2950"/>
              <a:ext cx="402" cy="458"/>
            </a:xfrm>
            <a:custGeom>
              <a:avLst/>
              <a:gdLst>
                <a:gd name="T0" fmla="*/ 186 w 805"/>
                <a:gd name="T1" fmla="*/ 44 h 917"/>
                <a:gd name="T2" fmla="*/ 191 w 805"/>
                <a:gd name="T3" fmla="*/ 62 h 917"/>
                <a:gd name="T4" fmla="*/ 185 w 805"/>
                <a:gd name="T5" fmla="*/ 74 h 917"/>
                <a:gd name="T6" fmla="*/ 176 w 805"/>
                <a:gd name="T7" fmla="*/ 80 h 917"/>
                <a:gd name="T8" fmla="*/ 171 w 805"/>
                <a:gd name="T9" fmla="*/ 98 h 917"/>
                <a:gd name="T10" fmla="*/ 184 w 805"/>
                <a:gd name="T11" fmla="*/ 111 h 917"/>
                <a:gd name="T12" fmla="*/ 186 w 805"/>
                <a:gd name="T13" fmla="*/ 132 h 917"/>
                <a:gd name="T14" fmla="*/ 196 w 805"/>
                <a:gd name="T15" fmla="*/ 139 h 917"/>
                <a:gd name="T16" fmla="*/ 201 w 805"/>
                <a:gd name="T17" fmla="*/ 156 h 917"/>
                <a:gd name="T18" fmla="*/ 194 w 805"/>
                <a:gd name="T19" fmla="*/ 172 h 917"/>
                <a:gd name="T20" fmla="*/ 195 w 805"/>
                <a:gd name="T21" fmla="*/ 186 h 917"/>
                <a:gd name="T22" fmla="*/ 181 w 805"/>
                <a:gd name="T23" fmla="*/ 194 h 917"/>
                <a:gd name="T24" fmla="*/ 168 w 805"/>
                <a:gd name="T25" fmla="*/ 186 h 917"/>
                <a:gd name="T26" fmla="*/ 143 w 805"/>
                <a:gd name="T27" fmla="*/ 204 h 917"/>
                <a:gd name="T28" fmla="*/ 129 w 805"/>
                <a:gd name="T29" fmla="*/ 206 h 917"/>
                <a:gd name="T30" fmla="*/ 129 w 805"/>
                <a:gd name="T31" fmla="*/ 220 h 917"/>
                <a:gd name="T32" fmla="*/ 123 w 805"/>
                <a:gd name="T33" fmla="*/ 223 h 917"/>
                <a:gd name="T34" fmla="*/ 114 w 805"/>
                <a:gd name="T35" fmla="*/ 223 h 917"/>
                <a:gd name="T36" fmla="*/ 104 w 805"/>
                <a:gd name="T37" fmla="*/ 229 h 917"/>
                <a:gd name="T38" fmla="*/ 104 w 805"/>
                <a:gd name="T39" fmla="*/ 218 h 917"/>
                <a:gd name="T40" fmla="*/ 100 w 805"/>
                <a:gd name="T41" fmla="*/ 212 h 917"/>
                <a:gd name="T42" fmla="*/ 83 w 805"/>
                <a:gd name="T43" fmla="*/ 212 h 917"/>
                <a:gd name="T44" fmla="*/ 96 w 805"/>
                <a:gd name="T45" fmla="*/ 196 h 917"/>
                <a:gd name="T46" fmla="*/ 97 w 805"/>
                <a:gd name="T47" fmla="*/ 181 h 917"/>
                <a:gd name="T48" fmla="*/ 90 w 805"/>
                <a:gd name="T49" fmla="*/ 176 h 917"/>
                <a:gd name="T50" fmla="*/ 90 w 805"/>
                <a:gd name="T51" fmla="*/ 161 h 917"/>
                <a:gd name="T52" fmla="*/ 82 w 805"/>
                <a:gd name="T53" fmla="*/ 159 h 917"/>
                <a:gd name="T54" fmla="*/ 74 w 805"/>
                <a:gd name="T55" fmla="*/ 163 h 917"/>
                <a:gd name="T56" fmla="*/ 64 w 805"/>
                <a:gd name="T57" fmla="*/ 160 h 917"/>
                <a:gd name="T58" fmla="*/ 53 w 805"/>
                <a:gd name="T59" fmla="*/ 175 h 917"/>
                <a:gd name="T60" fmla="*/ 47 w 805"/>
                <a:gd name="T61" fmla="*/ 168 h 917"/>
                <a:gd name="T62" fmla="*/ 40 w 805"/>
                <a:gd name="T63" fmla="*/ 166 h 917"/>
                <a:gd name="T64" fmla="*/ 37 w 805"/>
                <a:gd name="T65" fmla="*/ 178 h 917"/>
                <a:gd name="T66" fmla="*/ 22 w 805"/>
                <a:gd name="T67" fmla="*/ 177 h 917"/>
                <a:gd name="T68" fmla="*/ 15 w 805"/>
                <a:gd name="T69" fmla="*/ 166 h 917"/>
                <a:gd name="T70" fmla="*/ 16 w 805"/>
                <a:gd name="T71" fmla="*/ 153 h 917"/>
                <a:gd name="T72" fmla="*/ 21 w 805"/>
                <a:gd name="T73" fmla="*/ 140 h 917"/>
                <a:gd name="T74" fmla="*/ 16 w 805"/>
                <a:gd name="T75" fmla="*/ 132 h 917"/>
                <a:gd name="T76" fmla="*/ 0 w 805"/>
                <a:gd name="T77" fmla="*/ 130 h 917"/>
                <a:gd name="T78" fmla="*/ 3 w 805"/>
                <a:gd name="T79" fmla="*/ 124 h 917"/>
                <a:gd name="T80" fmla="*/ 15 w 805"/>
                <a:gd name="T81" fmla="*/ 117 h 917"/>
                <a:gd name="T82" fmla="*/ 6 w 805"/>
                <a:gd name="T83" fmla="*/ 81 h 917"/>
                <a:gd name="T84" fmla="*/ 6 w 805"/>
                <a:gd name="T85" fmla="*/ 68 h 917"/>
                <a:gd name="T86" fmla="*/ 3 w 805"/>
                <a:gd name="T87" fmla="*/ 46 h 917"/>
                <a:gd name="T88" fmla="*/ 10 w 805"/>
                <a:gd name="T89" fmla="*/ 30 h 917"/>
                <a:gd name="T90" fmla="*/ 25 w 805"/>
                <a:gd name="T91" fmla="*/ 17 h 917"/>
                <a:gd name="T92" fmla="*/ 49 w 805"/>
                <a:gd name="T93" fmla="*/ 21 h 917"/>
                <a:gd name="T94" fmla="*/ 53 w 805"/>
                <a:gd name="T95" fmla="*/ 14 h 917"/>
                <a:gd name="T96" fmla="*/ 45 w 805"/>
                <a:gd name="T97" fmla="*/ 4 h 917"/>
                <a:gd name="T98" fmla="*/ 63 w 805"/>
                <a:gd name="T99" fmla="*/ 0 h 917"/>
                <a:gd name="T100" fmla="*/ 85 w 805"/>
                <a:gd name="T101" fmla="*/ 6 h 917"/>
                <a:gd name="T102" fmla="*/ 102 w 805"/>
                <a:gd name="T103" fmla="*/ 7 h 917"/>
                <a:gd name="T104" fmla="*/ 117 w 805"/>
                <a:gd name="T105" fmla="*/ 17 h 917"/>
                <a:gd name="T106" fmla="*/ 132 w 805"/>
                <a:gd name="T107" fmla="*/ 8 h 917"/>
                <a:gd name="T108" fmla="*/ 140 w 805"/>
                <a:gd name="T109" fmla="*/ 10 h 917"/>
                <a:gd name="T110" fmla="*/ 141 w 805"/>
                <a:gd name="T111" fmla="*/ 18 h 917"/>
                <a:gd name="T112" fmla="*/ 159 w 805"/>
                <a:gd name="T113" fmla="*/ 6 h 917"/>
                <a:gd name="T114" fmla="*/ 167 w 805"/>
                <a:gd name="T115" fmla="*/ 14 h 917"/>
                <a:gd name="T116" fmla="*/ 166 w 805"/>
                <a:gd name="T117" fmla="*/ 28 h 917"/>
                <a:gd name="T118" fmla="*/ 178 w 805"/>
                <a:gd name="T119" fmla="*/ 31 h 917"/>
                <a:gd name="T120" fmla="*/ 186 w 805"/>
                <a:gd name="T121" fmla="*/ 44 h 91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05"/>
                <a:gd name="T184" fmla="*/ 0 h 917"/>
                <a:gd name="T185" fmla="*/ 805 w 805"/>
                <a:gd name="T186" fmla="*/ 917 h 91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05" h="917">
                  <a:moveTo>
                    <a:pt x="746" y="177"/>
                  </a:moveTo>
                  <a:lnTo>
                    <a:pt x="766" y="251"/>
                  </a:lnTo>
                  <a:lnTo>
                    <a:pt x="740" y="299"/>
                  </a:lnTo>
                  <a:lnTo>
                    <a:pt x="707" y="322"/>
                  </a:lnTo>
                  <a:lnTo>
                    <a:pt x="685" y="393"/>
                  </a:lnTo>
                  <a:lnTo>
                    <a:pt x="736" y="446"/>
                  </a:lnTo>
                  <a:lnTo>
                    <a:pt x="746" y="531"/>
                  </a:lnTo>
                  <a:lnTo>
                    <a:pt x="787" y="557"/>
                  </a:lnTo>
                  <a:lnTo>
                    <a:pt x="805" y="627"/>
                  </a:lnTo>
                  <a:lnTo>
                    <a:pt x="777" y="688"/>
                  </a:lnTo>
                  <a:lnTo>
                    <a:pt x="781" y="747"/>
                  </a:lnTo>
                  <a:lnTo>
                    <a:pt x="724" y="777"/>
                  </a:lnTo>
                  <a:lnTo>
                    <a:pt x="673" y="747"/>
                  </a:lnTo>
                  <a:lnTo>
                    <a:pt x="573" y="816"/>
                  </a:lnTo>
                  <a:lnTo>
                    <a:pt x="518" y="824"/>
                  </a:lnTo>
                  <a:lnTo>
                    <a:pt x="518" y="881"/>
                  </a:lnTo>
                  <a:lnTo>
                    <a:pt x="492" y="895"/>
                  </a:lnTo>
                  <a:lnTo>
                    <a:pt x="457" y="895"/>
                  </a:lnTo>
                  <a:lnTo>
                    <a:pt x="419" y="917"/>
                  </a:lnTo>
                  <a:lnTo>
                    <a:pt x="419" y="873"/>
                  </a:lnTo>
                  <a:lnTo>
                    <a:pt x="403" y="848"/>
                  </a:lnTo>
                  <a:lnTo>
                    <a:pt x="333" y="850"/>
                  </a:lnTo>
                  <a:lnTo>
                    <a:pt x="384" y="787"/>
                  </a:lnTo>
                  <a:lnTo>
                    <a:pt x="388" y="726"/>
                  </a:lnTo>
                  <a:lnTo>
                    <a:pt x="362" y="706"/>
                  </a:lnTo>
                  <a:lnTo>
                    <a:pt x="362" y="647"/>
                  </a:lnTo>
                  <a:lnTo>
                    <a:pt x="329" y="637"/>
                  </a:lnTo>
                  <a:lnTo>
                    <a:pt x="297" y="655"/>
                  </a:lnTo>
                  <a:lnTo>
                    <a:pt x="256" y="643"/>
                  </a:lnTo>
                  <a:lnTo>
                    <a:pt x="214" y="700"/>
                  </a:lnTo>
                  <a:lnTo>
                    <a:pt x="191" y="673"/>
                  </a:lnTo>
                  <a:lnTo>
                    <a:pt x="163" y="667"/>
                  </a:lnTo>
                  <a:lnTo>
                    <a:pt x="148" y="714"/>
                  </a:lnTo>
                  <a:lnTo>
                    <a:pt x="88" y="708"/>
                  </a:lnTo>
                  <a:lnTo>
                    <a:pt x="61" y="667"/>
                  </a:lnTo>
                  <a:lnTo>
                    <a:pt x="65" y="614"/>
                  </a:lnTo>
                  <a:lnTo>
                    <a:pt x="86" y="562"/>
                  </a:lnTo>
                  <a:lnTo>
                    <a:pt x="65" y="529"/>
                  </a:lnTo>
                  <a:lnTo>
                    <a:pt x="0" y="523"/>
                  </a:lnTo>
                  <a:lnTo>
                    <a:pt x="14" y="499"/>
                  </a:lnTo>
                  <a:lnTo>
                    <a:pt x="63" y="468"/>
                  </a:lnTo>
                  <a:lnTo>
                    <a:pt x="24" y="326"/>
                  </a:lnTo>
                  <a:lnTo>
                    <a:pt x="25" y="275"/>
                  </a:lnTo>
                  <a:lnTo>
                    <a:pt x="14" y="185"/>
                  </a:lnTo>
                  <a:lnTo>
                    <a:pt x="41" y="120"/>
                  </a:lnTo>
                  <a:lnTo>
                    <a:pt x="100" y="68"/>
                  </a:lnTo>
                  <a:lnTo>
                    <a:pt x="199" y="84"/>
                  </a:lnTo>
                  <a:lnTo>
                    <a:pt x="212" y="59"/>
                  </a:lnTo>
                  <a:lnTo>
                    <a:pt x="183" y="17"/>
                  </a:lnTo>
                  <a:lnTo>
                    <a:pt x="252" y="0"/>
                  </a:lnTo>
                  <a:lnTo>
                    <a:pt x="340" y="27"/>
                  </a:lnTo>
                  <a:lnTo>
                    <a:pt x="411" y="31"/>
                  </a:lnTo>
                  <a:lnTo>
                    <a:pt x="468" y="70"/>
                  </a:lnTo>
                  <a:lnTo>
                    <a:pt x="529" y="35"/>
                  </a:lnTo>
                  <a:lnTo>
                    <a:pt x="561" y="41"/>
                  </a:lnTo>
                  <a:lnTo>
                    <a:pt x="567" y="74"/>
                  </a:lnTo>
                  <a:lnTo>
                    <a:pt x="638" y="25"/>
                  </a:lnTo>
                  <a:lnTo>
                    <a:pt x="671" y="59"/>
                  </a:lnTo>
                  <a:lnTo>
                    <a:pt x="665" y="112"/>
                  </a:lnTo>
                  <a:lnTo>
                    <a:pt x="712" y="126"/>
                  </a:lnTo>
                  <a:lnTo>
                    <a:pt x="746" y="177"/>
                  </a:lnTo>
                </a:path>
              </a:pathLst>
            </a:custGeom>
            <a:grpFill/>
            <a:ln w="6350">
              <a:solidFill>
                <a:schemeClr val="tx1">
                  <a:lumMod val="85000"/>
                  <a:lumOff val="15000"/>
                </a:schemeClr>
              </a:solidFill>
              <a:prstDash val="solid"/>
              <a:round/>
            </a:ln>
          </p:spPr>
          <p:txBody>
            <a:bodyPr/>
            <a:lstStyle/>
            <a:p>
              <a:endParaRPr lang="zh-CN" altLang="en-US" sz="2400"/>
            </a:p>
          </p:txBody>
        </p:sp>
        <p:sp>
          <p:nvSpPr>
            <p:cNvPr id="73" name="Freeform 117"/>
            <p:cNvSpPr/>
            <p:nvPr/>
          </p:nvSpPr>
          <p:spPr bwMode="gray">
            <a:xfrm>
              <a:off x="3436" y="2904"/>
              <a:ext cx="356" cy="491"/>
            </a:xfrm>
            <a:custGeom>
              <a:avLst/>
              <a:gdLst>
                <a:gd name="T0" fmla="*/ 20 w 711"/>
                <a:gd name="T1" fmla="*/ 44 h 982"/>
                <a:gd name="T2" fmla="*/ 7 w 711"/>
                <a:gd name="T3" fmla="*/ 55 h 982"/>
                <a:gd name="T4" fmla="*/ 16 w 711"/>
                <a:gd name="T5" fmla="*/ 68 h 982"/>
                <a:gd name="T6" fmla="*/ 21 w 711"/>
                <a:gd name="T7" fmla="*/ 86 h 982"/>
                <a:gd name="T8" fmla="*/ 14 w 711"/>
                <a:gd name="T9" fmla="*/ 98 h 982"/>
                <a:gd name="T10" fmla="*/ 6 w 711"/>
                <a:gd name="T11" fmla="*/ 104 h 982"/>
                <a:gd name="T12" fmla="*/ 0 w 711"/>
                <a:gd name="T13" fmla="*/ 122 h 982"/>
                <a:gd name="T14" fmla="*/ 13 w 711"/>
                <a:gd name="T15" fmla="*/ 135 h 982"/>
                <a:gd name="T16" fmla="*/ 16 w 711"/>
                <a:gd name="T17" fmla="*/ 156 h 982"/>
                <a:gd name="T18" fmla="*/ 26 w 711"/>
                <a:gd name="T19" fmla="*/ 163 h 982"/>
                <a:gd name="T20" fmla="*/ 30 w 711"/>
                <a:gd name="T21" fmla="*/ 179 h 982"/>
                <a:gd name="T22" fmla="*/ 23 w 711"/>
                <a:gd name="T23" fmla="*/ 196 h 982"/>
                <a:gd name="T24" fmla="*/ 24 w 711"/>
                <a:gd name="T25" fmla="*/ 210 h 982"/>
                <a:gd name="T26" fmla="*/ 32 w 711"/>
                <a:gd name="T27" fmla="*/ 215 h 982"/>
                <a:gd name="T28" fmla="*/ 50 w 711"/>
                <a:gd name="T29" fmla="*/ 209 h 982"/>
                <a:gd name="T30" fmla="*/ 56 w 711"/>
                <a:gd name="T31" fmla="*/ 215 h 982"/>
                <a:gd name="T32" fmla="*/ 47 w 711"/>
                <a:gd name="T33" fmla="*/ 232 h 982"/>
                <a:gd name="T34" fmla="*/ 39 w 711"/>
                <a:gd name="T35" fmla="*/ 241 h 982"/>
                <a:gd name="T36" fmla="*/ 46 w 711"/>
                <a:gd name="T37" fmla="*/ 246 h 982"/>
                <a:gd name="T38" fmla="*/ 82 w 711"/>
                <a:gd name="T39" fmla="*/ 231 h 982"/>
                <a:gd name="T40" fmla="*/ 96 w 711"/>
                <a:gd name="T41" fmla="*/ 238 h 982"/>
                <a:gd name="T42" fmla="*/ 101 w 711"/>
                <a:gd name="T43" fmla="*/ 222 h 982"/>
                <a:gd name="T44" fmla="*/ 100 w 711"/>
                <a:gd name="T45" fmla="*/ 209 h 982"/>
                <a:gd name="T46" fmla="*/ 107 w 711"/>
                <a:gd name="T47" fmla="*/ 182 h 982"/>
                <a:gd name="T48" fmla="*/ 115 w 711"/>
                <a:gd name="T49" fmla="*/ 170 h 982"/>
                <a:gd name="T50" fmla="*/ 115 w 711"/>
                <a:gd name="T51" fmla="*/ 157 h 982"/>
                <a:gd name="T52" fmla="*/ 119 w 711"/>
                <a:gd name="T53" fmla="*/ 151 h 982"/>
                <a:gd name="T54" fmla="*/ 116 w 711"/>
                <a:gd name="T55" fmla="*/ 143 h 982"/>
                <a:gd name="T56" fmla="*/ 117 w 711"/>
                <a:gd name="T57" fmla="*/ 130 h 982"/>
                <a:gd name="T58" fmla="*/ 132 w 711"/>
                <a:gd name="T59" fmla="*/ 124 h 982"/>
                <a:gd name="T60" fmla="*/ 134 w 711"/>
                <a:gd name="T61" fmla="*/ 106 h 982"/>
                <a:gd name="T62" fmla="*/ 135 w 711"/>
                <a:gd name="T63" fmla="*/ 92 h 982"/>
                <a:gd name="T64" fmla="*/ 143 w 711"/>
                <a:gd name="T65" fmla="*/ 87 h 982"/>
                <a:gd name="T66" fmla="*/ 151 w 711"/>
                <a:gd name="T67" fmla="*/ 87 h 982"/>
                <a:gd name="T68" fmla="*/ 164 w 711"/>
                <a:gd name="T69" fmla="*/ 80 h 982"/>
                <a:gd name="T70" fmla="*/ 175 w 711"/>
                <a:gd name="T71" fmla="*/ 75 h 982"/>
                <a:gd name="T72" fmla="*/ 175 w 711"/>
                <a:gd name="T73" fmla="*/ 64 h 982"/>
                <a:gd name="T74" fmla="*/ 178 w 711"/>
                <a:gd name="T75" fmla="*/ 63 h 982"/>
                <a:gd name="T76" fmla="*/ 175 w 711"/>
                <a:gd name="T77" fmla="*/ 49 h 982"/>
                <a:gd name="T78" fmla="*/ 155 w 711"/>
                <a:gd name="T79" fmla="*/ 34 h 982"/>
                <a:gd name="T80" fmla="*/ 160 w 711"/>
                <a:gd name="T81" fmla="*/ 19 h 982"/>
                <a:gd name="T82" fmla="*/ 153 w 711"/>
                <a:gd name="T83" fmla="*/ 15 h 982"/>
                <a:gd name="T84" fmla="*/ 134 w 711"/>
                <a:gd name="T85" fmla="*/ 14 h 982"/>
                <a:gd name="T86" fmla="*/ 127 w 711"/>
                <a:gd name="T87" fmla="*/ 5 h 982"/>
                <a:gd name="T88" fmla="*/ 112 w 711"/>
                <a:gd name="T89" fmla="*/ 21 h 982"/>
                <a:gd name="T90" fmla="*/ 102 w 711"/>
                <a:gd name="T91" fmla="*/ 17 h 982"/>
                <a:gd name="T92" fmla="*/ 110 w 711"/>
                <a:gd name="T93" fmla="*/ 7 h 982"/>
                <a:gd name="T94" fmla="*/ 105 w 711"/>
                <a:gd name="T95" fmla="*/ 0 h 982"/>
                <a:gd name="T96" fmla="*/ 96 w 711"/>
                <a:gd name="T97" fmla="*/ 4 h 982"/>
                <a:gd name="T98" fmla="*/ 87 w 711"/>
                <a:gd name="T99" fmla="*/ 15 h 982"/>
                <a:gd name="T100" fmla="*/ 83 w 711"/>
                <a:gd name="T101" fmla="*/ 14 h 982"/>
                <a:gd name="T102" fmla="*/ 76 w 711"/>
                <a:gd name="T103" fmla="*/ 21 h 982"/>
                <a:gd name="T104" fmla="*/ 63 w 711"/>
                <a:gd name="T105" fmla="*/ 15 h 982"/>
                <a:gd name="T106" fmla="*/ 54 w 711"/>
                <a:gd name="T107" fmla="*/ 25 h 982"/>
                <a:gd name="T108" fmla="*/ 46 w 711"/>
                <a:gd name="T109" fmla="*/ 27 h 982"/>
                <a:gd name="T110" fmla="*/ 35 w 711"/>
                <a:gd name="T111" fmla="*/ 40 h 982"/>
                <a:gd name="T112" fmla="*/ 20 w 711"/>
                <a:gd name="T113" fmla="*/ 44 h 98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11"/>
                <a:gd name="T172" fmla="*/ 0 h 982"/>
                <a:gd name="T173" fmla="*/ 711 w 711"/>
                <a:gd name="T174" fmla="*/ 982 h 98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11" h="982">
                  <a:moveTo>
                    <a:pt x="77" y="173"/>
                  </a:moveTo>
                  <a:lnTo>
                    <a:pt x="27" y="219"/>
                  </a:lnTo>
                  <a:lnTo>
                    <a:pt x="61" y="270"/>
                  </a:lnTo>
                  <a:lnTo>
                    <a:pt x="81" y="344"/>
                  </a:lnTo>
                  <a:lnTo>
                    <a:pt x="55" y="392"/>
                  </a:lnTo>
                  <a:lnTo>
                    <a:pt x="22" y="415"/>
                  </a:lnTo>
                  <a:lnTo>
                    <a:pt x="0" y="486"/>
                  </a:lnTo>
                  <a:lnTo>
                    <a:pt x="51" y="539"/>
                  </a:lnTo>
                  <a:lnTo>
                    <a:pt x="61" y="624"/>
                  </a:lnTo>
                  <a:lnTo>
                    <a:pt x="102" y="650"/>
                  </a:lnTo>
                  <a:lnTo>
                    <a:pt x="120" y="716"/>
                  </a:lnTo>
                  <a:lnTo>
                    <a:pt x="92" y="783"/>
                  </a:lnTo>
                  <a:lnTo>
                    <a:pt x="96" y="840"/>
                  </a:lnTo>
                  <a:lnTo>
                    <a:pt x="128" y="860"/>
                  </a:lnTo>
                  <a:lnTo>
                    <a:pt x="197" y="833"/>
                  </a:lnTo>
                  <a:lnTo>
                    <a:pt x="224" y="858"/>
                  </a:lnTo>
                  <a:lnTo>
                    <a:pt x="185" y="927"/>
                  </a:lnTo>
                  <a:lnTo>
                    <a:pt x="155" y="961"/>
                  </a:lnTo>
                  <a:lnTo>
                    <a:pt x="183" y="982"/>
                  </a:lnTo>
                  <a:lnTo>
                    <a:pt x="327" y="923"/>
                  </a:lnTo>
                  <a:lnTo>
                    <a:pt x="382" y="949"/>
                  </a:lnTo>
                  <a:lnTo>
                    <a:pt x="403" y="888"/>
                  </a:lnTo>
                  <a:lnTo>
                    <a:pt x="398" y="833"/>
                  </a:lnTo>
                  <a:lnTo>
                    <a:pt x="425" y="726"/>
                  </a:lnTo>
                  <a:lnTo>
                    <a:pt x="459" y="677"/>
                  </a:lnTo>
                  <a:lnTo>
                    <a:pt x="457" y="628"/>
                  </a:lnTo>
                  <a:lnTo>
                    <a:pt x="476" y="604"/>
                  </a:lnTo>
                  <a:lnTo>
                    <a:pt x="462" y="569"/>
                  </a:lnTo>
                  <a:lnTo>
                    <a:pt x="468" y="518"/>
                  </a:lnTo>
                  <a:lnTo>
                    <a:pt x="525" y="496"/>
                  </a:lnTo>
                  <a:lnTo>
                    <a:pt x="535" y="423"/>
                  </a:lnTo>
                  <a:lnTo>
                    <a:pt x="539" y="368"/>
                  </a:lnTo>
                  <a:lnTo>
                    <a:pt x="569" y="346"/>
                  </a:lnTo>
                  <a:lnTo>
                    <a:pt x="602" y="346"/>
                  </a:lnTo>
                  <a:lnTo>
                    <a:pt x="653" y="317"/>
                  </a:lnTo>
                  <a:lnTo>
                    <a:pt x="697" y="297"/>
                  </a:lnTo>
                  <a:lnTo>
                    <a:pt x="697" y="256"/>
                  </a:lnTo>
                  <a:lnTo>
                    <a:pt x="711" y="254"/>
                  </a:lnTo>
                  <a:lnTo>
                    <a:pt x="697" y="193"/>
                  </a:lnTo>
                  <a:lnTo>
                    <a:pt x="620" y="134"/>
                  </a:lnTo>
                  <a:lnTo>
                    <a:pt x="638" y="73"/>
                  </a:lnTo>
                  <a:lnTo>
                    <a:pt x="612" y="57"/>
                  </a:lnTo>
                  <a:lnTo>
                    <a:pt x="535" y="55"/>
                  </a:lnTo>
                  <a:lnTo>
                    <a:pt x="506" y="20"/>
                  </a:lnTo>
                  <a:lnTo>
                    <a:pt x="447" y="81"/>
                  </a:lnTo>
                  <a:lnTo>
                    <a:pt x="407" y="67"/>
                  </a:lnTo>
                  <a:lnTo>
                    <a:pt x="439" y="28"/>
                  </a:lnTo>
                  <a:lnTo>
                    <a:pt x="417" y="0"/>
                  </a:lnTo>
                  <a:lnTo>
                    <a:pt x="384" y="14"/>
                  </a:lnTo>
                  <a:lnTo>
                    <a:pt x="348" y="59"/>
                  </a:lnTo>
                  <a:lnTo>
                    <a:pt x="331" y="55"/>
                  </a:lnTo>
                  <a:lnTo>
                    <a:pt x="301" y="81"/>
                  </a:lnTo>
                  <a:lnTo>
                    <a:pt x="250" y="61"/>
                  </a:lnTo>
                  <a:lnTo>
                    <a:pt x="214" y="98"/>
                  </a:lnTo>
                  <a:lnTo>
                    <a:pt x="183" y="108"/>
                  </a:lnTo>
                  <a:lnTo>
                    <a:pt x="140" y="159"/>
                  </a:lnTo>
                  <a:lnTo>
                    <a:pt x="77" y="173"/>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4" name="Freeform 118"/>
            <p:cNvSpPr/>
            <p:nvPr/>
          </p:nvSpPr>
          <p:spPr bwMode="gray">
            <a:xfrm>
              <a:off x="3436" y="2904"/>
              <a:ext cx="356" cy="491"/>
            </a:xfrm>
            <a:custGeom>
              <a:avLst/>
              <a:gdLst>
                <a:gd name="T0" fmla="*/ 20 w 711"/>
                <a:gd name="T1" fmla="*/ 44 h 982"/>
                <a:gd name="T2" fmla="*/ 7 w 711"/>
                <a:gd name="T3" fmla="*/ 55 h 982"/>
                <a:gd name="T4" fmla="*/ 16 w 711"/>
                <a:gd name="T5" fmla="*/ 68 h 982"/>
                <a:gd name="T6" fmla="*/ 21 w 711"/>
                <a:gd name="T7" fmla="*/ 86 h 982"/>
                <a:gd name="T8" fmla="*/ 14 w 711"/>
                <a:gd name="T9" fmla="*/ 98 h 982"/>
                <a:gd name="T10" fmla="*/ 6 w 711"/>
                <a:gd name="T11" fmla="*/ 104 h 982"/>
                <a:gd name="T12" fmla="*/ 0 w 711"/>
                <a:gd name="T13" fmla="*/ 122 h 982"/>
                <a:gd name="T14" fmla="*/ 13 w 711"/>
                <a:gd name="T15" fmla="*/ 135 h 982"/>
                <a:gd name="T16" fmla="*/ 16 w 711"/>
                <a:gd name="T17" fmla="*/ 156 h 982"/>
                <a:gd name="T18" fmla="*/ 26 w 711"/>
                <a:gd name="T19" fmla="*/ 163 h 982"/>
                <a:gd name="T20" fmla="*/ 30 w 711"/>
                <a:gd name="T21" fmla="*/ 179 h 982"/>
                <a:gd name="T22" fmla="*/ 23 w 711"/>
                <a:gd name="T23" fmla="*/ 196 h 982"/>
                <a:gd name="T24" fmla="*/ 24 w 711"/>
                <a:gd name="T25" fmla="*/ 210 h 982"/>
                <a:gd name="T26" fmla="*/ 32 w 711"/>
                <a:gd name="T27" fmla="*/ 215 h 982"/>
                <a:gd name="T28" fmla="*/ 50 w 711"/>
                <a:gd name="T29" fmla="*/ 209 h 982"/>
                <a:gd name="T30" fmla="*/ 56 w 711"/>
                <a:gd name="T31" fmla="*/ 215 h 982"/>
                <a:gd name="T32" fmla="*/ 47 w 711"/>
                <a:gd name="T33" fmla="*/ 232 h 982"/>
                <a:gd name="T34" fmla="*/ 39 w 711"/>
                <a:gd name="T35" fmla="*/ 241 h 982"/>
                <a:gd name="T36" fmla="*/ 46 w 711"/>
                <a:gd name="T37" fmla="*/ 246 h 982"/>
                <a:gd name="T38" fmla="*/ 82 w 711"/>
                <a:gd name="T39" fmla="*/ 231 h 982"/>
                <a:gd name="T40" fmla="*/ 96 w 711"/>
                <a:gd name="T41" fmla="*/ 238 h 982"/>
                <a:gd name="T42" fmla="*/ 101 w 711"/>
                <a:gd name="T43" fmla="*/ 222 h 982"/>
                <a:gd name="T44" fmla="*/ 100 w 711"/>
                <a:gd name="T45" fmla="*/ 209 h 982"/>
                <a:gd name="T46" fmla="*/ 107 w 711"/>
                <a:gd name="T47" fmla="*/ 182 h 982"/>
                <a:gd name="T48" fmla="*/ 115 w 711"/>
                <a:gd name="T49" fmla="*/ 170 h 982"/>
                <a:gd name="T50" fmla="*/ 115 w 711"/>
                <a:gd name="T51" fmla="*/ 157 h 982"/>
                <a:gd name="T52" fmla="*/ 119 w 711"/>
                <a:gd name="T53" fmla="*/ 151 h 982"/>
                <a:gd name="T54" fmla="*/ 116 w 711"/>
                <a:gd name="T55" fmla="*/ 143 h 982"/>
                <a:gd name="T56" fmla="*/ 117 w 711"/>
                <a:gd name="T57" fmla="*/ 130 h 982"/>
                <a:gd name="T58" fmla="*/ 132 w 711"/>
                <a:gd name="T59" fmla="*/ 124 h 982"/>
                <a:gd name="T60" fmla="*/ 134 w 711"/>
                <a:gd name="T61" fmla="*/ 106 h 982"/>
                <a:gd name="T62" fmla="*/ 135 w 711"/>
                <a:gd name="T63" fmla="*/ 92 h 982"/>
                <a:gd name="T64" fmla="*/ 143 w 711"/>
                <a:gd name="T65" fmla="*/ 87 h 982"/>
                <a:gd name="T66" fmla="*/ 151 w 711"/>
                <a:gd name="T67" fmla="*/ 87 h 982"/>
                <a:gd name="T68" fmla="*/ 164 w 711"/>
                <a:gd name="T69" fmla="*/ 80 h 982"/>
                <a:gd name="T70" fmla="*/ 175 w 711"/>
                <a:gd name="T71" fmla="*/ 75 h 982"/>
                <a:gd name="T72" fmla="*/ 175 w 711"/>
                <a:gd name="T73" fmla="*/ 64 h 982"/>
                <a:gd name="T74" fmla="*/ 178 w 711"/>
                <a:gd name="T75" fmla="*/ 63 h 982"/>
                <a:gd name="T76" fmla="*/ 175 w 711"/>
                <a:gd name="T77" fmla="*/ 49 h 982"/>
                <a:gd name="T78" fmla="*/ 155 w 711"/>
                <a:gd name="T79" fmla="*/ 34 h 982"/>
                <a:gd name="T80" fmla="*/ 160 w 711"/>
                <a:gd name="T81" fmla="*/ 19 h 982"/>
                <a:gd name="T82" fmla="*/ 153 w 711"/>
                <a:gd name="T83" fmla="*/ 15 h 982"/>
                <a:gd name="T84" fmla="*/ 134 w 711"/>
                <a:gd name="T85" fmla="*/ 14 h 982"/>
                <a:gd name="T86" fmla="*/ 127 w 711"/>
                <a:gd name="T87" fmla="*/ 5 h 982"/>
                <a:gd name="T88" fmla="*/ 112 w 711"/>
                <a:gd name="T89" fmla="*/ 21 h 982"/>
                <a:gd name="T90" fmla="*/ 102 w 711"/>
                <a:gd name="T91" fmla="*/ 17 h 982"/>
                <a:gd name="T92" fmla="*/ 110 w 711"/>
                <a:gd name="T93" fmla="*/ 7 h 982"/>
                <a:gd name="T94" fmla="*/ 105 w 711"/>
                <a:gd name="T95" fmla="*/ 0 h 982"/>
                <a:gd name="T96" fmla="*/ 96 w 711"/>
                <a:gd name="T97" fmla="*/ 4 h 982"/>
                <a:gd name="T98" fmla="*/ 87 w 711"/>
                <a:gd name="T99" fmla="*/ 15 h 982"/>
                <a:gd name="T100" fmla="*/ 83 w 711"/>
                <a:gd name="T101" fmla="*/ 14 h 982"/>
                <a:gd name="T102" fmla="*/ 76 w 711"/>
                <a:gd name="T103" fmla="*/ 21 h 982"/>
                <a:gd name="T104" fmla="*/ 63 w 711"/>
                <a:gd name="T105" fmla="*/ 15 h 982"/>
                <a:gd name="T106" fmla="*/ 54 w 711"/>
                <a:gd name="T107" fmla="*/ 25 h 982"/>
                <a:gd name="T108" fmla="*/ 46 w 711"/>
                <a:gd name="T109" fmla="*/ 27 h 982"/>
                <a:gd name="T110" fmla="*/ 35 w 711"/>
                <a:gd name="T111" fmla="*/ 40 h 982"/>
                <a:gd name="T112" fmla="*/ 20 w 711"/>
                <a:gd name="T113" fmla="*/ 44 h 98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11"/>
                <a:gd name="T172" fmla="*/ 0 h 982"/>
                <a:gd name="T173" fmla="*/ 711 w 711"/>
                <a:gd name="T174" fmla="*/ 982 h 98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11" h="982">
                  <a:moveTo>
                    <a:pt x="77" y="173"/>
                  </a:moveTo>
                  <a:lnTo>
                    <a:pt x="27" y="219"/>
                  </a:lnTo>
                  <a:lnTo>
                    <a:pt x="61" y="270"/>
                  </a:lnTo>
                  <a:lnTo>
                    <a:pt x="81" y="344"/>
                  </a:lnTo>
                  <a:lnTo>
                    <a:pt x="55" y="392"/>
                  </a:lnTo>
                  <a:lnTo>
                    <a:pt x="22" y="415"/>
                  </a:lnTo>
                  <a:lnTo>
                    <a:pt x="0" y="486"/>
                  </a:lnTo>
                  <a:lnTo>
                    <a:pt x="51" y="539"/>
                  </a:lnTo>
                  <a:lnTo>
                    <a:pt x="61" y="624"/>
                  </a:lnTo>
                  <a:lnTo>
                    <a:pt x="102" y="650"/>
                  </a:lnTo>
                  <a:lnTo>
                    <a:pt x="120" y="716"/>
                  </a:lnTo>
                  <a:lnTo>
                    <a:pt x="92" y="783"/>
                  </a:lnTo>
                  <a:lnTo>
                    <a:pt x="96" y="840"/>
                  </a:lnTo>
                  <a:lnTo>
                    <a:pt x="128" y="860"/>
                  </a:lnTo>
                  <a:lnTo>
                    <a:pt x="197" y="833"/>
                  </a:lnTo>
                  <a:lnTo>
                    <a:pt x="224" y="858"/>
                  </a:lnTo>
                  <a:lnTo>
                    <a:pt x="185" y="927"/>
                  </a:lnTo>
                  <a:lnTo>
                    <a:pt x="155" y="961"/>
                  </a:lnTo>
                  <a:lnTo>
                    <a:pt x="183" y="982"/>
                  </a:lnTo>
                  <a:lnTo>
                    <a:pt x="327" y="923"/>
                  </a:lnTo>
                  <a:lnTo>
                    <a:pt x="382" y="949"/>
                  </a:lnTo>
                  <a:lnTo>
                    <a:pt x="403" y="888"/>
                  </a:lnTo>
                  <a:lnTo>
                    <a:pt x="398" y="833"/>
                  </a:lnTo>
                  <a:lnTo>
                    <a:pt x="425" y="726"/>
                  </a:lnTo>
                  <a:lnTo>
                    <a:pt x="459" y="677"/>
                  </a:lnTo>
                  <a:lnTo>
                    <a:pt x="457" y="628"/>
                  </a:lnTo>
                  <a:lnTo>
                    <a:pt x="476" y="604"/>
                  </a:lnTo>
                  <a:lnTo>
                    <a:pt x="462" y="569"/>
                  </a:lnTo>
                  <a:lnTo>
                    <a:pt x="468" y="518"/>
                  </a:lnTo>
                  <a:lnTo>
                    <a:pt x="525" y="496"/>
                  </a:lnTo>
                  <a:lnTo>
                    <a:pt x="535" y="423"/>
                  </a:lnTo>
                  <a:lnTo>
                    <a:pt x="539" y="368"/>
                  </a:lnTo>
                  <a:lnTo>
                    <a:pt x="569" y="346"/>
                  </a:lnTo>
                  <a:lnTo>
                    <a:pt x="602" y="346"/>
                  </a:lnTo>
                  <a:lnTo>
                    <a:pt x="653" y="317"/>
                  </a:lnTo>
                  <a:lnTo>
                    <a:pt x="697" y="297"/>
                  </a:lnTo>
                  <a:lnTo>
                    <a:pt x="697" y="256"/>
                  </a:lnTo>
                  <a:lnTo>
                    <a:pt x="711" y="254"/>
                  </a:lnTo>
                  <a:lnTo>
                    <a:pt x="697" y="193"/>
                  </a:lnTo>
                  <a:lnTo>
                    <a:pt x="620" y="134"/>
                  </a:lnTo>
                  <a:lnTo>
                    <a:pt x="638" y="73"/>
                  </a:lnTo>
                  <a:lnTo>
                    <a:pt x="612" y="57"/>
                  </a:lnTo>
                  <a:lnTo>
                    <a:pt x="535" y="55"/>
                  </a:lnTo>
                  <a:lnTo>
                    <a:pt x="506" y="20"/>
                  </a:lnTo>
                  <a:lnTo>
                    <a:pt x="447" y="81"/>
                  </a:lnTo>
                  <a:lnTo>
                    <a:pt x="407" y="67"/>
                  </a:lnTo>
                  <a:lnTo>
                    <a:pt x="439" y="28"/>
                  </a:lnTo>
                  <a:lnTo>
                    <a:pt x="417" y="0"/>
                  </a:lnTo>
                  <a:lnTo>
                    <a:pt x="384" y="14"/>
                  </a:lnTo>
                  <a:lnTo>
                    <a:pt x="348" y="59"/>
                  </a:lnTo>
                  <a:lnTo>
                    <a:pt x="331" y="55"/>
                  </a:lnTo>
                  <a:lnTo>
                    <a:pt x="301" y="81"/>
                  </a:lnTo>
                  <a:lnTo>
                    <a:pt x="250" y="61"/>
                  </a:lnTo>
                  <a:lnTo>
                    <a:pt x="214" y="98"/>
                  </a:lnTo>
                  <a:lnTo>
                    <a:pt x="183" y="108"/>
                  </a:lnTo>
                  <a:lnTo>
                    <a:pt x="140" y="159"/>
                  </a:lnTo>
                  <a:lnTo>
                    <a:pt x="77" y="173"/>
                  </a:lnTo>
                </a:path>
              </a:pathLst>
            </a:custGeom>
            <a:grpFill/>
            <a:ln w="6350">
              <a:solidFill>
                <a:schemeClr val="tx1">
                  <a:lumMod val="85000"/>
                  <a:lumOff val="15000"/>
                </a:schemeClr>
              </a:solidFill>
              <a:prstDash val="solid"/>
              <a:round/>
            </a:ln>
          </p:spPr>
          <p:txBody>
            <a:bodyPr/>
            <a:lstStyle/>
            <a:p>
              <a:endParaRPr lang="zh-CN" altLang="en-US" sz="2400"/>
            </a:p>
          </p:txBody>
        </p:sp>
        <p:sp>
          <p:nvSpPr>
            <p:cNvPr id="75" name="Freeform 119"/>
            <p:cNvSpPr/>
            <p:nvPr/>
          </p:nvSpPr>
          <p:spPr bwMode="gray">
            <a:xfrm>
              <a:off x="3477" y="2497"/>
              <a:ext cx="361" cy="447"/>
            </a:xfrm>
            <a:custGeom>
              <a:avLst/>
              <a:gdLst>
                <a:gd name="T0" fmla="*/ 19 w 722"/>
                <a:gd name="T1" fmla="*/ 148 h 894"/>
                <a:gd name="T2" fmla="*/ 23 w 722"/>
                <a:gd name="T3" fmla="*/ 155 h 894"/>
                <a:gd name="T4" fmla="*/ 34 w 722"/>
                <a:gd name="T5" fmla="*/ 163 h 894"/>
                <a:gd name="T6" fmla="*/ 42 w 722"/>
                <a:gd name="T7" fmla="*/ 163 h 894"/>
                <a:gd name="T8" fmla="*/ 50 w 722"/>
                <a:gd name="T9" fmla="*/ 168 h 894"/>
                <a:gd name="T10" fmla="*/ 50 w 722"/>
                <a:gd name="T11" fmla="*/ 192 h 894"/>
                <a:gd name="T12" fmla="*/ 58 w 722"/>
                <a:gd name="T13" fmla="*/ 202 h 894"/>
                <a:gd name="T14" fmla="*/ 62 w 722"/>
                <a:gd name="T15" fmla="*/ 217 h 894"/>
                <a:gd name="T16" fmla="*/ 67 w 722"/>
                <a:gd name="T17" fmla="*/ 218 h 894"/>
                <a:gd name="T18" fmla="*/ 76 w 722"/>
                <a:gd name="T19" fmla="*/ 207 h 894"/>
                <a:gd name="T20" fmla="*/ 85 w 722"/>
                <a:gd name="T21" fmla="*/ 204 h 894"/>
                <a:gd name="T22" fmla="*/ 90 w 722"/>
                <a:gd name="T23" fmla="*/ 211 h 894"/>
                <a:gd name="T24" fmla="*/ 82 w 722"/>
                <a:gd name="T25" fmla="*/ 220 h 894"/>
                <a:gd name="T26" fmla="*/ 91 w 722"/>
                <a:gd name="T27" fmla="*/ 224 h 894"/>
                <a:gd name="T28" fmla="*/ 106 w 722"/>
                <a:gd name="T29" fmla="*/ 209 h 894"/>
                <a:gd name="T30" fmla="*/ 113 w 722"/>
                <a:gd name="T31" fmla="*/ 217 h 894"/>
                <a:gd name="T32" fmla="*/ 133 w 722"/>
                <a:gd name="T33" fmla="*/ 218 h 894"/>
                <a:gd name="T34" fmla="*/ 140 w 722"/>
                <a:gd name="T35" fmla="*/ 222 h 894"/>
                <a:gd name="T36" fmla="*/ 154 w 722"/>
                <a:gd name="T37" fmla="*/ 207 h 894"/>
                <a:gd name="T38" fmla="*/ 162 w 722"/>
                <a:gd name="T39" fmla="*/ 188 h 894"/>
                <a:gd name="T40" fmla="*/ 169 w 722"/>
                <a:gd name="T41" fmla="*/ 178 h 894"/>
                <a:gd name="T42" fmla="*/ 176 w 722"/>
                <a:gd name="T43" fmla="*/ 175 h 894"/>
                <a:gd name="T44" fmla="*/ 171 w 722"/>
                <a:gd name="T45" fmla="*/ 164 h 894"/>
                <a:gd name="T46" fmla="*/ 181 w 722"/>
                <a:gd name="T47" fmla="*/ 151 h 894"/>
                <a:gd name="T48" fmla="*/ 180 w 722"/>
                <a:gd name="T49" fmla="*/ 141 h 894"/>
                <a:gd name="T50" fmla="*/ 173 w 722"/>
                <a:gd name="T51" fmla="*/ 142 h 894"/>
                <a:gd name="T52" fmla="*/ 162 w 722"/>
                <a:gd name="T53" fmla="*/ 138 h 894"/>
                <a:gd name="T54" fmla="*/ 150 w 722"/>
                <a:gd name="T55" fmla="*/ 142 h 894"/>
                <a:gd name="T56" fmla="*/ 147 w 722"/>
                <a:gd name="T57" fmla="*/ 127 h 894"/>
                <a:gd name="T58" fmla="*/ 134 w 722"/>
                <a:gd name="T59" fmla="*/ 120 h 894"/>
                <a:gd name="T60" fmla="*/ 131 w 722"/>
                <a:gd name="T61" fmla="*/ 108 h 894"/>
                <a:gd name="T62" fmla="*/ 138 w 722"/>
                <a:gd name="T63" fmla="*/ 97 h 894"/>
                <a:gd name="T64" fmla="*/ 124 w 722"/>
                <a:gd name="T65" fmla="*/ 83 h 894"/>
                <a:gd name="T66" fmla="*/ 108 w 722"/>
                <a:gd name="T67" fmla="*/ 63 h 894"/>
                <a:gd name="T68" fmla="*/ 109 w 722"/>
                <a:gd name="T69" fmla="*/ 47 h 894"/>
                <a:gd name="T70" fmla="*/ 101 w 722"/>
                <a:gd name="T71" fmla="*/ 42 h 894"/>
                <a:gd name="T72" fmla="*/ 93 w 722"/>
                <a:gd name="T73" fmla="*/ 44 h 894"/>
                <a:gd name="T74" fmla="*/ 90 w 722"/>
                <a:gd name="T75" fmla="*/ 35 h 894"/>
                <a:gd name="T76" fmla="*/ 73 w 722"/>
                <a:gd name="T77" fmla="*/ 34 h 894"/>
                <a:gd name="T78" fmla="*/ 77 w 722"/>
                <a:gd name="T79" fmla="*/ 12 h 894"/>
                <a:gd name="T80" fmla="*/ 69 w 722"/>
                <a:gd name="T81" fmla="*/ 15 h 894"/>
                <a:gd name="T82" fmla="*/ 53 w 722"/>
                <a:gd name="T83" fmla="*/ 0 h 894"/>
                <a:gd name="T84" fmla="*/ 45 w 722"/>
                <a:gd name="T85" fmla="*/ 4 h 894"/>
                <a:gd name="T86" fmla="*/ 40 w 722"/>
                <a:gd name="T87" fmla="*/ 16 h 894"/>
                <a:gd name="T88" fmla="*/ 35 w 722"/>
                <a:gd name="T89" fmla="*/ 17 h 894"/>
                <a:gd name="T90" fmla="*/ 38 w 722"/>
                <a:gd name="T91" fmla="*/ 26 h 894"/>
                <a:gd name="T92" fmla="*/ 51 w 722"/>
                <a:gd name="T93" fmla="*/ 30 h 894"/>
                <a:gd name="T94" fmla="*/ 55 w 722"/>
                <a:gd name="T95" fmla="*/ 46 h 894"/>
                <a:gd name="T96" fmla="*/ 42 w 722"/>
                <a:gd name="T97" fmla="*/ 54 h 894"/>
                <a:gd name="T98" fmla="*/ 28 w 722"/>
                <a:gd name="T99" fmla="*/ 42 h 894"/>
                <a:gd name="T100" fmla="*/ 17 w 722"/>
                <a:gd name="T101" fmla="*/ 49 h 894"/>
                <a:gd name="T102" fmla="*/ 22 w 722"/>
                <a:gd name="T103" fmla="*/ 62 h 894"/>
                <a:gd name="T104" fmla="*/ 12 w 722"/>
                <a:gd name="T105" fmla="*/ 71 h 894"/>
                <a:gd name="T106" fmla="*/ 13 w 722"/>
                <a:gd name="T107" fmla="*/ 84 h 894"/>
                <a:gd name="T108" fmla="*/ 0 w 722"/>
                <a:gd name="T109" fmla="*/ 88 h 894"/>
                <a:gd name="T110" fmla="*/ 11 w 722"/>
                <a:gd name="T111" fmla="*/ 96 h 894"/>
                <a:gd name="T112" fmla="*/ 24 w 722"/>
                <a:gd name="T113" fmla="*/ 112 h 894"/>
                <a:gd name="T114" fmla="*/ 40 w 722"/>
                <a:gd name="T115" fmla="*/ 103 h 894"/>
                <a:gd name="T116" fmla="*/ 44 w 722"/>
                <a:gd name="T117" fmla="*/ 118 h 894"/>
                <a:gd name="T118" fmla="*/ 43 w 722"/>
                <a:gd name="T119" fmla="*/ 134 h 894"/>
                <a:gd name="T120" fmla="*/ 24 w 722"/>
                <a:gd name="T121" fmla="*/ 144 h 894"/>
                <a:gd name="T122" fmla="*/ 19 w 722"/>
                <a:gd name="T123" fmla="*/ 148 h 8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22"/>
                <a:gd name="T187" fmla="*/ 0 h 894"/>
                <a:gd name="T188" fmla="*/ 722 w 722"/>
                <a:gd name="T189" fmla="*/ 894 h 8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22" h="894">
                  <a:moveTo>
                    <a:pt x="74" y="591"/>
                  </a:moveTo>
                  <a:lnTo>
                    <a:pt x="94" y="620"/>
                  </a:lnTo>
                  <a:lnTo>
                    <a:pt x="133" y="652"/>
                  </a:lnTo>
                  <a:lnTo>
                    <a:pt x="165" y="650"/>
                  </a:lnTo>
                  <a:lnTo>
                    <a:pt x="202" y="669"/>
                  </a:lnTo>
                  <a:lnTo>
                    <a:pt x="202" y="766"/>
                  </a:lnTo>
                  <a:lnTo>
                    <a:pt x="234" y="807"/>
                  </a:lnTo>
                  <a:lnTo>
                    <a:pt x="250" y="868"/>
                  </a:lnTo>
                  <a:lnTo>
                    <a:pt x="267" y="872"/>
                  </a:lnTo>
                  <a:lnTo>
                    <a:pt x="303" y="827"/>
                  </a:lnTo>
                  <a:lnTo>
                    <a:pt x="338" y="815"/>
                  </a:lnTo>
                  <a:lnTo>
                    <a:pt x="358" y="841"/>
                  </a:lnTo>
                  <a:lnTo>
                    <a:pt x="326" y="878"/>
                  </a:lnTo>
                  <a:lnTo>
                    <a:pt x="366" y="894"/>
                  </a:lnTo>
                  <a:lnTo>
                    <a:pt x="425" y="833"/>
                  </a:lnTo>
                  <a:lnTo>
                    <a:pt x="454" y="868"/>
                  </a:lnTo>
                  <a:lnTo>
                    <a:pt x="531" y="870"/>
                  </a:lnTo>
                  <a:lnTo>
                    <a:pt x="557" y="886"/>
                  </a:lnTo>
                  <a:lnTo>
                    <a:pt x="616" y="825"/>
                  </a:lnTo>
                  <a:lnTo>
                    <a:pt x="645" y="752"/>
                  </a:lnTo>
                  <a:lnTo>
                    <a:pt x="673" y="709"/>
                  </a:lnTo>
                  <a:lnTo>
                    <a:pt x="704" y="697"/>
                  </a:lnTo>
                  <a:lnTo>
                    <a:pt x="683" y="654"/>
                  </a:lnTo>
                  <a:lnTo>
                    <a:pt x="722" y="604"/>
                  </a:lnTo>
                  <a:lnTo>
                    <a:pt x="720" y="563"/>
                  </a:lnTo>
                  <a:lnTo>
                    <a:pt x="689" y="567"/>
                  </a:lnTo>
                  <a:lnTo>
                    <a:pt x="647" y="551"/>
                  </a:lnTo>
                  <a:lnTo>
                    <a:pt x="598" y="567"/>
                  </a:lnTo>
                  <a:lnTo>
                    <a:pt x="588" y="508"/>
                  </a:lnTo>
                  <a:lnTo>
                    <a:pt x="533" y="482"/>
                  </a:lnTo>
                  <a:lnTo>
                    <a:pt x="521" y="429"/>
                  </a:lnTo>
                  <a:lnTo>
                    <a:pt x="549" y="386"/>
                  </a:lnTo>
                  <a:lnTo>
                    <a:pt x="496" y="331"/>
                  </a:lnTo>
                  <a:lnTo>
                    <a:pt x="431" y="252"/>
                  </a:lnTo>
                  <a:lnTo>
                    <a:pt x="435" y="185"/>
                  </a:lnTo>
                  <a:lnTo>
                    <a:pt x="403" y="166"/>
                  </a:lnTo>
                  <a:lnTo>
                    <a:pt x="374" y="173"/>
                  </a:lnTo>
                  <a:lnTo>
                    <a:pt x="358" y="138"/>
                  </a:lnTo>
                  <a:lnTo>
                    <a:pt x="291" y="136"/>
                  </a:lnTo>
                  <a:lnTo>
                    <a:pt x="305" y="47"/>
                  </a:lnTo>
                  <a:lnTo>
                    <a:pt x="273" y="61"/>
                  </a:lnTo>
                  <a:lnTo>
                    <a:pt x="214" y="0"/>
                  </a:lnTo>
                  <a:lnTo>
                    <a:pt x="177" y="16"/>
                  </a:lnTo>
                  <a:lnTo>
                    <a:pt x="157" y="63"/>
                  </a:lnTo>
                  <a:lnTo>
                    <a:pt x="137" y="67"/>
                  </a:lnTo>
                  <a:lnTo>
                    <a:pt x="149" y="101"/>
                  </a:lnTo>
                  <a:lnTo>
                    <a:pt x="204" y="122"/>
                  </a:lnTo>
                  <a:lnTo>
                    <a:pt x="222" y="183"/>
                  </a:lnTo>
                  <a:lnTo>
                    <a:pt x="167" y="215"/>
                  </a:lnTo>
                  <a:lnTo>
                    <a:pt x="114" y="166"/>
                  </a:lnTo>
                  <a:lnTo>
                    <a:pt x="67" y="195"/>
                  </a:lnTo>
                  <a:lnTo>
                    <a:pt x="86" y="250"/>
                  </a:lnTo>
                  <a:lnTo>
                    <a:pt x="49" y="282"/>
                  </a:lnTo>
                  <a:lnTo>
                    <a:pt x="53" y="335"/>
                  </a:lnTo>
                  <a:lnTo>
                    <a:pt x="0" y="349"/>
                  </a:lnTo>
                  <a:lnTo>
                    <a:pt x="43" y="384"/>
                  </a:lnTo>
                  <a:lnTo>
                    <a:pt x="98" y="447"/>
                  </a:lnTo>
                  <a:lnTo>
                    <a:pt x="157" y="410"/>
                  </a:lnTo>
                  <a:lnTo>
                    <a:pt x="175" y="473"/>
                  </a:lnTo>
                  <a:lnTo>
                    <a:pt x="171" y="536"/>
                  </a:lnTo>
                  <a:lnTo>
                    <a:pt x="96" y="575"/>
                  </a:lnTo>
                  <a:lnTo>
                    <a:pt x="74" y="591"/>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6" name="Freeform 120"/>
            <p:cNvSpPr/>
            <p:nvPr/>
          </p:nvSpPr>
          <p:spPr bwMode="gray">
            <a:xfrm>
              <a:off x="3477" y="2497"/>
              <a:ext cx="361" cy="447"/>
            </a:xfrm>
            <a:custGeom>
              <a:avLst/>
              <a:gdLst>
                <a:gd name="T0" fmla="*/ 19 w 722"/>
                <a:gd name="T1" fmla="*/ 148 h 894"/>
                <a:gd name="T2" fmla="*/ 23 w 722"/>
                <a:gd name="T3" fmla="*/ 155 h 894"/>
                <a:gd name="T4" fmla="*/ 34 w 722"/>
                <a:gd name="T5" fmla="*/ 163 h 894"/>
                <a:gd name="T6" fmla="*/ 42 w 722"/>
                <a:gd name="T7" fmla="*/ 163 h 894"/>
                <a:gd name="T8" fmla="*/ 50 w 722"/>
                <a:gd name="T9" fmla="*/ 168 h 894"/>
                <a:gd name="T10" fmla="*/ 50 w 722"/>
                <a:gd name="T11" fmla="*/ 192 h 894"/>
                <a:gd name="T12" fmla="*/ 58 w 722"/>
                <a:gd name="T13" fmla="*/ 202 h 894"/>
                <a:gd name="T14" fmla="*/ 62 w 722"/>
                <a:gd name="T15" fmla="*/ 217 h 894"/>
                <a:gd name="T16" fmla="*/ 67 w 722"/>
                <a:gd name="T17" fmla="*/ 218 h 894"/>
                <a:gd name="T18" fmla="*/ 76 w 722"/>
                <a:gd name="T19" fmla="*/ 207 h 894"/>
                <a:gd name="T20" fmla="*/ 85 w 722"/>
                <a:gd name="T21" fmla="*/ 204 h 894"/>
                <a:gd name="T22" fmla="*/ 90 w 722"/>
                <a:gd name="T23" fmla="*/ 211 h 894"/>
                <a:gd name="T24" fmla="*/ 82 w 722"/>
                <a:gd name="T25" fmla="*/ 220 h 894"/>
                <a:gd name="T26" fmla="*/ 91 w 722"/>
                <a:gd name="T27" fmla="*/ 224 h 894"/>
                <a:gd name="T28" fmla="*/ 106 w 722"/>
                <a:gd name="T29" fmla="*/ 209 h 894"/>
                <a:gd name="T30" fmla="*/ 113 w 722"/>
                <a:gd name="T31" fmla="*/ 217 h 894"/>
                <a:gd name="T32" fmla="*/ 133 w 722"/>
                <a:gd name="T33" fmla="*/ 218 h 894"/>
                <a:gd name="T34" fmla="*/ 140 w 722"/>
                <a:gd name="T35" fmla="*/ 222 h 894"/>
                <a:gd name="T36" fmla="*/ 154 w 722"/>
                <a:gd name="T37" fmla="*/ 207 h 894"/>
                <a:gd name="T38" fmla="*/ 162 w 722"/>
                <a:gd name="T39" fmla="*/ 188 h 894"/>
                <a:gd name="T40" fmla="*/ 169 w 722"/>
                <a:gd name="T41" fmla="*/ 178 h 894"/>
                <a:gd name="T42" fmla="*/ 176 w 722"/>
                <a:gd name="T43" fmla="*/ 175 h 894"/>
                <a:gd name="T44" fmla="*/ 171 w 722"/>
                <a:gd name="T45" fmla="*/ 164 h 894"/>
                <a:gd name="T46" fmla="*/ 181 w 722"/>
                <a:gd name="T47" fmla="*/ 151 h 894"/>
                <a:gd name="T48" fmla="*/ 180 w 722"/>
                <a:gd name="T49" fmla="*/ 141 h 894"/>
                <a:gd name="T50" fmla="*/ 173 w 722"/>
                <a:gd name="T51" fmla="*/ 142 h 894"/>
                <a:gd name="T52" fmla="*/ 162 w 722"/>
                <a:gd name="T53" fmla="*/ 138 h 894"/>
                <a:gd name="T54" fmla="*/ 150 w 722"/>
                <a:gd name="T55" fmla="*/ 142 h 894"/>
                <a:gd name="T56" fmla="*/ 147 w 722"/>
                <a:gd name="T57" fmla="*/ 127 h 894"/>
                <a:gd name="T58" fmla="*/ 134 w 722"/>
                <a:gd name="T59" fmla="*/ 120 h 894"/>
                <a:gd name="T60" fmla="*/ 131 w 722"/>
                <a:gd name="T61" fmla="*/ 108 h 894"/>
                <a:gd name="T62" fmla="*/ 138 w 722"/>
                <a:gd name="T63" fmla="*/ 97 h 894"/>
                <a:gd name="T64" fmla="*/ 124 w 722"/>
                <a:gd name="T65" fmla="*/ 83 h 894"/>
                <a:gd name="T66" fmla="*/ 108 w 722"/>
                <a:gd name="T67" fmla="*/ 63 h 894"/>
                <a:gd name="T68" fmla="*/ 109 w 722"/>
                <a:gd name="T69" fmla="*/ 47 h 894"/>
                <a:gd name="T70" fmla="*/ 101 w 722"/>
                <a:gd name="T71" fmla="*/ 42 h 894"/>
                <a:gd name="T72" fmla="*/ 93 w 722"/>
                <a:gd name="T73" fmla="*/ 44 h 894"/>
                <a:gd name="T74" fmla="*/ 90 w 722"/>
                <a:gd name="T75" fmla="*/ 35 h 894"/>
                <a:gd name="T76" fmla="*/ 73 w 722"/>
                <a:gd name="T77" fmla="*/ 34 h 894"/>
                <a:gd name="T78" fmla="*/ 77 w 722"/>
                <a:gd name="T79" fmla="*/ 12 h 894"/>
                <a:gd name="T80" fmla="*/ 69 w 722"/>
                <a:gd name="T81" fmla="*/ 15 h 894"/>
                <a:gd name="T82" fmla="*/ 53 w 722"/>
                <a:gd name="T83" fmla="*/ 0 h 894"/>
                <a:gd name="T84" fmla="*/ 45 w 722"/>
                <a:gd name="T85" fmla="*/ 4 h 894"/>
                <a:gd name="T86" fmla="*/ 40 w 722"/>
                <a:gd name="T87" fmla="*/ 16 h 894"/>
                <a:gd name="T88" fmla="*/ 35 w 722"/>
                <a:gd name="T89" fmla="*/ 17 h 894"/>
                <a:gd name="T90" fmla="*/ 38 w 722"/>
                <a:gd name="T91" fmla="*/ 26 h 894"/>
                <a:gd name="T92" fmla="*/ 51 w 722"/>
                <a:gd name="T93" fmla="*/ 30 h 894"/>
                <a:gd name="T94" fmla="*/ 55 w 722"/>
                <a:gd name="T95" fmla="*/ 46 h 894"/>
                <a:gd name="T96" fmla="*/ 42 w 722"/>
                <a:gd name="T97" fmla="*/ 54 h 894"/>
                <a:gd name="T98" fmla="*/ 28 w 722"/>
                <a:gd name="T99" fmla="*/ 42 h 894"/>
                <a:gd name="T100" fmla="*/ 17 w 722"/>
                <a:gd name="T101" fmla="*/ 49 h 894"/>
                <a:gd name="T102" fmla="*/ 22 w 722"/>
                <a:gd name="T103" fmla="*/ 62 h 894"/>
                <a:gd name="T104" fmla="*/ 12 w 722"/>
                <a:gd name="T105" fmla="*/ 71 h 894"/>
                <a:gd name="T106" fmla="*/ 13 w 722"/>
                <a:gd name="T107" fmla="*/ 84 h 894"/>
                <a:gd name="T108" fmla="*/ 0 w 722"/>
                <a:gd name="T109" fmla="*/ 88 h 894"/>
                <a:gd name="T110" fmla="*/ 11 w 722"/>
                <a:gd name="T111" fmla="*/ 96 h 894"/>
                <a:gd name="T112" fmla="*/ 24 w 722"/>
                <a:gd name="T113" fmla="*/ 112 h 894"/>
                <a:gd name="T114" fmla="*/ 40 w 722"/>
                <a:gd name="T115" fmla="*/ 103 h 894"/>
                <a:gd name="T116" fmla="*/ 44 w 722"/>
                <a:gd name="T117" fmla="*/ 118 h 894"/>
                <a:gd name="T118" fmla="*/ 43 w 722"/>
                <a:gd name="T119" fmla="*/ 134 h 894"/>
                <a:gd name="T120" fmla="*/ 24 w 722"/>
                <a:gd name="T121" fmla="*/ 144 h 894"/>
                <a:gd name="T122" fmla="*/ 19 w 722"/>
                <a:gd name="T123" fmla="*/ 148 h 8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22"/>
                <a:gd name="T187" fmla="*/ 0 h 894"/>
                <a:gd name="T188" fmla="*/ 722 w 722"/>
                <a:gd name="T189" fmla="*/ 894 h 8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22" h="894">
                  <a:moveTo>
                    <a:pt x="74" y="591"/>
                  </a:moveTo>
                  <a:lnTo>
                    <a:pt x="94" y="620"/>
                  </a:lnTo>
                  <a:lnTo>
                    <a:pt x="133" y="652"/>
                  </a:lnTo>
                  <a:lnTo>
                    <a:pt x="165" y="650"/>
                  </a:lnTo>
                  <a:lnTo>
                    <a:pt x="202" y="669"/>
                  </a:lnTo>
                  <a:lnTo>
                    <a:pt x="202" y="766"/>
                  </a:lnTo>
                  <a:lnTo>
                    <a:pt x="234" y="807"/>
                  </a:lnTo>
                  <a:lnTo>
                    <a:pt x="250" y="868"/>
                  </a:lnTo>
                  <a:lnTo>
                    <a:pt x="267" y="872"/>
                  </a:lnTo>
                  <a:lnTo>
                    <a:pt x="303" y="827"/>
                  </a:lnTo>
                  <a:lnTo>
                    <a:pt x="338" y="815"/>
                  </a:lnTo>
                  <a:lnTo>
                    <a:pt x="358" y="841"/>
                  </a:lnTo>
                  <a:lnTo>
                    <a:pt x="326" y="878"/>
                  </a:lnTo>
                  <a:lnTo>
                    <a:pt x="366" y="894"/>
                  </a:lnTo>
                  <a:lnTo>
                    <a:pt x="425" y="833"/>
                  </a:lnTo>
                  <a:lnTo>
                    <a:pt x="454" y="868"/>
                  </a:lnTo>
                  <a:lnTo>
                    <a:pt x="531" y="870"/>
                  </a:lnTo>
                  <a:lnTo>
                    <a:pt x="557" y="886"/>
                  </a:lnTo>
                  <a:lnTo>
                    <a:pt x="616" y="825"/>
                  </a:lnTo>
                  <a:lnTo>
                    <a:pt x="645" y="752"/>
                  </a:lnTo>
                  <a:lnTo>
                    <a:pt x="673" y="709"/>
                  </a:lnTo>
                  <a:lnTo>
                    <a:pt x="704" y="697"/>
                  </a:lnTo>
                  <a:lnTo>
                    <a:pt x="683" y="654"/>
                  </a:lnTo>
                  <a:lnTo>
                    <a:pt x="722" y="604"/>
                  </a:lnTo>
                  <a:lnTo>
                    <a:pt x="720" y="563"/>
                  </a:lnTo>
                  <a:lnTo>
                    <a:pt x="689" y="567"/>
                  </a:lnTo>
                  <a:lnTo>
                    <a:pt x="647" y="551"/>
                  </a:lnTo>
                  <a:lnTo>
                    <a:pt x="598" y="567"/>
                  </a:lnTo>
                  <a:lnTo>
                    <a:pt x="588" y="508"/>
                  </a:lnTo>
                  <a:lnTo>
                    <a:pt x="533" y="482"/>
                  </a:lnTo>
                  <a:lnTo>
                    <a:pt x="521" y="429"/>
                  </a:lnTo>
                  <a:lnTo>
                    <a:pt x="549" y="386"/>
                  </a:lnTo>
                  <a:lnTo>
                    <a:pt x="496" y="331"/>
                  </a:lnTo>
                  <a:lnTo>
                    <a:pt x="431" y="252"/>
                  </a:lnTo>
                  <a:lnTo>
                    <a:pt x="435" y="185"/>
                  </a:lnTo>
                  <a:lnTo>
                    <a:pt x="403" y="166"/>
                  </a:lnTo>
                  <a:lnTo>
                    <a:pt x="374" y="173"/>
                  </a:lnTo>
                  <a:lnTo>
                    <a:pt x="358" y="138"/>
                  </a:lnTo>
                  <a:lnTo>
                    <a:pt x="291" y="136"/>
                  </a:lnTo>
                  <a:lnTo>
                    <a:pt x="305" y="47"/>
                  </a:lnTo>
                  <a:lnTo>
                    <a:pt x="273" y="61"/>
                  </a:lnTo>
                  <a:lnTo>
                    <a:pt x="214" y="0"/>
                  </a:lnTo>
                  <a:lnTo>
                    <a:pt x="177" y="16"/>
                  </a:lnTo>
                  <a:lnTo>
                    <a:pt x="157" y="63"/>
                  </a:lnTo>
                  <a:lnTo>
                    <a:pt x="137" y="67"/>
                  </a:lnTo>
                  <a:lnTo>
                    <a:pt x="149" y="101"/>
                  </a:lnTo>
                  <a:lnTo>
                    <a:pt x="204" y="122"/>
                  </a:lnTo>
                  <a:lnTo>
                    <a:pt x="222" y="183"/>
                  </a:lnTo>
                  <a:lnTo>
                    <a:pt x="167" y="215"/>
                  </a:lnTo>
                  <a:lnTo>
                    <a:pt x="114" y="166"/>
                  </a:lnTo>
                  <a:lnTo>
                    <a:pt x="67" y="195"/>
                  </a:lnTo>
                  <a:lnTo>
                    <a:pt x="86" y="250"/>
                  </a:lnTo>
                  <a:lnTo>
                    <a:pt x="49" y="282"/>
                  </a:lnTo>
                  <a:lnTo>
                    <a:pt x="53" y="335"/>
                  </a:lnTo>
                  <a:lnTo>
                    <a:pt x="0" y="349"/>
                  </a:lnTo>
                  <a:lnTo>
                    <a:pt x="43" y="384"/>
                  </a:lnTo>
                  <a:lnTo>
                    <a:pt x="98" y="447"/>
                  </a:lnTo>
                  <a:lnTo>
                    <a:pt x="157" y="410"/>
                  </a:lnTo>
                  <a:lnTo>
                    <a:pt x="175" y="473"/>
                  </a:lnTo>
                  <a:lnTo>
                    <a:pt x="171" y="536"/>
                  </a:lnTo>
                  <a:lnTo>
                    <a:pt x="96" y="575"/>
                  </a:lnTo>
                  <a:lnTo>
                    <a:pt x="74" y="591"/>
                  </a:lnTo>
                </a:path>
              </a:pathLst>
            </a:custGeom>
            <a:grpFill/>
            <a:ln w="6350">
              <a:solidFill>
                <a:schemeClr val="tx1">
                  <a:lumMod val="85000"/>
                  <a:lumOff val="15000"/>
                </a:schemeClr>
              </a:solidFill>
              <a:prstDash val="solid"/>
              <a:round/>
            </a:ln>
          </p:spPr>
          <p:txBody>
            <a:bodyPr/>
            <a:lstStyle/>
            <a:p>
              <a:endParaRPr lang="zh-CN" altLang="en-US" sz="2400"/>
            </a:p>
          </p:txBody>
        </p:sp>
        <p:sp>
          <p:nvSpPr>
            <p:cNvPr id="77" name="Freeform 121"/>
            <p:cNvSpPr/>
            <p:nvPr/>
          </p:nvSpPr>
          <p:spPr bwMode="gray">
            <a:xfrm>
              <a:off x="3034" y="2686"/>
              <a:ext cx="568" cy="356"/>
            </a:xfrm>
            <a:custGeom>
              <a:avLst/>
              <a:gdLst>
                <a:gd name="T0" fmla="*/ 40 w 1136"/>
                <a:gd name="T1" fmla="*/ 51 h 713"/>
                <a:gd name="T2" fmla="*/ 52 w 1136"/>
                <a:gd name="T3" fmla="*/ 64 h 713"/>
                <a:gd name="T4" fmla="*/ 58 w 1136"/>
                <a:gd name="T5" fmla="*/ 104 h 713"/>
                <a:gd name="T6" fmla="*/ 35 w 1136"/>
                <a:gd name="T7" fmla="*/ 118 h 713"/>
                <a:gd name="T8" fmla="*/ 0 w 1136"/>
                <a:gd name="T9" fmla="*/ 129 h 713"/>
                <a:gd name="T10" fmla="*/ 20 w 1136"/>
                <a:gd name="T11" fmla="*/ 167 h 713"/>
                <a:gd name="T12" fmla="*/ 40 w 1136"/>
                <a:gd name="T13" fmla="*/ 162 h 713"/>
                <a:gd name="T14" fmla="*/ 80 w 1136"/>
                <a:gd name="T15" fmla="*/ 153 h 713"/>
                <a:gd name="T16" fmla="*/ 76 w 1136"/>
                <a:gd name="T17" fmla="*/ 136 h 713"/>
                <a:gd name="T18" fmla="*/ 115 w 1136"/>
                <a:gd name="T19" fmla="*/ 138 h 713"/>
                <a:gd name="T20" fmla="*/ 147 w 1136"/>
                <a:gd name="T21" fmla="*/ 149 h 713"/>
                <a:gd name="T22" fmla="*/ 170 w 1136"/>
                <a:gd name="T23" fmla="*/ 142 h 713"/>
                <a:gd name="T24" fmla="*/ 189 w 1136"/>
                <a:gd name="T25" fmla="*/ 138 h 713"/>
                <a:gd name="T26" fmla="*/ 196 w 1136"/>
                <a:gd name="T27" fmla="*/ 160 h 713"/>
                <a:gd name="T28" fmla="*/ 221 w 1136"/>
                <a:gd name="T29" fmla="*/ 152 h 713"/>
                <a:gd name="T30" fmla="*/ 247 w 1136"/>
                <a:gd name="T31" fmla="*/ 135 h 713"/>
                <a:gd name="T32" fmla="*/ 264 w 1136"/>
                <a:gd name="T33" fmla="*/ 124 h 713"/>
                <a:gd name="T34" fmla="*/ 284 w 1136"/>
                <a:gd name="T35" fmla="*/ 122 h 713"/>
                <a:gd name="T36" fmla="*/ 272 w 1136"/>
                <a:gd name="T37" fmla="*/ 97 h 713"/>
                <a:gd name="T38" fmla="*/ 263 w 1136"/>
                <a:gd name="T39" fmla="*/ 68 h 713"/>
                <a:gd name="T40" fmla="*/ 245 w 1136"/>
                <a:gd name="T41" fmla="*/ 60 h 713"/>
                <a:gd name="T42" fmla="*/ 225 w 1136"/>
                <a:gd name="T43" fmla="*/ 59 h 713"/>
                <a:gd name="T44" fmla="*/ 196 w 1136"/>
                <a:gd name="T45" fmla="*/ 50 h 713"/>
                <a:gd name="T46" fmla="*/ 186 w 1136"/>
                <a:gd name="T47" fmla="*/ 24 h 713"/>
                <a:gd name="T48" fmla="*/ 157 w 1136"/>
                <a:gd name="T49" fmla="*/ 26 h 713"/>
                <a:gd name="T50" fmla="*/ 107 w 1136"/>
                <a:gd name="T51" fmla="*/ 21 h 713"/>
                <a:gd name="T52" fmla="*/ 71 w 1136"/>
                <a:gd name="T53" fmla="*/ 6 h 713"/>
                <a:gd name="T54" fmla="*/ 50 w 1136"/>
                <a:gd name="T55" fmla="*/ 4 h 713"/>
                <a:gd name="T56" fmla="*/ 43 w 1136"/>
                <a:gd name="T57" fmla="*/ 2 h 713"/>
                <a:gd name="T58" fmla="*/ 35 w 1136"/>
                <a:gd name="T59" fmla="*/ 1 h 713"/>
                <a:gd name="T60" fmla="*/ 34 w 1136"/>
                <a:gd name="T61" fmla="*/ 2 h 713"/>
                <a:gd name="T62" fmla="*/ 31 w 1136"/>
                <a:gd name="T63" fmla="*/ 7 h 713"/>
                <a:gd name="T64" fmla="*/ 29 w 1136"/>
                <a:gd name="T65" fmla="*/ 9 h 713"/>
                <a:gd name="T66" fmla="*/ 54 w 1136"/>
                <a:gd name="T67" fmla="*/ 24 h 713"/>
                <a:gd name="T68" fmla="*/ 33 w 1136"/>
                <a:gd name="T69" fmla="*/ 42 h 71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6"/>
                <a:gd name="T106" fmla="*/ 0 h 713"/>
                <a:gd name="T107" fmla="*/ 1136 w 1136"/>
                <a:gd name="T108" fmla="*/ 713 h 71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6" h="713">
                  <a:moveTo>
                    <a:pt x="130" y="169"/>
                  </a:moveTo>
                  <a:lnTo>
                    <a:pt x="159" y="205"/>
                  </a:lnTo>
                  <a:lnTo>
                    <a:pt x="157" y="258"/>
                  </a:lnTo>
                  <a:lnTo>
                    <a:pt x="208" y="256"/>
                  </a:lnTo>
                  <a:lnTo>
                    <a:pt x="236" y="331"/>
                  </a:lnTo>
                  <a:lnTo>
                    <a:pt x="234" y="417"/>
                  </a:lnTo>
                  <a:lnTo>
                    <a:pt x="183" y="425"/>
                  </a:lnTo>
                  <a:lnTo>
                    <a:pt x="140" y="474"/>
                  </a:lnTo>
                  <a:lnTo>
                    <a:pt x="33" y="482"/>
                  </a:lnTo>
                  <a:lnTo>
                    <a:pt x="0" y="516"/>
                  </a:lnTo>
                  <a:lnTo>
                    <a:pt x="23" y="591"/>
                  </a:lnTo>
                  <a:lnTo>
                    <a:pt x="82" y="671"/>
                  </a:lnTo>
                  <a:lnTo>
                    <a:pt x="134" y="713"/>
                  </a:lnTo>
                  <a:lnTo>
                    <a:pt x="161" y="648"/>
                  </a:lnTo>
                  <a:lnTo>
                    <a:pt x="220" y="596"/>
                  </a:lnTo>
                  <a:lnTo>
                    <a:pt x="319" y="612"/>
                  </a:lnTo>
                  <a:lnTo>
                    <a:pt x="332" y="585"/>
                  </a:lnTo>
                  <a:lnTo>
                    <a:pt x="303" y="545"/>
                  </a:lnTo>
                  <a:lnTo>
                    <a:pt x="372" y="528"/>
                  </a:lnTo>
                  <a:lnTo>
                    <a:pt x="460" y="555"/>
                  </a:lnTo>
                  <a:lnTo>
                    <a:pt x="531" y="559"/>
                  </a:lnTo>
                  <a:lnTo>
                    <a:pt x="588" y="598"/>
                  </a:lnTo>
                  <a:lnTo>
                    <a:pt x="649" y="563"/>
                  </a:lnTo>
                  <a:lnTo>
                    <a:pt x="681" y="569"/>
                  </a:lnTo>
                  <a:lnTo>
                    <a:pt x="687" y="600"/>
                  </a:lnTo>
                  <a:lnTo>
                    <a:pt x="758" y="553"/>
                  </a:lnTo>
                  <a:lnTo>
                    <a:pt x="791" y="587"/>
                  </a:lnTo>
                  <a:lnTo>
                    <a:pt x="785" y="640"/>
                  </a:lnTo>
                  <a:lnTo>
                    <a:pt x="832" y="654"/>
                  </a:lnTo>
                  <a:lnTo>
                    <a:pt x="884" y="608"/>
                  </a:lnTo>
                  <a:lnTo>
                    <a:pt x="947" y="594"/>
                  </a:lnTo>
                  <a:lnTo>
                    <a:pt x="988" y="543"/>
                  </a:lnTo>
                  <a:lnTo>
                    <a:pt x="1019" y="533"/>
                  </a:lnTo>
                  <a:lnTo>
                    <a:pt x="1055" y="496"/>
                  </a:lnTo>
                  <a:lnTo>
                    <a:pt x="1108" y="516"/>
                  </a:lnTo>
                  <a:lnTo>
                    <a:pt x="1136" y="490"/>
                  </a:lnTo>
                  <a:lnTo>
                    <a:pt x="1122" y="431"/>
                  </a:lnTo>
                  <a:lnTo>
                    <a:pt x="1088" y="388"/>
                  </a:lnTo>
                  <a:lnTo>
                    <a:pt x="1088" y="291"/>
                  </a:lnTo>
                  <a:lnTo>
                    <a:pt x="1051" y="272"/>
                  </a:lnTo>
                  <a:lnTo>
                    <a:pt x="1019" y="274"/>
                  </a:lnTo>
                  <a:lnTo>
                    <a:pt x="980" y="242"/>
                  </a:lnTo>
                  <a:lnTo>
                    <a:pt x="960" y="213"/>
                  </a:lnTo>
                  <a:lnTo>
                    <a:pt x="901" y="236"/>
                  </a:lnTo>
                  <a:lnTo>
                    <a:pt x="836" y="187"/>
                  </a:lnTo>
                  <a:lnTo>
                    <a:pt x="783" y="203"/>
                  </a:lnTo>
                  <a:lnTo>
                    <a:pt x="748" y="160"/>
                  </a:lnTo>
                  <a:lnTo>
                    <a:pt x="744" y="98"/>
                  </a:lnTo>
                  <a:lnTo>
                    <a:pt x="677" y="126"/>
                  </a:lnTo>
                  <a:lnTo>
                    <a:pt x="628" y="106"/>
                  </a:lnTo>
                  <a:lnTo>
                    <a:pt x="514" y="124"/>
                  </a:lnTo>
                  <a:lnTo>
                    <a:pt x="427" y="87"/>
                  </a:lnTo>
                  <a:lnTo>
                    <a:pt x="329" y="0"/>
                  </a:lnTo>
                  <a:lnTo>
                    <a:pt x="283" y="24"/>
                  </a:lnTo>
                  <a:lnTo>
                    <a:pt x="205" y="18"/>
                  </a:lnTo>
                  <a:lnTo>
                    <a:pt x="201" y="16"/>
                  </a:lnTo>
                  <a:lnTo>
                    <a:pt x="187" y="14"/>
                  </a:lnTo>
                  <a:lnTo>
                    <a:pt x="171" y="10"/>
                  </a:lnTo>
                  <a:lnTo>
                    <a:pt x="153" y="6"/>
                  </a:lnTo>
                  <a:lnTo>
                    <a:pt x="140" y="4"/>
                  </a:lnTo>
                  <a:lnTo>
                    <a:pt x="136" y="4"/>
                  </a:lnTo>
                  <a:lnTo>
                    <a:pt x="134" y="8"/>
                  </a:lnTo>
                  <a:lnTo>
                    <a:pt x="130" y="18"/>
                  </a:lnTo>
                  <a:lnTo>
                    <a:pt x="124" y="28"/>
                  </a:lnTo>
                  <a:lnTo>
                    <a:pt x="120" y="36"/>
                  </a:lnTo>
                  <a:lnTo>
                    <a:pt x="118" y="39"/>
                  </a:lnTo>
                  <a:lnTo>
                    <a:pt x="181" y="79"/>
                  </a:lnTo>
                  <a:lnTo>
                    <a:pt x="216" y="98"/>
                  </a:lnTo>
                  <a:lnTo>
                    <a:pt x="151" y="140"/>
                  </a:lnTo>
                  <a:lnTo>
                    <a:pt x="130" y="16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78" name="Freeform 122"/>
            <p:cNvSpPr/>
            <p:nvPr/>
          </p:nvSpPr>
          <p:spPr bwMode="gray">
            <a:xfrm>
              <a:off x="3034" y="2686"/>
              <a:ext cx="568" cy="356"/>
            </a:xfrm>
            <a:custGeom>
              <a:avLst/>
              <a:gdLst>
                <a:gd name="T0" fmla="*/ 40 w 1136"/>
                <a:gd name="T1" fmla="*/ 51 h 713"/>
                <a:gd name="T2" fmla="*/ 52 w 1136"/>
                <a:gd name="T3" fmla="*/ 64 h 713"/>
                <a:gd name="T4" fmla="*/ 58 w 1136"/>
                <a:gd name="T5" fmla="*/ 104 h 713"/>
                <a:gd name="T6" fmla="*/ 35 w 1136"/>
                <a:gd name="T7" fmla="*/ 118 h 713"/>
                <a:gd name="T8" fmla="*/ 0 w 1136"/>
                <a:gd name="T9" fmla="*/ 129 h 713"/>
                <a:gd name="T10" fmla="*/ 20 w 1136"/>
                <a:gd name="T11" fmla="*/ 167 h 713"/>
                <a:gd name="T12" fmla="*/ 40 w 1136"/>
                <a:gd name="T13" fmla="*/ 162 h 713"/>
                <a:gd name="T14" fmla="*/ 80 w 1136"/>
                <a:gd name="T15" fmla="*/ 153 h 713"/>
                <a:gd name="T16" fmla="*/ 76 w 1136"/>
                <a:gd name="T17" fmla="*/ 136 h 713"/>
                <a:gd name="T18" fmla="*/ 115 w 1136"/>
                <a:gd name="T19" fmla="*/ 138 h 713"/>
                <a:gd name="T20" fmla="*/ 147 w 1136"/>
                <a:gd name="T21" fmla="*/ 149 h 713"/>
                <a:gd name="T22" fmla="*/ 170 w 1136"/>
                <a:gd name="T23" fmla="*/ 142 h 713"/>
                <a:gd name="T24" fmla="*/ 189 w 1136"/>
                <a:gd name="T25" fmla="*/ 138 h 713"/>
                <a:gd name="T26" fmla="*/ 196 w 1136"/>
                <a:gd name="T27" fmla="*/ 160 h 713"/>
                <a:gd name="T28" fmla="*/ 221 w 1136"/>
                <a:gd name="T29" fmla="*/ 152 h 713"/>
                <a:gd name="T30" fmla="*/ 247 w 1136"/>
                <a:gd name="T31" fmla="*/ 135 h 713"/>
                <a:gd name="T32" fmla="*/ 264 w 1136"/>
                <a:gd name="T33" fmla="*/ 124 h 713"/>
                <a:gd name="T34" fmla="*/ 284 w 1136"/>
                <a:gd name="T35" fmla="*/ 122 h 713"/>
                <a:gd name="T36" fmla="*/ 272 w 1136"/>
                <a:gd name="T37" fmla="*/ 97 h 713"/>
                <a:gd name="T38" fmla="*/ 263 w 1136"/>
                <a:gd name="T39" fmla="*/ 68 h 713"/>
                <a:gd name="T40" fmla="*/ 245 w 1136"/>
                <a:gd name="T41" fmla="*/ 60 h 713"/>
                <a:gd name="T42" fmla="*/ 225 w 1136"/>
                <a:gd name="T43" fmla="*/ 59 h 713"/>
                <a:gd name="T44" fmla="*/ 196 w 1136"/>
                <a:gd name="T45" fmla="*/ 50 h 713"/>
                <a:gd name="T46" fmla="*/ 186 w 1136"/>
                <a:gd name="T47" fmla="*/ 24 h 713"/>
                <a:gd name="T48" fmla="*/ 157 w 1136"/>
                <a:gd name="T49" fmla="*/ 26 h 713"/>
                <a:gd name="T50" fmla="*/ 107 w 1136"/>
                <a:gd name="T51" fmla="*/ 21 h 713"/>
                <a:gd name="T52" fmla="*/ 71 w 1136"/>
                <a:gd name="T53" fmla="*/ 6 h 713"/>
                <a:gd name="T54" fmla="*/ 50 w 1136"/>
                <a:gd name="T55" fmla="*/ 4 h 713"/>
                <a:gd name="T56" fmla="*/ 43 w 1136"/>
                <a:gd name="T57" fmla="*/ 2 h 713"/>
                <a:gd name="T58" fmla="*/ 35 w 1136"/>
                <a:gd name="T59" fmla="*/ 1 h 713"/>
                <a:gd name="T60" fmla="*/ 34 w 1136"/>
                <a:gd name="T61" fmla="*/ 2 h 713"/>
                <a:gd name="T62" fmla="*/ 31 w 1136"/>
                <a:gd name="T63" fmla="*/ 7 h 713"/>
                <a:gd name="T64" fmla="*/ 29 w 1136"/>
                <a:gd name="T65" fmla="*/ 9 h 713"/>
                <a:gd name="T66" fmla="*/ 54 w 1136"/>
                <a:gd name="T67" fmla="*/ 24 h 713"/>
                <a:gd name="T68" fmla="*/ 33 w 1136"/>
                <a:gd name="T69" fmla="*/ 42 h 71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6"/>
                <a:gd name="T106" fmla="*/ 0 h 713"/>
                <a:gd name="T107" fmla="*/ 1136 w 1136"/>
                <a:gd name="T108" fmla="*/ 713 h 71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6" h="713">
                  <a:moveTo>
                    <a:pt x="130" y="169"/>
                  </a:moveTo>
                  <a:lnTo>
                    <a:pt x="159" y="205"/>
                  </a:lnTo>
                  <a:lnTo>
                    <a:pt x="157" y="258"/>
                  </a:lnTo>
                  <a:lnTo>
                    <a:pt x="208" y="256"/>
                  </a:lnTo>
                  <a:lnTo>
                    <a:pt x="236" y="331"/>
                  </a:lnTo>
                  <a:lnTo>
                    <a:pt x="234" y="417"/>
                  </a:lnTo>
                  <a:lnTo>
                    <a:pt x="183" y="425"/>
                  </a:lnTo>
                  <a:lnTo>
                    <a:pt x="140" y="474"/>
                  </a:lnTo>
                  <a:lnTo>
                    <a:pt x="33" y="482"/>
                  </a:lnTo>
                  <a:lnTo>
                    <a:pt x="0" y="516"/>
                  </a:lnTo>
                  <a:lnTo>
                    <a:pt x="23" y="591"/>
                  </a:lnTo>
                  <a:lnTo>
                    <a:pt x="82" y="671"/>
                  </a:lnTo>
                  <a:lnTo>
                    <a:pt x="134" y="713"/>
                  </a:lnTo>
                  <a:lnTo>
                    <a:pt x="161" y="648"/>
                  </a:lnTo>
                  <a:lnTo>
                    <a:pt x="220" y="596"/>
                  </a:lnTo>
                  <a:lnTo>
                    <a:pt x="319" y="612"/>
                  </a:lnTo>
                  <a:lnTo>
                    <a:pt x="332" y="585"/>
                  </a:lnTo>
                  <a:lnTo>
                    <a:pt x="303" y="545"/>
                  </a:lnTo>
                  <a:lnTo>
                    <a:pt x="372" y="528"/>
                  </a:lnTo>
                  <a:lnTo>
                    <a:pt x="460" y="555"/>
                  </a:lnTo>
                  <a:lnTo>
                    <a:pt x="531" y="559"/>
                  </a:lnTo>
                  <a:lnTo>
                    <a:pt x="588" y="598"/>
                  </a:lnTo>
                  <a:lnTo>
                    <a:pt x="649" y="563"/>
                  </a:lnTo>
                  <a:lnTo>
                    <a:pt x="681" y="569"/>
                  </a:lnTo>
                  <a:lnTo>
                    <a:pt x="687" y="600"/>
                  </a:lnTo>
                  <a:lnTo>
                    <a:pt x="758" y="553"/>
                  </a:lnTo>
                  <a:lnTo>
                    <a:pt x="791" y="587"/>
                  </a:lnTo>
                  <a:lnTo>
                    <a:pt x="785" y="640"/>
                  </a:lnTo>
                  <a:lnTo>
                    <a:pt x="832" y="654"/>
                  </a:lnTo>
                  <a:lnTo>
                    <a:pt x="884" y="608"/>
                  </a:lnTo>
                  <a:lnTo>
                    <a:pt x="947" y="594"/>
                  </a:lnTo>
                  <a:lnTo>
                    <a:pt x="988" y="543"/>
                  </a:lnTo>
                  <a:lnTo>
                    <a:pt x="1019" y="533"/>
                  </a:lnTo>
                  <a:lnTo>
                    <a:pt x="1055" y="496"/>
                  </a:lnTo>
                  <a:lnTo>
                    <a:pt x="1108" y="516"/>
                  </a:lnTo>
                  <a:lnTo>
                    <a:pt x="1136" y="490"/>
                  </a:lnTo>
                  <a:lnTo>
                    <a:pt x="1122" y="431"/>
                  </a:lnTo>
                  <a:lnTo>
                    <a:pt x="1088" y="388"/>
                  </a:lnTo>
                  <a:lnTo>
                    <a:pt x="1088" y="291"/>
                  </a:lnTo>
                  <a:lnTo>
                    <a:pt x="1051" y="272"/>
                  </a:lnTo>
                  <a:lnTo>
                    <a:pt x="1019" y="274"/>
                  </a:lnTo>
                  <a:lnTo>
                    <a:pt x="980" y="242"/>
                  </a:lnTo>
                  <a:lnTo>
                    <a:pt x="960" y="213"/>
                  </a:lnTo>
                  <a:lnTo>
                    <a:pt x="901" y="236"/>
                  </a:lnTo>
                  <a:lnTo>
                    <a:pt x="836" y="187"/>
                  </a:lnTo>
                  <a:lnTo>
                    <a:pt x="783" y="203"/>
                  </a:lnTo>
                  <a:lnTo>
                    <a:pt x="748" y="160"/>
                  </a:lnTo>
                  <a:lnTo>
                    <a:pt x="744" y="98"/>
                  </a:lnTo>
                  <a:lnTo>
                    <a:pt x="677" y="126"/>
                  </a:lnTo>
                  <a:lnTo>
                    <a:pt x="628" y="106"/>
                  </a:lnTo>
                  <a:lnTo>
                    <a:pt x="514" y="124"/>
                  </a:lnTo>
                  <a:lnTo>
                    <a:pt x="427" y="87"/>
                  </a:lnTo>
                  <a:lnTo>
                    <a:pt x="329" y="0"/>
                  </a:lnTo>
                  <a:lnTo>
                    <a:pt x="283" y="24"/>
                  </a:lnTo>
                  <a:lnTo>
                    <a:pt x="205" y="18"/>
                  </a:lnTo>
                  <a:lnTo>
                    <a:pt x="201" y="16"/>
                  </a:lnTo>
                  <a:lnTo>
                    <a:pt x="187" y="14"/>
                  </a:lnTo>
                  <a:lnTo>
                    <a:pt x="171" y="10"/>
                  </a:lnTo>
                  <a:lnTo>
                    <a:pt x="153" y="6"/>
                  </a:lnTo>
                  <a:lnTo>
                    <a:pt x="140" y="4"/>
                  </a:lnTo>
                  <a:lnTo>
                    <a:pt x="136" y="4"/>
                  </a:lnTo>
                  <a:lnTo>
                    <a:pt x="134" y="8"/>
                  </a:lnTo>
                  <a:lnTo>
                    <a:pt x="130" y="18"/>
                  </a:lnTo>
                  <a:lnTo>
                    <a:pt x="124" y="28"/>
                  </a:lnTo>
                  <a:lnTo>
                    <a:pt x="120" y="36"/>
                  </a:lnTo>
                  <a:lnTo>
                    <a:pt x="118" y="39"/>
                  </a:lnTo>
                  <a:lnTo>
                    <a:pt x="181" y="79"/>
                  </a:lnTo>
                  <a:lnTo>
                    <a:pt x="216" y="98"/>
                  </a:lnTo>
                  <a:lnTo>
                    <a:pt x="151" y="140"/>
                  </a:lnTo>
                  <a:lnTo>
                    <a:pt x="130" y="169"/>
                  </a:lnTo>
                </a:path>
              </a:pathLst>
            </a:custGeom>
            <a:grpFill/>
            <a:ln w="6350">
              <a:solidFill>
                <a:schemeClr val="tx1">
                  <a:lumMod val="85000"/>
                  <a:lumOff val="15000"/>
                </a:schemeClr>
              </a:solidFill>
              <a:prstDash val="solid"/>
              <a:round/>
            </a:ln>
          </p:spPr>
          <p:txBody>
            <a:bodyPr/>
            <a:lstStyle/>
            <a:p>
              <a:endParaRPr lang="zh-CN" altLang="en-US" sz="2400"/>
            </a:p>
          </p:txBody>
        </p:sp>
        <p:sp>
          <p:nvSpPr>
            <p:cNvPr id="79" name="Freeform 123"/>
            <p:cNvSpPr/>
            <p:nvPr/>
          </p:nvSpPr>
          <p:spPr bwMode="gray">
            <a:xfrm>
              <a:off x="3140" y="2406"/>
              <a:ext cx="448" cy="398"/>
            </a:xfrm>
            <a:custGeom>
              <a:avLst/>
              <a:gdLst>
                <a:gd name="T0" fmla="*/ 0 w 896"/>
                <a:gd name="T1" fmla="*/ 84 h 797"/>
                <a:gd name="T2" fmla="*/ 7 w 896"/>
                <a:gd name="T3" fmla="*/ 100 h 797"/>
                <a:gd name="T4" fmla="*/ 17 w 896"/>
                <a:gd name="T5" fmla="*/ 115 h 797"/>
                <a:gd name="T6" fmla="*/ 30 w 896"/>
                <a:gd name="T7" fmla="*/ 127 h 797"/>
                <a:gd name="T8" fmla="*/ 29 w 896"/>
                <a:gd name="T9" fmla="*/ 140 h 797"/>
                <a:gd name="T10" fmla="*/ 53 w 896"/>
                <a:gd name="T11" fmla="*/ 162 h 797"/>
                <a:gd name="T12" fmla="*/ 76 w 896"/>
                <a:gd name="T13" fmla="*/ 171 h 797"/>
                <a:gd name="T14" fmla="*/ 104 w 896"/>
                <a:gd name="T15" fmla="*/ 166 h 797"/>
                <a:gd name="T16" fmla="*/ 116 w 896"/>
                <a:gd name="T17" fmla="*/ 171 h 797"/>
                <a:gd name="T18" fmla="*/ 133 w 896"/>
                <a:gd name="T19" fmla="*/ 164 h 797"/>
                <a:gd name="T20" fmla="*/ 134 w 896"/>
                <a:gd name="T21" fmla="*/ 180 h 797"/>
                <a:gd name="T22" fmla="*/ 143 w 896"/>
                <a:gd name="T23" fmla="*/ 191 h 797"/>
                <a:gd name="T24" fmla="*/ 156 w 896"/>
                <a:gd name="T25" fmla="*/ 187 h 797"/>
                <a:gd name="T26" fmla="*/ 173 w 896"/>
                <a:gd name="T27" fmla="*/ 199 h 797"/>
                <a:gd name="T28" fmla="*/ 188 w 896"/>
                <a:gd name="T29" fmla="*/ 194 h 797"/>
                <a:gd name="T30" fmla="*/ 193 w 896"/>
                <a:gd name="T31" fmla="*/ 189 h 797"/>
                <a:gd name="T32" fmla="*/ 212 w 896"/>
                <a:gd name="T33" fmla="*/ 179 h 797"/>
                <a:gd name="T34" fmla="*/ 213 w 896"/>
                <a:gd name="T35" fmla="*/ 163 h 797"/>
                <a:gd name="T36" fmla="*/ 208 w 896"/>
                <a:gd name="T37" fmla="*/ 148 h 797"/>
                <a:gd name="T38" fmla="*/ 194 w 896"/>
                <a:gd name="T39" fmla="*/ 157 h 797"/>
                <a:gd name="T40" fmla="*/ 180 w 896"/>
                <a:gd name="T41" fmla="*/ 141 h 797"/>
                <a:gd name="T42" fmla="*/ 170 w 896"/>
                <a:gd name="T43" fmla="*/ 133 h 797"/>
                <a:gd name="T44" fmla="*/ 182 w 896"/>
                <a:gd name="T45" fmla="*/ 129 h 797"/>
                <a:gd name="T46" fmla="*/ 181 w 896"/>
                <a:gd name="T47" fmla="*/ 116 h 797"/>
                <a:gd name="T48" fmla="*/ 190 w 896"/>
                <a:gd name="T49" fmla="*/ 108 h 797"/>
                <a:gd name="T50" fmla="*/ 186 w 896"/>
                <a:gd name="T51" fmla="*/ 94 h 797"/>
                <a:gd name="T52" fmla="*/ 197 w 896"/>
                <a:gd name="T53" fmla="*/ 87 h 797"/>
                <a:gd name="T54" fmla="*/ 211 w 896"/>
                <a:gd name="T55" fmla="*/ 99 h 797"/>
                <a:gd name="T56" fmla="*/ 224 w 896"/>
                <a:gd name="T57" fmla="*/ 91 h 797"/>
                <a:gd name="T58" fmla="*/ 219 w 896"/>
                <a:gd name="T59" fmla="*/ 75 h 797"/>
                <a:gd name="T60" fmla="*/ 206 w 896"/>
                <a:gd name="T61" fmla="*/ 71 h 797"/>
                <a:gd name="T62" fmla="*/ 203 w 896"/>
                <a:gd name="T63" fmla="*/ 62 h 797"/>
                <a:gd name="T64" fmla="*/ 182 w 896"/>
                <a:gd name="T65" fmla="*/ 66 h 797"/>
                <a:gd name="T66" fmla="*/ 169 w 896"/>
                <a:gd name="T67" fmla="*/ 53 h 797"/>
                <a:gd name="T68" fmla="*/ 157 w 896"/>
                <a:gd name="T69" fmla="*/ 53 h 797"/>
                <a:gd name="T70" fmla="*/ 156 w 896"/>
                <a:gd name="T71" fmla="*/ 41 h 797"/>
                <a:gd name="T72" fmla="*/ 173 w 896"/>
                <a:gd name="T73" fmla="*/ 20 h 797"/>
                <a:gd name="T74" fmla="*/ 171 w 896"/>
                <a:gd name="T75" fmla="*/ 3 h 797"/>
                <a:gd name="T76" fmla="*/ 153 w 896"/>
                <a:gd name="T77" fmla="*/ 6 h 797"/>
                <a:gd name="T78" fmla="*/ 112 w 896"/>
                <a:gd name="T79" fmla="*/ 0 h 797"/>
                <a:gd name="T80" fmla="*/ 110 w 896"/>
                <a:gd name="T81" fmla="*/ 32 h 797"/>
                <a:gd name="T82" fmla="*/ 89 w 896"/>
                <a:gd name="T83" fmla="*/ 49 h 797"/>
                <a:gd name="T84" fmla="*/ 72 w 896"/>
                <a:gd name="T85" fmla="*/ 52 h 797"/>
                <a:gd name="T86" fmla="*/ 42 w 896"/>
                <a:gd name="T87" fmla="*/ 71 h 797"/>
                <a:gd name="T88" fmla="*/ 25 w 896"/>
                <a:gd name="T89" fmla="*/ 79 h 797"/>
                <a:gd name="T90" fmla="*/ 0 w 896"/>
                <a:gd name="T91" fmla="*/ 84 h 79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96"/>
                <a:gd name="T139" fmla="*/ 0 h 797"/>
                <a:gd name="T140" fmla="*/ 896 w 896"/>
                <a:gd name="T141" fmla="*/ 797 h 79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96" h="797">
                  <a:moveTo>
                    <a:pt x="0" y="339"/>
                  </a:moveTo>
                  <a:lnTo>
                    <a:pt x="28" y="402"/>
                  </a:lnTo>
                  <a:lnTo>
                    <a:pt x="65" y="463"/>
                  </a:lnTo>
                  <a:lnTo>
                    <a:pt x="120" y="510"/>
                  </a:lnTo>
                  <a:lnTo>
                    <a:pt x="117" y="561"/>
                  </a:lnTo>
                  <a:lnTo>
                    <a:pt x="211" y="648"/>
                  </a:lnTo>
                  <a:lnTo>
                    <a:pt x="302" y="685"/>
                  </a:lnTo>
                  <a:lnTo>
                    <a:pt x="416" y="667"/>
                  </a:lnTo>
                  <a:lnTo>
                    <a:pt x="465" y="687"/>
                  </a:lnTo>
                  <a:lnTo>
                    <a:pt x="532" y="659"/>
                  </a:lnTo>
                  <a:lnTo>
                    <a:pt x="536" y="721"/>
                  </a:lnTo>
                  <a:lnTo>
                    <a:pt x="571" y="764"/>
                  </a:lnTo>
                  <a:lnTo>
                    <a:pt x="624" y="748"/>
                  </a:lnTo>
                  <a:lnTo>
                    <a:pt x="689" y="797"/>
                  </a:lnTo>
                  <a:lnTo>
                    <a:pt x="750" y="776"/>
                  </a:lnTo>
                  <a:lnTo>
                    <a:pt x="772" y="756"/>
                  </a:lnTo>
                  <a:lnTo>
                    <a:pt x="845" y="719"/>
                  </a:lnTo>
                  <a:lnTo>
                    <a:pt x="851" y="654"/>
                  </a:lnTo>
                  <a:lnTo>
                    <a:pt x="831" y="595"/>
                  </a:lnTo>
                  <a:lnTo>
                    <a:pt x="774" y="630"/>
                  </a:lnTo>
                  <a:lnTo>
                    <a:pt x="717" y="567"/>
                  </a:lnTo>
                  <a:lnTo>
                    <a:pt x="678" y="534"/>
                  </a:lnTo>
                  <a:lnTo>
                    <a:pt x="727" y="518"/>
                  </a:lnTo>
                  <a:lnTo>
                    <a:pt x="723" y="465"/>
                  </a:lnTo>
                  <a:lnTo>
                    <a:pt x="760" y="433"/>
                  </a:lnTo>
                  <a:lnTo>
                    <a:pt x="743" y="378"/>
                  </a:lnTo>
                  <a:lnTo>
                    <a:pt x="788" y="349"/>
                  </a:lnTo>
                  <a:lnTo>
                    <a:pt x="841" y="398"/>
                  </a:lnTo>
                  <a:lnTo>
                    <a:pt x="896" y="366"/>
                  </a:lnTo>
                  <a:lnTo>
                    <a:pt x="876" y="303"/>
                  </a:lnTo>
                  <a:lnTo>
                    <a:pt x="823" y="284"/>
                  </a:lnTo>
                  <a:lnTo>
                    <a:pt x="811" y="250"/>
                  </a:lnTo>
                  <a:lnTo>
                    <a:pt x="727" y="266"/>
                  </a:lnTo>
                  <a:lnTo>
                    <a:pt x="676" y="213"/>
                  </a:lnTo>
                  <a:lnTo>
                    <a:pt x="626" y="215"/>
                  </a:lnTo>
                  <a:lnTo>
                    <a:pt x="622" y="165"/>
                  </a:lnTo>
                  <a:lnTo>
                    <a:pt x="691" y="83"/>
                  </a:lnTo>
                  <a:lnTo>
                    <a:pt x="683" y="12"/>
                  </a:lnTo>
                  <a:lnTo>
                    <a:pt x="609" y="26"/>
                  </a:lnTo>
                  <a:lnTo>
                    <a:pt x="445" y="0"/>
                  </a:lnTo>
                  <a:lnTo>
                    <a:pt x="437" y="130"/>
                  </a:lnTo>
                  <a:lnTo>
                    <a:pt x="353" y="197"/>
                  </a:lnTo>
                  <a:lnTo>
                    <a:pt x="288" y="209"/>
                  </a:lnTo>
                  <a:lnTo>
                    <a:pt x="168" y="286"/>
                  </a:lnTo>
                  <a:lnTo>
                    <a:pt x="97" y="317"/>
                  </a:lnTo>
                  <a:lnTo>
                    <a:pt x="0" y="339"/>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80" name="Freeform 124"/>
            <p:cNvSpPr/>
            <p:nvPr/>
          </p:nvSpPr>
          <p:spPr bwMode="gray">
            <a:xfrm>
              <a:off x="3140" y="2406"/>
              <a:ext cx="448" cy="398"/>
            </a:xfrm>
            <a:custGeom>
              <a:avLst/>
              <a:gdLst>
                <a:gd name="T0" fmla="*/ 0 w 896"/>
                <a:gd name="T1" fmla="*/ 84 h 797"/>
                <a:gd name="T2" fmla="*/ 7 w 896"/>
                <a:gd name="T3" fmla="*/ 100 h 797"/>
                <a:gd name="T4" fmla="*/ 17 w 896"/>
                <a:gd name="T5" fmla="*/ 115 h 797"/>
                <a:gd name="T6" fmla="*/ 30 w 896"/>
                <a:gd name="T7" fmla="*/ 127 h 797"/>
                <a:gd name="T8" fmla="*/ 29 w 896"/>
                <a:gd name="T9" fmla="*/ 140 h 797"/>
                <a:gd name="T10" fmla="*/ 53 w 896"/>
                <a:gd name="T11" fmla="*/ 162 h 797"/>
                <a:gd name="T12" fmla="*/ 76 w 896"/>
                <a:gd name="T13" fmla="*/ 171 h 797"/>
                <a:gd name="T14" fmla="*/ 104 w 896"/>
                <a:gd name="T15" fmla="*/ 166 h 797"/>
                <a:gd name="T16" fmla="*/ 116 w 896"/>
                <a:gd name="T17" fmla="*/ 171 h 797"/>
                <a:gd name="T18" fmla="*/ 133 w 896"/>
                <a:gd name="T19" fmla="*/ 164 h 797"/>
                <a:gd name="T20" fmla="*/ 134 w 896"/>
                <a:gd name="T21" fmla="*/ 180 h 797"/>
                <a:gd name="T22" fmla="*/ 143 w 896"/>
                <a:gd name="T23" fmla="*/ 191 h 797"/>
                <a:gd name="T24" fmla="*/ 156 w 896"/>
                <a:gd name="T25" fmla="*/ 187 h 797"/>
                <a:gd name="T26" fmla="*/ 173 w 896"/>
                <a:gd name="T27" fmla="*/ 199 h 797"/>
                <a:gd name="T28" fmla="*/ 188 w 896"/>
                <a:gd name="T29" fmla="*/ 194 h 797"/>
                <a:gd name="T30" fmla="*/ 193 w 896"/>
                <a:gd name="T31" fmla="*/ 189 h 797"/>
                <a:gd name="T32" fmla="*/ 212 w 896"/>
                <a:gd name="T33" fmla="*/ 179 h 797"/>
                <a:gd name="T34" fmla="*/ 213 w 896"/>
                <a:gd name="T35" fmla="*/ 163 h 797"/>
                <a:gd name="T36" fmla="*/ 208 w 896"/>
                <a:gd name="T37" fmla="*/ 148 h 797"/>
                <a:gd name="T38" fmla="*/ 194 w 896"/>
                <a:gd name="T39" fmla="*/ 157 h 797"/>
                <a:gd name="T40" fmla="*/ 180 w 896"/>
                <a:gd name="T41" fmla="*/ 141 h 797"/>
                <a:gd name="T42" fmla="*/ 170 w 896"/>
                <a:gd name="T43" fmla="*/ 133 h 797"/>
                <a:gd name="T44" fmla="*/ 182 w 896"/>
                <a:gd name="T45" fmla="*/ 129 h 797"/>
                <a:gd name="T46" fmla="*/ 181 w 896"/>
                <a:gd name="T47" fmla="*/ 116 h 797"/>
                <a:gd name="T48" fmla="*/ 190 w 896"/>
                <a:gd name="T49" fmla="*/ 108 h 797"/>
                <a:gd name="T50" fmla="*/ 186 w 896"/>
                <a:gd name="T51" fmla="*/ 94 h 797"/>
                <a:gd name="T52" fmla="*/ 197 w 896"/>
                <a:gd name="T53" fmla="*/ 87 h 797"/>
                <a:gd name="T54" fmla="*/ 211 w 896"/>
                <a:gd name="T55" fmla="*/ 99 h 797"/>
                <a:gd name="T56" fmla="*/ 224 w 896"/>
                <a:gd name="T57" fmla="*/ 91 h 797"/>
                <a:gd name="T58" fmla="*/ 219 w 896"/>
                <a:gd name="T59" fmla="*/ 75 h 797"/>
                <a:gd name="T60" fmla="*/ 206 w 896"/>
                <a:gd name="T61" fmla="*/ 71 h 797"/>
                <a:gd name="T62" fmla="*/ 203 w 896"/>
                <a:gd name="T63" fmla="*/ 62 h 797"/>
                <a:gd name="T64" fmla="*/ 182 w 896"/>
                <a:gd name="T65" fmla="*/ 66 h 797"/>
                <a:gd name="T66" fmla="*/ 169 w 896"/>
                <a:gd name="T67" fmla="*/ 53 h 797"/>
                <a:gd name="T68" fmla="*/ 157 w 896"/>
                <a:gd name="T69" fmla="*/ 53 h 797"/>
                <a:gd name="T70" fmla="*/ 156 w 896"/>
                <a:gd name="T71" fmla="*/ 41 h 797"/>
                <a:gd name="T72" fmla="*/ 173 w 896"/>
                <a:gd name="T73" fmla="*/ 20 h 797"/>
                <a:gd name="T74" fmla="*/ 171 w 896"/>
                <a:gd name="T75" fmla="*/ 3 h 797"/>
                <a:gd name="T76" fmla="*/ 153 w 896"/>
                <a:gd name="T77" fmla="*/ 6 h 797"/>
                <a:gd name="T78" fmla="*/ 112 w 896"/>
                <a:gd name="T79" fmla="*/ 0 h 797"/>
                <a:gd name="T80" fmla="*/ 110 w 896"/>
                <a:gd name="T81" fmla="*/ 32 h 797"/>
                <a:gd name="T82" fmla="*/ 89 w 896"/>
                <a:gd name="T83" fmla="*/ 49 h 797"/>
                <a:gd name="T84" fmla="*/ 72 w 896"/>
                <a:gd name="T85" fmla="*/ 52 h 797"/>
                <a:gd name="T86" fmla="*/ 42 w 896"/>
                <a:gd name="T87" fmla="*/ 71 h 797"/>
                <a:gd name="T88" fmla="*/ 25 w 896"/>
                <a:gd name="T89" fmla="*/ 79 h 797"/>
                <a:gd name="T90" fmla="*/ 0 w 896"/>
                <a:gd name="T91" fmla="*/ 84 h 79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96"/>
                <a:gd name="T139" fmla="*/ 0 h 797"/>
                <a:gd name="T140" fmla="*/ 896 w 896"/>
                <a:gd name="T141" fmla="*/ 797 h 79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96" h="797">
                  <a:moveTo>
                    <a:pt x="0" y="339"/>
                  </a:moveTo>
                  <a:lnTo>
                    <a:pt x="28" y="402"/>
                  </a:lnTo>
                  <a:lnTo>
                    <a:pt x="65" y="463"/>
                  </a:lnTo>
                  <a:lnTo>
                    <a:pt x="120" y="510"/>
                  </a:lnTo>
                  <a:lnTo>
                    <a:pt x="117" y="561"/>
                  </a:lnTo>
                  <a:lnTo>
                    <a:pt x="211" y="648"/>
                  </a:lnTo>
                  <a:lnTo>
                    <a:pt x="302" y="685"/>
                  </a:lnTo>
                  <a:lnTo>
                    <a:pt x="416" y="667"/>
                  </a:lnTo>
                  <a:lnTo>
                    <a:pt x="465" y="687"/>
                  </a:lnTo>
                  <a:lnTo>
                    <a:pt x="532" y="659"/>
                  </a:lnTo>
                  <a:lnTo>
                    <a:pt x="536" y="721"/>
                  </a:lnTo>
                  <a:lnTo>
                    <a:pt x="571" y="764"/>
                  </a:lnTo>
                  <a:lnTo>
                    <a:pt x="624" y="748"/>
                  </a:lnTo>
                  <a:lnTo>
                    <a:pt x="689" y="797"/>
                  </a:lnTo>
                  <a:lnTo>
                    <a:pt x="750" y="776"/>
                  </a:lnTo>
                  <a:lnTo>
                    <a:pt x="772" y="756"/>
                  </a:lnTo>
                  <a:lnTo>
                    <a:pt x="845" y="719"/>
                  </a:lnTo>
                  <a:lnTo>
                    <a:pt x="851" y="654"/>
                  </a:lnTo>
                  <a:lnTo>
                    <a:pt x="831" y="595"/>
                  </a:lnTo>
                  <a:lnTo>
                    <a:pt x="774" y="630"/>
                  </a:lnTo>
                  <a:lnTo>
                    <a:pt x="717" y="567"/>
                  </a:lnTo>
                  <a:lnTo>
                    <a:pt x="678" y="534"/>
                  </a:lnTo>
                  <a:lnTo>
                    <a:pt x="727" y="518"/>
                  </a:lnTo>
                  <a:lnTo>
                    <a:pt x="723" y="465"/>
                  </a:lnTo>
                  <a:lnTo>
                    <a:pt x="760" y="433"/>
                  </a:lnTo>
                  <a:lnTo>
                    <a:pt x="743" y="378"/>
                  </a:lnTo>
                  <a:lnTo>
                    <a:pt x="788" y="349"/>
                  </a:lnTo>
                  <a:lnTo>
                    <a:pt x="841" y="398"/>
                  </a:lnTo>
                  <a:lnTo>
                    <a:pt x="896" y="366"/>
                  </a:lnTo>
                  <a:lnTo>
                    <a:pt x="876" y="303"/>
                  </a:lnTo>
                  <a:lnTo>
                    <a:pt x="823" y="284"/>
                  </a:lnTo>
                  <a:lnTo>
                    <a:pt x="811" y="250"/>
                  </a:lnTo>
                  <a:lnTo>
                    <a:pt x="727" y="266"/>
                  </a:lnTo>
                  <a:lnTo>
                    <a:pt x="676" y="213"/>
                  </a:lnTo>
                  <a:lnTo>
                    <a:pt x="626" y="215"/>
                  </a:lnTo>
                  <a:lnTo>
                    <a:pt x="622" y="165"/>
                  </a:lnTo>
                  <a:lnTo>
                    <a:pt x="691" y="83"/>
                  </a:lnTo>
                  <a:lnTo>
                    <a:pt x="683" y="12"/>
                  </a:lnTo>
                  <a:lnTo>
                    <a:pt x="609" y="26"/>
                  </a:lnTo>
                  <a:lnTo>
                    <a:pt x="445" y="0"/>
                  </a:lnTo>
                  <a:lnTo>
                    <a:pt x="437" y="130"/>
                  </a:lnTo>
                  <a:lnTo>
                    <a:pt x="353" y="197"/>
                  </a:lnTo>
                  <a:lnTo>
                    <a:pt x="288" y="209"/>
                  </a:lnTo>
                  <a:lnTo>
                    <a:pt x="168" y="286"/>
                  </a:lnTo>
                  <a:lnTo>
                    <a:pt x="97" y="317"/>
                  </a:lnTo>
                  <a:lnTo>
                    <a:pt x="0" y="339"/>
                  </a:lnTo>
                </a:path>
              </a:pathLst>
            </a:custGeom>
            <a:grpFill/>
            <a:ln w="6350">
              <a:solidFill>
                <a:schemeClr val="tx1">
                  <a:lumMod val="85000"/>
                  <a:lumOff val="15000"/>
                </a:schemeClr>
              </a:solidFill>
              <a:prstDash val="solid"/>
              <a:round/>
            </a:ln>
          </p:spPr>
          <p:txBody>
            <a:bodyPr/>
            <a:lstStyle/>
            <a:p>
              <a:endParaRPr lang="zh-CN" altLang="en-US" sz="2400"/>
            </a:p>
          </p:txBody>
        </p:sp>
        <p:sp>
          <p:nvSpPr>
            <p:cNvPr id="81" name="Freeform 125"/>
            <p:cNvSpPr/>
            <p:nvPr/>
          </p:nvSpPr>
          <p:spPr bwMode="gray">
            <a:xfrm>
              <a:off x="3128" y="2050"/>
              <a:ext cx="251" cy="526"/>
            </a:xfrm>
            <a:custGeom>
              <a:avLst/>
              <a:gdLst>
                <a:gd name="T0" fmla="*/ 7 w 502"/>
                <a:gd name="T1" fmla="*/ 236 h 1051"/>
                <a:gd name="T2" fmla="*/ 6 w 502"/>
                <a:gd name="T3" fmla="*/ 263 h 1051"/>
                <a:gd name="T4" fmla="*/ 30 w 502"/>
                <a:gd name="T5" fmla="*/ 257 h 1051"/>
                <a:gd name="T6" fmla="*/ 48 w 502"/>
                <a:gd name="T7" fmla="*/ 250 h 1051"/>
                <a:gd name="T8" fmla="*/ 78 w 502"/>
                <a:gd name="T9" fmla="*/ 230 h 1051"/>
                <a:gd name="T10" fmla="*/ 94 w 502"/>
                <a:gd name="T11" fmla="*/ 228 h 1051"/>
                <a:gd name="T12" fmla="*/ 115 w 502"/>
                <a:gd name="T13" fmla="*/ 210 h 1051"/>
                <a:gd name="T14" fmla="*/ 117 w 502"/>
                <a:gd name="T15" fmla="*/ 178 h 1051"/>
                <a:gd name="T16" fmla="*/ 108 w 502"/>
                <a:gd name="T17" fmla="*/ 169 h 1051"/>
                <a:gd name="T18" fmla="*/ 109 w 502"/>
                <a:gd name="T19" fmla="*/ 159 h 1051"/>
                <a:gd name="T20" fmla="*/ 115 w 502"/>
                <a:gd name="T21" fmla="*/ 150 h 1051"/>
                <a:gd name="T22" fmla="*/ 114 w 502"/>
                <a:gd name="T23" fmla="*/ 142 h 1051"/>
                <a:gd name="T24" fmla="*/ 121 w 502"/>
                <a:gd name="T25" fmla="*/ 126 h 1051"/>
                <a:gd name="T26" fmla="*/ 118 w 502"/>
                <a:gd name="T27" fmla="*/ 109 h 1051"/>
                <a:gd name="T28" fmla="*/ 99 w 502"/>
                <a:gd name="T29" fmla="*/ 99 h 1051"/>
                <a:gd name="T30" fmla="*/ 100 w 502"/>
                <a:gd name="T31" fmla="*/ 81 h 1051"/>
                <a:gd name="T32" fmla="*/ 108 w 502"/>
                <a:gd name="T33" fmla="*/ 74 h 1051"/>
                <a:gd name="T34" fmla="*/ 109 w 502"/>
                <a:gd name="T35" fmla="*/ 64 h 1051"/>
                <a:gd name="T36" fmla="*/ 119 w 502"/>
                <a:gd name="T37" fmla="*/ 60 h 1051"/>
                <a:gd name="T38" fmla="*/ 126 w 502"/>
                <a:gd name="T39" fmla="*/ 43 h 1051"/>
                <a:gd name="T40" fmla="*/ 119 w 502"/>
                <a:gd name="T41" fmla="*/ 31 h 1051"/>
                <a:gd name="T42" fmla="*/ 110 w 502"/>
                <a:gd name="T43" fmla="*/ 26 h 1051"/>
                <a:gd name="T44" fmla="*/ 111 w 502"/>
                <a:gd name="T45" fmla="*/ 16 h 1051"/>
                <a:gd name="T46" fmla="*/ 121 w 502"/>
                <a:gd name="T47" fmla="*/ 11 h 1051"/>
                <a:gd name="T48" fmla="*/ 114 w 502"/>
                <a:gd name="T49" fmla="*/ 0 h 1051"/>
                <a:gd name="T50" fmla="*/ 87 w 502"/>
                <a:gd name="T51" fmla="*/ 11 h 1051"/>
                <a:gd name="T52" fmla="*/ 72 w 502"/>
                <a:gd name="T53" fmla="*/ 11 h 1051"/>
                <a:gd name="T54" fmla="*/ 50 w 502"/>
                <a:gd name="T55" fmla="*/ 19 h 1051"/>
                <a:gd name="T56" fmla="*/ 38 w 502"/>
                <a:gd name="T57" fmla="*/ 49 h 1051"/>
                <a:gd name="T58" fmla="*/ 19 w 502"/>
                <a:gd name="T59" fmla="*/ 56 h 1051"/>
                <a:gd name="T60" fmla="*/ 19 w 502"/>
                <a:gd name="T61" fmla="*/ 73 h 1051"/>
                <a:gd name="T62" fmla="*/ 12 w 502"/>
                <a:gd name="T63" fmla="*/ 104 h 1051"/>
                <a:gd name="T64" fmla="*/ 0 w 502"/>
                <a:gd name="T65" fmla="*/ 117 h 1051"/>
                <a:gd name="T66" fmla="*/ 13 w 502"/>
                <a:gd name="T67" fmla="*/ 139 h 1051"/>
                <a:gd name="T68" fmla="*/ 4 w 502"/>
                <a:gd name="T69" fmla="*/ 164 h 1051"/>
                <a:gd name="T70" fmla="*/ 9 w 502"/>
                <a:gd name="T71" fmla="*/ 198 h 1051"/>
                <a:gd name="T72" fmla="*/ 15 w 502"/>
                <a:gd name="T73" fmla="*/ 220 h 1051"/>
                <a:gd name="T74" fmla="*/ 7 w 502"/>
                <a:gd name="T75" fmla="*/ 236 h 105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02"/>
                <a:gd name="T115" fmla="*/ 0 h 1051"/>
                <a:gd name="T116" fmla="*/ 502 w 502"/>
                <a:gd name="T117" fmla="*/ 1051 h 105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02" h="1051">
                  <a:moveTo>
                    <a:pt x="25" y="942"/>
                  </a:moveTo>
                  <a:lnTo>
                    <a:pt x="23" y="1051"/>
                  </a:lnTo>
                  <a:lnTo>
                    <a:pt x="120" y="1027"/>
                  </a:lnTo>
                  <a:lnTo>
                    <a:pt x="191" y="998"/>
                  </a:lnTo>
                  <a:lnTo>
                    <a:pt x="311" y="919"/>
                  </a:lnTo>
                  <a:lnTo>
                    <a:pt x="376" y="909"/>
                  </a:lnTo>
                  <a:lnTo>
                    <a:pt x="460" y="840"/>
                  </a:lnTo>
                  <a:lnTo>
                    <a:pt x="468" y="712"/>
                  </a:lnTo>
                  <a:lnTo>
                    <a:pt x="429" y="675"/>
                  </a:lnTo>
                  <a:lnTo>
                    <a:pt x="433" y="635"/>
                  </a:lnTo>
                  <a:lnTo>
                    <a:pt x="460" y="600"/>
                  </a:lnTo>
                  <a:lnTo>
                    <a:pt x="454" y="565"/>
                  </a:lnTo>
                  <a:lnTo>
                    <a:pt x="484" y="504"/>
                  </a:lnTo>
                  <a:lnTo>
                    <a:pt x="470" y="433"/>
                  </a:lnTo>
                  <a:lnTo>
                    <a:pt x="395" y="395"/>
                  </a:lnTo>
                  <a:lnTo>
                    <a:pt x="397" y="324"/>
                  </a:lnTo>
                  <a:lnTo>
                    <a:pt x="429" y="293"/>
                  </a:lnTo>
                  <a:lnTo>
                    <a:pt x="435" y="254"/>
                  </a:lnTo>
                  <a:lnTo>
                    <a:pt x="476" y="240"/>
                  </a:lnTo>
                  <a:lnTo>
                    <a:pt x="502" y="169"/>
                  </a:lnTo>
                  <a:lnTo>
                    <a:pt x="476" y="122"/>
                  </a:lnTo>
                  <a:lnTo>
                    <a:pt x="437" y="104"/>
                  </a:lnTo>
                  <a:lnTo>
                    <a:pt x="441" y="61"/>
                  </a:lnTo>
                  <a:lnTo>
                    <a:pt x="484" y="41"/>
                  </a:lnTo>
                  <a:lnTo>
                    <a:pt x="454" y="0"/>
                  </a:lnTo>
                  <a:lnTo>
                    <a:pt x="348" y="43"/>
                  </a:lnTo>
                  <a:lnTo>
                    <a:pt x="285" y="43"/>
                  </a:lnTo>
                  <a:lnTo>
                    <a:pt x="199" y="74"/>
                  </a:lnTo>
                  <a:lnTo>
                    <a:pt x="151" y="193"/>
                  </a:lnTo>
                  <a:lnTo>
                    <a:pt x="73" y="222"/>
                  </a:lnTo>
                  <a:lnTo>
                    <a:pt x="73" y="291"/>
                  </a:lnTo>
                  <a:lnTo>
                    <a:pt x="45" y="415"/>
                  </a:lnTo>
                  <a:lnTo>
                    <a:pt x="0" y="468"/>
                  </a:lnTo>
                  <a:lnTo>
                    <a:pt x="51" y="555"/>
                  </a:lnTo>
                  <a:lnTo>
                    <a:pt x="14" y="655"/>
                  </a:lnTo>
                  <a:lnTo>
                    <a:pt x="33" y="789"/>
                  </a:lnTo>
                  <a:lnTo>
                    <a:pt x="57" y="877"/>
                  </a:lnTo>
                  <a:lnTo>
                    <a:pt x="25" y="942"/>
                  </a:lnTo>
                  <a:close/>
                </a:path>
              </a:pathLst>
            </a:custGeom>
            <a:grpFill/>
            <a:ln w="0">
              <a:solidFill>
                <a:schemeClr val="tx1">
                  <a:lumMod val="85000"/>
                  <a:lumOff val="15000"/>
                </a:schemeClr>
              </a:solidFill>
              <a:prstDash val="solid"/>
              <a:round/>
            </a:ln>
          </p:spPr>
          <p:txBody>
            <a:bodyPr/>
            <a:lstStyle/>
            <a:p>
              <a:endParaRPr lang="zh-CN" altLang="en-US" sz="2400"/>
            </a:p>
          </p:txBody>
        </p:sp>
        <p:sp>
          <p:nvSpPr>
            <p:cNvPr id="82" name="Freeform 126"/>
            <p:cNvSpPr/>
            <p:nvPr/>
          </p:nvSpPr>
          <p:spPr bwMode="gray">
            <a:xfrm>
              <a:off x="3128" y="2050"/>
              <a:ext cx="251" cy="526"/>
            </a:xfrm>
            <a:custGeom>
              <a:avLst/>
              <a:gdLst>
                <a:gd name="T0" fmla="*/ 7 w 502"/>
                <a:gd name="T1" fmla="*/ 236 h 1051"/>
                <a:gd name="T2" fmla="*/ 6 w 502"/>
                <a:gd name="T3" fmla="*/ 263 h 1051"/>
                <a:gd name="T4" fmla="*/ 30 w 502"/>
                <a:gd name="T5" fmla="*/ 257 h 1051"/>
                <a:gd name="T6" fmla="*/ 48 w 502"/>
                <a:gd name="T7" fmla="*/ 250 h 1051"/>
                <a:gd name="T8" fmla="*/ 78 w 502"/>
                <a:gd name="T9" fmla="*/ 230 h 1051"/>
                <a:gd name="T10" fmla="*/ 94 w 502"/>
                <a:gd name="T11" fmla="*/ 228 h 1051"/>
                <a:gd name="T12" fmla="*/ 115 w 502"/>
                <a:gd name="T13" fmla="*/ 210 h 1051"/>
                <a:gd name="T14" fmla="*/ 117 w 502"/>
                <a:gd name="T15" fmla="*/ 178 h 1051"/>
                <a:gd name="T16" fmla="*/ 108 w 502"/>
                <a:gd name="T17" fmla="*/ 169 h 1051"/>
                <a:gd name="T18" fmla="*/ 109 w 502"/>
                <a:gd name="T19" fmla="*/ 159 h 1051"/>
                <a:gd name="T20" fmla="*/ 115 w 502"/>
                <a:gd name="T21" fmla="*/ 150 h 1051"/>
                <a:gd name="T22" fmla="*/ 114 w 502"/>
                <a:gd name="T23" fmla="*/ 142 h 1051"/>
                <a:gd name="T24" fmla="*/ 121 w 502"/>
                <a:gd name="T25" fmla="*/ 126 h 1051"/>
                <a:gd name="T26" fmla="*/ 118 w 502"/>
                <a:gd name="T27" fmla="*/ 109 h 1051"/>
                <a:gd name="T28" fmla="*/ 99 w 502"/>
                <a:gd name="T29" fmla="*/ 99 h 1051"/>
                <a:gd name="T30" fmla="*/ 100 w 502"/>
                <a:gd name="T31" fmla="*/ 81 h 1051"/>
                <a:gd name="T32" fmla="*/ 108 w 502"/>
                <a:gd name="T33" fmla="*/ 74 h 1051"/>
                <a:gd name="T34" fmla="*/ 109 w 502"/>
                <a:gd name="T35" fmla="*/ 64 h 1051"/>
                <a:gd name="T36" fmla="*/ 119 w 502"/>
                <a:gd name="T37" fmla="*/ 60 h 1051"/>
                <a:gd name="T38" fmla="*/ 126 w 502"/>
                <a:gd name="T39" fmla="*/ 43 h 1051"/>
                <a:gd name="T40" fmla="*/ 119 w 502"/>
                <a:gd name="T41" fmla="*/ 31 h 1051"/>
                <a:gd name="T42" fmla="*/ 110 w 502"/>
                <a:gd name="T43" fmla="*/ 26 h 1051"/>
                <a:gd name="T44" fmla="*/ 111 w 502"/>
                <a:gd name="T45" fmla="*/ 16 h 1051"/>
                <a:gd name="T46" fmla="*/ 121 w 502"/>
                <a:gd name="T47" fmla="*/ 11 h 1051"/>
                <a:gd name="T48" fmla="*/ 114 w 502"/>
                <a:gd name="T49" fmla="*/ 0 h 1051"/>
                <a:gd name="T50" fmla="*/ 87 w 502"/>
                <a:gd name="T51" fmla="*/ 11 h 1051"/>
                <a:gd name="T52" fmla="*/ 72 w 502"/>
                <a:gd name="T53" fmla="*/ 11 h 1051"/>
                <a:gd name="T54" fmla="*/ 50 w 502"/>
                <a:gd name="T55" fmla="*/ 19 h 1051"/>
                <a:gd name="T56" fmla="*/ 38 w 502"/>
                <a:gd name="T57" fmla="*/ 49 h 1051"/>
                <a:gd name="T58" fmla="*/ 19 w 502"/>
                <a:gd name="T59" fmla="*/ 56 h 1051"/>
                <a:gd name="T60" fmla="*/ 19 w 502"/>
                <a:gd name="T61" fmla="*/ 73 h 1051"/>
                <a:gd name="T62" fmla="*/ 12 w 502"/>
                <a:gd name="T63" fmla="*/ 104 h 1051"/>
                <a:gd name="T64" fmla="*/ 0 w 502"/>
                <a:gd name="T65" fmla="*/ 117 h 1051"/>
                <a:gd name="T66" fmla="*/ 13 w 502"/>
                <a:gd name="T67" fmla="*/ 139 h 1051"/>
                <a:gd name="T68" fmla="*/ 4 w 502"/>
                <a:gd name="T69" fmla="*/ 164 h 1051"/>
                <a:gd name="T70" fmla="*/ 9 w 502"/>
                <a:gd name="T71" fmla="*/ 198 h 1051"/>
                <a:gd name="T72" fmla="*/ 15 w 502"/>
                <a:gd name="T73" fmla="*/ 220 h 1051"/>
                <a:gd name="T74" fmla="*/ 7 w 502"/>
                <a:gd name="T75" fmla="*/ 236 h 105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02"/>
                <a:gd name="T115" fmla="*/ 0 h 1051"/>
                <a:gd name="T116" fmla="*/ 502 w 502"/>
                <a:gd name="T117" fmla="*/ 1051 h 105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02" h="1051">
                  <a:moveTo>
                    <a:pt x="25" y="942"/>
                  </a:moveTo>
                  <a:lnTo>
                    <a:pt x="23" y="1051"/>
                  </a:lnTo>
                  <a:lnTo>
                    <a:pt x="120" y="1027"/>
                  </a:lnTo>
                  <a:lnTo>
                    <a:pt x="191" y="998"/>
                  </a:lnTo>
                  <a:lnTo>
                    <a:pt x="311" y="919"/>
                  </a:lnTo>
                  <a:lnTo>
                    <a:pt x="376" y="909"/>
                  </a:lnTo>
                  <a:lnTo>
                    <a:pt x="460" y="840"/>
                  </a:lnTo>
                  <a:lnTo>
                    <a:pt x="468" y="712"/>
                  </a:lnTo>
                  <a:lnTo>
                    <a:pt x="429" y="675"/>
                  </a:lnTo>
                  <a:lnTo>
                    <a:pt x="433" y="635"/>
                  </a:lnTo>
                  <a:lnTo>
                    <a:pt x="460" y="600"/>
                  </a:lnTo>
                  <a:lnTo>
                    <a:pt x="454" y="565"/>
                  </a:lnTo>
                  <a:lnTo>
                    <a:pt x="484" y="504"/>
                  </a:lnTo>
                  <a:lnTo>
                    <a:pt x="470" y="433"/>
                  </a:lnTo>
                  <a:lnTo>
                    <a:pt x="395" y="395"/>
                  </a:lnTo>
                  <a:lnTo>
                    <a:pt x="397" y="324"/>
                  </a:lnTo>
                  <a:lnTo>
                    <a:pt x="429" y="293"/>
                  </a:lnTo>
                  <a:lnTo>
                    <a:pt x="435" y="254"/>
                  </a:lnTo>
                  <a:lnTo>
                    <a:pt x="476" y="240"/>
                  </a:lnTo>
                  <a:lnTo>
                    <a:pt x="502" y="169"/>
                  </a:lnTo>
                  <a:lnTo>
                    <a:pt x="476" y="122"/>
                  </a:lnTo>
                  <a:lnTo>
                    <a:pt x="437" y="104"/>
                  </a:lnTo>
                  <a:lnTo>
                    <a:pt x="441" y="61"/>
                  </a:lnTo>
                  <a:lnTo>
                    <a:pt x="484" y="41"/>
                  </a:lnTo>
                  <a:lnTo>
                    <a:pt x="454" y="0"/>
                  </a:lnTo>
                  <a:lnTo>
                    <a:pt x="348" y="43"/>
                  </a:lnTo>
                  <a:lnTo>
                    <a:pt x="285" y="43"/>
                  </a:lnTo>
                  <a:lnTo>
                    <a:pt x="199" y="74"/>
                  </a:lnTo>
                  <a:lnTo>
                    <a:pt x="151" y="193"/>
                  </a:lnTo>
                  <a:lnTo>
                    <a:pt x="73" y="222"/>
                  </a:lnTo>
                  <a:lnTo>
                    <a:pt x="73" y="291"/>
                  </a:lnTo>
                  <a:lnTo>
                    <a:pt x="45" y="415"/>
                  </a:lnTo>
                  <a:lnTo>
                    <a:pt x="0" y="468"/>
                  </a:lnTo>
                  <a:lnTo>
                    <a:pt x="51" y="555"/>
                  </a:lnTo>
                  <a:lnTo>
                    <a:pt x="14" y="655"/>
                  </a:lnTo>
                  <a:lnTo>
                    <a:pt x="33" y="789"/>
                  </a:lnTo>
                  <a:lnTo>
                    <a:pt x="57" y="877"/>
                  </a:lnTo>
                  <a:lnTo>
                    <a:pt x="25" y="942"/>
                  </a:lnTo>
                </a:path>
              </a:pathLst>
            </a:custGeom>
            <a:grpFill/>
            <a:ln w="6350">
              <a:solidFill>
                <a:schemeClr val="tx1">
                  <a:lumMod val="85000"/>
                  <a:lumOff val="15000"/>
                </a:schemeClr>
              </a:solidFill>
              <a:prstDash val="solid"/>
              <a:round/>
            </a:ln>
          </p:spPr>
          <p:txBody>
            <a:bodyPr/>
            <a:lstStyle/>
            <a:p>
              <a:endParaRPr lang="zh-CN" altLang="en-US" sz="2400"/>
            </a:p>
          </p:txBody>
        </p:sp>
        <p:sp>
          <p:nvSpPr>
            <p:cNvPr id="83" name="Freeform 127"/>
            <p:cNvSpPr/>
            <p:nvPr/>
          </p:nvSpPr>
          <p:spPr bwMode="gray">
            <a:xfrm>
              <a:off x="2736" y="2154"/>
              <a:ext cx="464" cy="664"/>
            </a:xfrm>
            <a:custGeom>
              <a:avLst/>
              <a:gdLst>
                <a:gd name="T0" fmla="*/ 2 w 929"/>
                <a:gd name="T1" fmla="*/ 106 h 1329"/>
                <a:gd name="T2" fmla="*/ 21 w 929"/>
                <a:gd name="T3" fmla="*/ 126 h 1329"/>
                <a:gd name="T4" fmla="*/ 31 w 929"/>
                <a:gd name="T5" fmla="*/ 148 h 1329"/>
                <a:gd name="T6" fmla="*/ 26 w 929"/>
                <a:gd name="T7" fmla="*/ 170 h 1329"/>
                <a:gd name="T8" fmla="*/ 43 w 929"/>
                <a:gd name="T9" fmla="*/ 183 h 1329"/>
                <a:gd name="T10" fmla="*/ 68 w 929"/>
                <a:gd name="T11" fmla="*/ 187 h 1329"/>
                <a:gd name="T12" fmla="*/ 79 w 929"/>
                <a:gd name="T13" fmla="*/ 172 h 1329"/>
                <a:gd name="T14" fmla="*/ 78 w 929"/>
                <a:gd name="T15" fmla="*/ 153 h 1329"/>
                <a:gd name="T16" fmla="*/ 72 w 929"/>
                <a:gd name="T17" fmla="*/ 108 h 1329"/>
                <a:gd name="T18" fmla="*/ 92 w 929"/>
                <a:gd name="T19" fmla="*/ 113 h 1329"/>
                <a:gd name="T20" fmla="*/ 109 w 929"/>
                <a:gd name="T21" fmla="*/ 126 h 1329"/>
                <a:gd name="T22" fmla="*/ 143 w 929"/>
                <a:gd name="T23" fmla="*/ 150 h 1329"/>
                <a:gd name="T24" fmla="*/ 140 w 929"/>
                <a:gd name="T25" fmla="*/ 174 h 1329"/>
                <a:gd name="T26" fmla="*/ 112 w 929"/>
                <a:gd name="T27" fmla="*/ 189 h 1329"/>
                <a:gd name="T28" fmla="*/ 99 w 929"/>
                <a:gd name="T29" fmla="*/ 204 h 1329"/>
                <a:gd name="T30" fmla="*/ 71 w 929"/>
                <a:gd name="T31" fmla="*/ 199 h 1329"/>
                <a:gd name="T32" fmla="*/ 65 w 929"/>
                <a:gd name="T33" fmla="*/ 222 h 1329"/>
                <a:gd name="T34" fmla="*/ 70 w 929"/>
                <a:gd name="T35" fmla="*/ 249 h 1329"/>
                <a:gd name="T36" fmla="*/ 48 w 929"/>
                <a:gd name="T37" fmla="*/ 267 h 1329"/>
                <a:gd name="T38" fmla="*/ 53 w 929"/>
                <a:gd name="T39" fmla="*/ 285 h 1329"/>
                <a:gd name="T40" fmla="*/ 63 w 929"/>
                <a:gd name="T41" fmla="*/ 304 h 1329"/>
                <a:gd name="T42" fmla="*/ 110 w 929"/>
                <a:gd name="T43" fmla="*/ 308 h 1329"/>
                <a:gd name="T44" fmla="*/ 142 w 929"/>
                <a:gd name="T45" fmla="*/ 313 h 1329"/>
                <a:gd name="T46" fmla="*/ 172 w 929"/>
                <a:gd name="T47" fmla="*/ 324 h 1329"/>
                <a:gd name="T48" fmla="*/ 188 w 929"/>
                <a:gd name="T49" fmla="*/ 330 h 1329"/>
                <a:gd name="T50" fmla="*/ 181 w 929"/>
                <a:gd name="T51" fmla="*/ 308 h 1329"/>
                <a:gd name="T52" fmla="*/ 202 w 929"/>
                <a:gd name="T53" fmla="*/ 290 h 1329"/>
                <a:gd name="T54" fmla="*/ 178 w 929"/>
                <a:gd name="T55" fmla="*/ 276 h 1329"/>
                <a:gd name="T56" fmla="*/ 200 w 929"/>
                <a:gd name="T57" fmla="*/ 270 h 1329"/>
                <a:gd name="T58" fmla="*/ 231 w 929"/>
                <a:gd name="T59" fmla="*/ 266 h 1329"/>
                <a:gd name="T60" fmla="*/ 218 w 929"/>
                <a:gd name="T61" fmla="*/ 241 h 1329"/>
                <a:gd name="T62" fmla="*/ 202 w 929"/>
                <a:gd name="T63" fmla="*/ 211 h 1329"/>
                <a:gd name="T64" fmla="*/ 210 w 929"/>
                <a:gd name="T65" fmla="*/ 167 h 1329"/>
                <a:gd name="T66" fmla="*/ 200 w 929"/>
                <a:gd name="T67" fmla="*/ 112 h 1329"/>
                <a:gd name="T68" fmla="*/ 196 w 929"/>
                <a:gd name="T69" fmla="*/ 65 h 1329"/>
                <a:gd name="T70" fmla="*/ 214 w 929"/>
                <a:gd name="T71" fmla="*/ 21 h 1329"/>
                <a:gd name="T72" fmla="*/ 206 w 929"/>
                <a:gd name="T73" fmla="*/ 0 h 1329"/>
                <a:gd name="T74" fmla="*/ 182 w 929"/>
                <a:gd name="T75" fmla="*/ 10 h 1329"/>
                <a:gd name="T76" fmla="*/ 164 w 929"/>
                <a:gd name="T77" fmla="*/ 44 h 1329"/>
                <a:gd name="T78" fmla="*/ 129 w 929"/>
                <a:gd name="T79" fmla="*/ 87 h 1329"/>
                <a:gd name="T80" fmla="*/ 99 w 929"/>
                <a:gd name="T81" fmla="*/ 84 h 1329"/>
                <a:gd name="T82" fmla="*/ 74 w 929"/>
                <a:gd name="T83" fmla="*/ 70 h 1329"/>
                <a:gd name="T84" fmla="*/ 72 w 929"/>
                <a:gd name="T85" fmla="*/ 42 h 1329"/>
                <a:gd name="T86" fmla="*/ 68 w 929"/>
                <a:gd name="T87" fmla="*/ 18 h 1329"/>
                <a:gd name="T88" fmla="*/ 43 w 929"/>
                <a:gd name="T89" fmla="*/ 42 h 1329"/>
                <a:gd name="T90" fmla="*/ 26 w 929"/>
                <a:gd name="T91" fmla="*/ 90 h 132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929"/>
                <a:gd name="T139" fmla="*/ 0 h 1329"/>
                <a:gd name="T140" fmla="*/ 929 w 929"/>
                <a:gd name="T141" fmla="*/ 1329 h 132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929" h="1329">
                  <a:moveTo>
                    <a:pt x="0" y="406"/>
                  </a:moveTo>
                  <a:lnTo>
                    <a:pt x="8" y="425"/>
                  </a:lnTo>
                  <a:lnTo>
                    <a:pt x="36" y="461"/>
                  </a:lnTo>
                  <a:lnTo>
                    <a:pt x="87" y="504"/>
                  </a:lnTo>
                  <a:lnTo>
                    <a:pt x="85" y="538"/>
                  </a:lnTo>
                  <a:lnTo>
                    <a:pt x="124" y="595"/>
                  </a:lnTo>
                  <a:lnTo>
                    <a:pt x="107" y="636"/>
                  </a:lnTo>
                  <a:lnTo>
                    <a:pt x="107" y="681"/>
                  </a:lnTo>
                  <a:lnTo>
                    <a:pt x="150" y="697"/>
                  </a:lnTo>
                  <a:lnTo>
                    <a:pt x="174" y="732"/>
                  </a:lnTo>
                  <a:lnTo>
                    <a:pt x="239" y="762"/>
                  </a:lnTo>
                  <a:lnTo>
                    <a:pt x="272" y="748"/>
                  </a:lnTo>
                  <a:lnTo>
                    <a:pt x="278" y="705"/>
                  </a:lnTo>
                  <a:lnTo>
                    <a:pt x="317" y="689"/>
                  </a:lnTo>
                  <a:lnTo>
                    <a:pt x="335" y="648"/>
                  </a:lnTo>
                  <a:lnTo>
                    <a:pt x="315" y="612"/>
                  </a:lnTo>
                  <a:lnTo>
                    <a:pt x="264" y="593"/>
                  </a:lnTo>
                  <a:lnTo>
                    <a:pt x="288" y="435"/>
                  </a:lnTo>
                  <a:lnTo>
                    <a:pt x="319" y="451"/>
                  </a:lnTo>
                  <a:lnTo>
                    <a:pt x="370" y="453"/>
                  </a:lnTo>
                  <a:lnTo>
                    <a:pt x="372" y="484"/>
                  </a:lnTo>
                  <a:lnTo>
                    <a:pt x="439" y="504"/>
                  </a:lnTo>
                  <a:lnTo>
                    <a:pt x="563" y="559"/>
                  </a:lnTo>
                  <a:lnTo>
                    <a:pt x="575" y="603"/>
                  </a:lnTo>
                  <a:lnTo>
                    <a:pt x="550" y="646"/>
                  </a:lnTo>
                  <a:lnTo>
                    <a:pt x="561" y="697"/>
                  </a:lnTo>
                  <a:lnTo>
                    <a:pt x="557" y="750"/>
                  </a:lnTo>
                  <a:lnTo>
                    <a:pt x="449" y="758"/>
                  </a:lnTo>
                  <a:lnTo>
                    <a:pt x="449" y="807"/>
                  </a:lnTo>
                  <a:lnTo>
                    <a:pt x="396" y="819"/>
                  </a:lnTo>
                  <a:lnTo>
                    <a:pt x="349" y="793"/>
                  </a:lnTo>
                  <a:lnTo>
                    <a:pt x="286" y="797"/>
                  </a:lnTo>
                  <a:lnTo>
                    <a:pt x="288" y="851"/>
                  </a:lnTo>
                  <a:lnTo>
                    <a:pt x="260" y="890"/>
                  </a:lnTo>
                  <a:lnTo>
                    <a:pt x="305" y="921"/>
                  </a:lnTo>
                  <a:lnTo>
                    <a:pt x="282" y="998"/>
                  </a:lnTo>
                  <a:lnTo>
                    <a:pt x="292" y="1057"/>
                  </a:lnTo>
                  <a:lnTo>
                    <a:pt x="195" y="1071"/>
                  </a:lnTo>
                  <a:lnTo>
                    <a:pt x="211" y="1093"/>
                  </a:lnTo>
                  <a:lnTo>
                    <a:pt x="215" y="1142"/>
                  </a:lnTo>
                  <a:lnTo>
                    <a:pt x="191" y="1156"/>
                  </a:lnTo>
                  <a:lnTo>
                    <a:pt x="252" y="1217"/>
                  </a:lnTo>
                  <a:lnTo>
                    <a:pt x="345" y="1191"/>
                  </a:lnTo>
                  <a:lnTo>
                    <a:pt x="443" y="1232"/>
                  </a:lnTo>
                  <a:lnTo>
                    <a:pt x="506" y="1280"/>
                  </a:lnTo>
                  <a:lnTo>
                    <a:pt x="571" y="1254"/>
                  </a:lnTo>
                  <a:lnTo>
                    <a:pt x="642" y="1299"/>
                  </a:lnTo>
                  <a:lnTo>
                    <a:pt x="689" y="1299"/>
                  </a:lnTo>
                  <a:lnTo>
                    <a:pt x="691" y="1329"/>
                  </a:lnTo>
                  <a:lnTo>
                    <a:pt x="754" y="1323"/>
                  </a:lnTo>
                  <a:lnTo>
                    <a:pt x="756" y="1270"/>
                  </a:lnTo>
                  <a:lnTo>
                    <a:pt x="727" y="1234"/>
                  </a:lnTo>
                  <a:lnTo>
                    <a:pt x="748" y="1205"/>
                  </a:lnTo>
                  <a:lnTo>
                    <a:pt x="811" y="1163"/>
                  </a:lnTo>
                  <a:lnTo>
                    <a:pt x="776" y="1142"/>
                  </a:lnTo>
                  <a:lnTo>
                    <a:pt x="715" y="1104"/>
                  </a:lnTo>
                  <a:lnTo>
                    <a:pt x="733" y="1069"/>
                  </a:lnTo>
                  <a:lnTo>
                    <a:pt x="802" y="1083"/>
                  </a:lnTo>
                  <a:lnTo>
                    <a:pt x="880" y="1089"/>
                  </a:lnTo>
                  <a:lnTo>
                    <a:pt x="926" y="1065"/>
                  </a:lnTo>
                  <a:lnTo>
                    <a:pt x="929" y="1014"/>
                  </a:lnTo>
                  <a:lnTo>
                    <a:pt x="874" y="967"/>
                  </a:lnTo>
                  <a:lnTo>
                    <a:pt x="837" y="906"/>
                  </a:lnTo>
                  <a:lnTo>
                    <a:pt x="809" y="845"/>
                  </a:lnTo>
                  <a:lnTo>
                    <a:pt x="811" y="736"/>
                  </a:lnTo>
                  <a:lnTo>
                    <a:pt x="843" y="671"/>
                  </a:lnTo>
                  <a:lnTo>
                    <a:pt x="819" y="583"/>
                  </a:lnTo>
                  <a:lnTo>
                    <a:pt x="800" y="449"/>
                  </a:lnTo>
                  <a:lnTo>
                    <a:pt x="837" y="351"/>
                  </a:lnTo>
                  <a:lnTo>
                    <a:pt x="786" y="262"/>
                  </a:lnTo>
                  <a:lnTo>
                    <a:pt x="829" y="209"/>
                  </a:lnTo>
                  <a:lnTo>
                    <a:pt x="859" y="85"/>
                  </a:lnTo>
                  <a:lnTo>
                    <a:pt x="859" y="18"/>
                  </a:lnTo>
                  <a:lnTo>
                    <a:pt x="825" y="0"/>
                  </a:lnTo>
                  <a:lnTo>
                    <a:pt x="788" y="59"/>
                  </a:lnTo>
                  <a:lnTo>
                    <a:pt x="731" y="40"/>
                  </a:lnTo>
                  <a:lnTo>
                    <a:pt x="678" y="99"/>
                  </a:lnTo>
                  <a:lnTo>
                    <a:pt x="658" y="179"/>
                  </a:lnTo>
                  <a:lnTo>
                    <a:pt x="561" y="309"/>
                  </a:lnTo>
                  <a:lnTo>
                    <a:pt x="516" y="349"/>
                  </a:lnTo>
                  <a:lnTo>
                    <a:pt x="487" y="321"/>
                  </a:lnTo>
                  <a:lnTo>
                    <a:pt x="396" y="337"/>
                  </a:lnTo>
                  <a:lnTo>
                    <a:pt x="355" y="284"/>
                  </a:lnTo>
                  <a:lnTo>
                    <a:pt x="296" y="282"/>
                  </a:lnTo>
                  <a:lnTo>
                    <a:pt x="254" y="242"/>
                  </a:lnTo>
                  <a:lnTo>
                    <a:pt x="290" y="168"/>
                  </a:lnTo>
                  <a:lnTo>
                    <a:pt x="305" y="122"/>
                  </a:lnTo>
                  <a:lnTo>
                    <a:pt x="272" y="73"/>
                  </a:lnTo>
                  <a:lnTo>
                    <a:pt x="207" y="91"/>
                  </a:lnTo>
                  <a:lnTo>
                    <a:pt x="172" y="170"/>
                  </a:lnTo>
                  <a:lnTo>
                    <a:pt x="158" y="307"/>
                  </a:lnTo>
                  <a:lnTo>
                    <a:pt x="107" y="362"/>
                  </a:lnTo>
                  <a:lnTo>
                    <a:pt x="0" y="406"/>
                  </a:lnTo>
                </a:path>
              </a:pathLst>
            </a:custGeom>
            <a:grpFill/>
            <a:ln w="6350">
              <a:solidFill>
                <a:schemeClr val="tx1">
                  <a:lumMod val="85000"/>
                  <a:lumOff val="15000"/>
                </a:schemeClr>
              </a:solidFill>
              <a:prstDash val="solid"/>
              <a:round/>
            </a:ln>
          </p:spPr>
          <p:txBody>
            <a:bodyPr/>
            <a:lstStyle/>
            <a:p>
              <a:endParaRPr lang="zh-CN" altLang="en-US" sz="2400"/>
            </a:p>
          </p:txBody>
        </p:sp>
        <p:sp>
          <p:nvSpPr>
            <p:cNvPr id="84" name="Freeform 128"/>
            <p:cNvSpPr/>
            <p:nvPr/>
          </p:nvSpPr>
          <p:spPr bwMode="gray">
            <a:xfrm>
              <a:off x="3987" y="3238"/>
              <a:ext cx="121" cy="305"/>
            </a:xfrm>
            <a:custGeom>
              <a:avLst/>
              <a:gdLst>
                <a:gd name="T0" fmla="*/ 43 w 242"/>
                <a:gd name="T1" fmla="*/ 1 h 610"/>
                <a:gd name="T2" fmla="*/ 39 w 242"/>
                <a:gd name="T3" fmla="*/ 6 h 610"/>
                <a:gd name="T4" fmla="*/ 33 w 242"/>
                <a:gd name="T5" fmla="*/ 11 h 610"/>
                <a:gd name="T6" fmla="*/ 28 w 242"/>
                <a:gd name="T7" fmla="*/ 16 h 610"/>
                <a:gd name="T8" fmla="*/ 22 w 242"/>
                <a:gd name="T9" fmla="*/ 24 h 610"/>
                <a:gd name="T10" fmla="*/ 19 w 242"/>
                <a:gd name="T11" fmla="*/ 30 h 610"/>
                <a:gd name="T12" fmla="*/ 16 w 242"/>
                <a:gd name="T13" fmla="*/ 37 h 610"/>
                <a:gd name="T14" fmla="*/ 11 w 242"/>
                <a:gd name="T15" fmla="*/ 47 h 610"/>
                <a:gd name="T16" fmla="*/ 5 w 242"/>
                <a:gd name="T17" fmla="*/ 58 h 610"/>
                <a:gd name="T18" fmla="*/ 1 w 242"/>
                <a:gd name="T19" fmla="*/ 67 h 610"/>
                <a:gd name="T20" fmla="*/ 1 w 242"/>
                <a:gd name="T21" fmla="*/ 77 h 610"/>
                <a:gd name="T22" fmla="*/ 4 w 242"/>
                <a:gd name="T23" fmla="*/ 88 h 610"/>
                <a:gd name="T24" fmla="*/ 5 w 242"/>
                <a:gd name="T25" fmla="*/ 99 h 610"/>
                <a:gd name="T26" fmla="*/ 3 w 242"/>
                <a:gd name="T27" fmla="*/ 108 h 610"/>
                <a:gd name="T28" fmla="*/ 6 w 242"/>
                <a:gd name="T29" fmla="*/ 114 h 610"/>
                <a:gd name="T30" fmla="*/ 15 w 242"/>
                <a:gd name="T31" fmla="*/ 119 h 610"/>
                <a:gd name="T32" fmla="*/ 22 w 242"/>
                <a:gd name="T33" fmla="*/ 129 h 610"/>
                <a:gd name="T34" fmla="*/ 28 w 242"/>
                <a:gd name="T35" fmla="*/ 135 h 610"/>
                <a:gd name="T36" fmla="*/ 33 w 242"/>
                <a:gd name="T37" fmla="*/ 139 h 610"/>
                <a:gd name="T38" fmla="*/ 35 w 242"/>
                <a:gd name="T39" fmla="*/ 146 h 610"/>
                <a:gd name="T40" fmla="*/ 37 w 242"/>
                <a:gd name="T41" fmla="*/ 152 h 610"/>
                <a:gd name="T42" fmla="*/ 41 w 242"/>
                <a:gd name="T43" fmla="*/ 152 h 610"/>
                <a:gd name="T44" fmla="*/ 42 w 242"/>
                <a:gd name="T45" fmla="*/ 146 h 610"/>
                <a:gd name="T46" fmla="*/ 42 w 242"/>
                <a:gd name="T47" fmla="*/ 135 h 610"/>
                <a:gd name="T48" fmla="*/ 45 w 242"/>
                <a:gd name="T49" fmla="*/ 123 h 610"/>
                <a:gd name="T50" fmla="*/ 51 w 242"/>
                <a:gd name="T51" fmla="*/ 114 h 610"/>
                <a:gd name="T52" fmla="*/ 55 w 242"/>
                <a:gd name="T53" fmla="*/ 103 h 610"/>
                <a:gd name="T54" fmla="*/ 57 w 242"/>
                <a:gd name="T55" fmla="*/ 86 h 610"/>
                <a:gd name="T56" fmla="*/ 58 w 242"/>
                <a:gd name="T57" fmla="*/ 66 h 610"/>
                <a:gd name="T58" fmla="*/ 58 w 242"/>
                <a:gd name="T59" fmla="*/ 51 h 610"/>
                <a:gd name="T60" fmla="*/ 60 w 242"/>
                <a:gd name="T61" fmla="*/ 39 h 610"/>
                <a:gd name="T62" fmla="*/ 60 w 242"/>
                <a:gd name="T63" fmla="*/ 28 h 610"/>
                <a:gd name="T64" fmla="*/ 56 w 242"/>
                <a:gd name="T65" fmla="*/ 19 h 610"/>
                <a:gd name="T66" fmla="*/ 52 w 242"/>
                <a:gd name="T67" fmla="*/ 10 h 610"/>
                <a:gd name="T68" fmla="*/ 47 w 242"/>
                <a:gd name="T69" fmla="*/ 2 h 610"/>
                <a:gd name="T70" fmla="*/ 44 w 242"/>
                <a:gd name="T71" fmla="*/ 0 h 61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2"/>
                <a:gd name="T109" fmla="*/ 0 h 610"/>
                <a:gd name="T110" fmla="*/ 242 w 242"/>
                <a:gd name="T111" fmla="*/ 610 h 61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2" h="610">
                  <a:moveTo>
                    <a:pt x="173" y="0"/>
                  </a:moveTo>
                  <a:lnTo>
                    <a:pt x="172" y="4"/>
                  </a:lnTo>
                  <a:lnTo>
                    <a:pt x="164" y="12"/>
                  </a:lnTo>
                  <a:lnTo>
                    <a:pt x="154" y="24"/>
                  </a:lnTo>
                  <a:lnTo>
                    <a:pt x="144" y="36"/>
                  </a:lnTo>
                  <a:lnTo>
                    <a:pt x="132" y="44"/>
                  </a:lnTo>
                  <a:lnTo>
                    <a:pt x="122" y="49"/>
                  </a:lnTo>
                  <a:lnTo>
                    <a:pt x="111" y="63"/>
                  </a:lnTo>
                  <a:lnTo>
                    <a:pt x="97" y="79"/>
                  </a:lnTo>
                  <a:lnTo>
                    <a:pt x="87" y="97"/>
                  </a:lnTo>
                  <a:lnTo>
                    <a:pt x="77" y="112"/>
                  </a:lnTo>
                  <a:lnTo>
                    <a:pt x="73" y="122"/>
                  </a:lnTo>
                  <a:lnTo>
                    <a:pt x="71" y="132"/>
                  </a:lnTo>
                  <a:lnTo>
                    <a:pt x="63" y="148"/>
                  </a:lnTo>
                  <a:lnTo>
                    <a:pt x="53" y="168"/>
                  </a:lnTo>
                  <a:lnTo>
                    <a:pt x="44" y="189"/>
                  </a:lnTo>
                  <a:lnTo>
                    <a:pt x="32" y="213"/>
                  </a:lnTo>
                  <a:lnTo>
                    <a:pt x="20" y="234"/>
                  </a:lnTo>
                  <a:lnTo>
                    <a:pt x="10" y="254"/>
                  </a:lnTo>
                  <a:lnTo>
                    <a:pt x="4" y="268"/>
                  </a:lnTo>
                  <a:lnTo>
                    <a:pt x="0" y="288"/>
                  </a:lnTo>
                  <a:lnTo>
                    <a:pt x="2" y="309"/>
                  </a:lnTo>
                  <a:lnTo>
                    <a:pt x="8" y="331"/>
                  </a:lnTo>
                  <a:lnTo>
                    <a:pt x="14" y="354"/>
                  </a:lnTo>
                  <a:lnTo>
                    <a:pt x="18" y="376"/>
                  </a:lnTo>
                  <a:lnTo>
                    <a:pt x="18" y="396"/>
                  </a:lnTo>
                  <a:lnTo>
                    <a:pt x="14" y="414"/>
                  </a:lnTo>
                  <a:lnTo>
                    <a:pt x="12" y="431"/>
                  </a:lnTo>
                  <a:lnTo>
                    <a:pt x="14" y="445"/>
                  </a:lnTo>
                  <a:lnTo>
                    <a:pt x="24" y="455"/>
                  </a:lnTo>
                  <a:lnTo>
                    <a:pt x="42" y="467"/>
                  </a:lnTo>
                  <a:lnTo>
                    <a:pt x="57" y="477"/>
                  </a:lnTo>
                  <a:lnTo>
                    <a:pt x="71" y="492"/>
                  </a:lnTo>
                  <a:lnTo>
                    <a:pt x="85" y="514"/>
                  </a:lnTo>
                  <a:lnTo>
                    <a:pt x="99" y="530"/>
                  </a:lnTo>
                  <a:lnTo>
                    <a:pt x="111" y="540"/>
                  </a:lnTo>
                  <a:lnTo>
                    <a:pt x="122" y="547"/>
                  </a:lnTo>
                  <a:lnTo>
                    <a:pt x="130" y="555"/>
                  </a:lnTo>
                  <a:lnTo>
                    <a:pt x="136" y="569"/>
                  </a:lnTo>
                  <a:lnTo>
                    <a:pt x="140" y="583"/>
                  </a:lnTo>
                  <a:lnTo>
                    <a:pt x="144" y="597"/>
                  </a:lnTo>
                  <a:lnTo>
                    <a:pt x="148" y="606"/>
                  </a:lnTo>
                  <a:lnTo>
                    <a:pt x="154" y="610"/>
                  </a:lnTo>
                  <a:lnTo>
                    <a:pt x="162" y="606"/>
                  </a:lnTo>
                  <a:lnTo>
                    <a:pt x="168" y="597"/>
                  </a:lnTo>
                  <a:lnTo>
                    <a:pt x="168" y="581"/>
                  </a:lnTo>
                  <a:lnTo>
                    <a:pt x="168" y="559"/>
                  </a:lnTo>
                  <a:lnTo>
                    <a:pt x="168" y="538"/>
                  </a:lnTo>
                  <a:lnTo>
                    <a:pt x="172" y="516"/>
                  </a:lnTo>
                  <a:lnTo>
                    <a:pt x="179" y="494"/>
                  </a:lnTo>
                  <a:lnTo>
                    <a:pt x="189" y="475"/>
                  </a:lnTo>
                  <a:lnTo>
                    <a:pt x="201" y="457"/>
                  </a:lnTo>
                  <a:lnTo>
                    <a:pt x="211" y="435"/>
                  </a:lnTo>
                  <a:lnTo>
                    <a:pt x="217" y="412"/>
                  </a:lnTo>
                  <a:lnTo>
                    <a:pt x="221" y="380"/>
                  </a:lnTo>
                  <a:lnTo>
                    <a:pt x="225" y="343"/>
                  </a:lnTo>
                  <a:lnTo>
                    <a:pt x="227" y="303"/>
                  </a:lnTo>
                  <a:lnTo>
                    <a:pt x="229" y="264"/>
                  </a:lnTo>
                  <a:lnTo>
                    <a:pt x="227" y="231"/>
                  </a:lnTo>
                  <a:lnTo>
                    <a:pt x="229" y="203"/>
                  </a:lnTo>
                  <a:lnTo>
                    <a:pt x="233" y="179"/>
                  </a:lnTo>
                  <a:lnTo>
                    <a:pt x="240" y="156"/>
                  </a:lnTo>
                  <a:lnTo>
                    <a:pt x="242" y="134"/>
                  </a:lnTo>
                  <a:lnTo>
                    <a:pt x="238" y="112"/>
                  </a:lnTo>
                  <a:lnTo>
                    <a:pt x="229" y="89"/>
                  </a:lnTo>
                  <a:lnTo>
                    <a:pt x="223" y="73"/>
                  </a:lnTo>
                  <a:lnTo>
                    <a:pt x="215" y="59"/>
                  </a:lnTo>
                  <a:lnTo>
                    <a:pt x="207" y="42"/>
                  </a:lnTo>
                  <a:lnTo>
                    <a:pt x="195" y="22"/>
                  </a:lnTo>
                  <a:lnTo>
                    <a:pt x="185" y="10"/>
                  </a:lnTo>
                  <a:lnTo>
                    <a:pt x="177" y="2"/>
                  </a:lnTo>
                  <a:lnTo>
                    <a:pt x="173" y="0"/>
                  </a:lnTo>
                </a:path>
              </a:pathLst>
            </a:custGeom>
            <a:grpFill/>
            <a:ln w="6350">
              <a:solidFill>
                <a:schemeClr val="tx1">
                  <a:lumMod val="85000"/>
                  <a:lumOff val="15000"/>
                </a:schemeClr>
              </a:solidFill>
              <a:prstDash val="solid"/>
              <a:round/>
            </a:ln>
          </p:spPr>
          <p:txBody>
            <a:bodyPr/>
            <a:lstStyle/>
            <a:p>
              <a:endParaRPr lang="zh-CN" altLang="en-US" sz="2400"/>
            </a:p>
          </p:txBody>
        </p:sp>
      </p:grpSp>
      <p:sp>
        <p:nvSpPr>
          <p:cNvPr id="85" name="Freeform 78"/>
          <p:cNvSpPr/>
          <p:nvPr/>
        </p:nvSpPr>
        <p:spPr bwMode="gray">
          <a:xfrm>
            <a:off x="3282703" y="3826020"/>
            <a:ext cx="660934" cy="559889"/>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path>
            </a:pathLst>
          </a:custGeom>
          <a:solidFill>
            <a:srgbClr val="00AEEF"/>
          </a:solidFill>
          <a:ln w="6350">
            <a:solidFill>
              <a:srgbClr val="015077"/>
            </a:solidFill>
            <a:prstDash val="solid"/>
            <a:round/>
          </a:ln>
        </p:spPr>
        <p:txBody>
          <a:bodyPr lIns="67388" tIns="33693" rIns="67388" bIns="33693"/>
          <a:lstStyle/>
          <a:p>
            <a:endParaRPr lang="zh-CN" altLang="en-US" sz="2400">
              <a:solidFill>
                <a:schemeClr val="bg1">
                  <a:lumMod val="85000"/>
                </a:schemeClr>
              </a:solidFill>
            </a:endParaRPr>
          </a:p>
        </p:txBody>
      </p:sp>
      <p:sp>
        <p:nvSpPr>
          <p:cNvPr id="86" name="Freeform 92"/>
          <p:cNvSpPr/>
          <p:nvPr/>
        </p:nvSpPr>
        <p:spPr bwMode="gray">
          <a:xfrm>
            <a:off x="3590905" y="2528945"/>
            <a:ext cx="577732" cy="386090"/>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path>
            </a:pathLst>
          </a:custGeom>
          <a:solidFill>
            <a:srgbClr val="00AEEF"/>
          </a:solidFill>
          <a:ln w="6350">
            <a:solidFill>
              <a:srgbClr val="015077"/>
            </a:solidFill>
            <a:prstDash val="solid"/>
            <a:round/>
          </a:ln>
        </p:spPr>
        <p:txBody>
          <a:bodyPr lIns="67388" tIns="33693" rIns="67388" bIns="33693"/>
          <a:lstStyle/>
          <a:p>
            <a:endParaRPr lang="zh-CN" altLang="en-US" sz="2400">
              <a:solidFill>
                <a:schemeClr val="bg1">
                  <a:lumMod val="85000"/>
                </a:schemeClr>
              </a:solidFill>
            </a:endParaRPr>
          </a:p>
        </p:txBody>
      </p:sp>
      <p:sp>
        <p:nvSpPr>
          <p:cNvPr id="87" name="Freeform 100"/>
          <p:cNvSpPr/>
          <p:nvPr/>
        </p:nvSpPr>
        <p:spPr bwMode="gray">
          <a:xfrm>
            <a:off x="3815903" y="1936396"/>
            <a:ext cx="503904" cy="500401"/>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path>
            </a:pathLst>
          </a:custGeom>
          <a:solidFill>
            <a:srgbClr val="00AEEF"/>
          </a:solidFill>
          <a:ln w="6350">
            <a:solidFill>
              <a:srgbClr val="015077"/>
            </a:solidFill>
            <a:prstDash val="solid"/>
            <a:round/>
          </a:ln>
        </p:spPr>
        <p:txBody>
          <a:bodyPr lIns="67388" tIns="33693" rIns="67388" bIns="33693"/>
          <a:lstStyle/>
          <a:p>
            <a:endParaRPr lang="zh-CN" altLang="en-US" sz="2400">
              <a:solidFill>
                <a:schemeClr val="bg1">
                  <a:lumMod val="85000"/>
                </a:schemeClr>
              </a:solidFill>
            </a:endParaRPr>
          </a:p>
        </p:txBody>
      </p:sp>
      <p:sp>
        <p:nvSpPr>
          <p:cNvPr id="88" name="Freeform 82"/>
          <p:cNvSpPr/>
          <p:nvPr/>
        </p:nvSpPr>
        <p:spPr bwMode="gray">
          <a:xfrm>
            <a:off x="3939043" y="3193811"/>
            <a:ext cx="331638" cy="370927"/>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path>
            </a:pathLst>
          </a:custGeom>
          <a:solidFill>
            <a:srgbClr val="00AEEF"/>
          </a:solidFill>
          <a:ln w="6350">
            <a:solidFill>
              <a:srgbClr val="015077"/>
            </a:solidFill>
            <a:prstDash val="solid"/>
            <a:round/>
          </a:ln>
        </p:spPr>
        <p:txBody>
          <a:bodyPr lIns="67388" tIns="33693" rIns="67388" bIns="33693"/>
          <a:lstStyle/>
          <a:p>
            <a:endParaRPr lang="zh-CN" altLang="en-US" sz="2400">
              <a:solidFill>
                <a:schemeClr val="bg1">
                  <a:lumMod val="85000"/>
                </a:schemeClr>
              </a:solidFill>
            </a:endParaRPr>
          </a:p>
        </p:txBody>
      </p:sp>
      <p:cxnSp>
        <p:nvCxnSpPr>
          <p:cNvPr id="89" name="直接连接符 88"/>
          <p:cNvCxnSpPr/>
          <p:nvPr/>
        </p:nvCxnSpPr>
        <p:spPr>
          <a:xfrm>
            <a:off x="4259120" y="2250752"/>
            <a:ext cx="186327" cy="18254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0" name="直接连接符 89"/>
          <p:cNvCxnSpPr/>
          <p:nvPr/>
        </p:nvCxnSpPr>
        <p:spPr>
          <a:xfrm>
            <a:off x="4445447" y="2433297"/>
            <a:ext cx="166213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1" name="直接连接符 90"/>
          <p:cNvCxnSpPr/>
          <p:nvPr/>
        </p:nvCxnSpPr>
        <p:spPr>
          <a:xfrm>
            <a:off x="4101550" y="2625116"/>
            <a:ext cx="186327" cy="18254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2" name="直接连接符 91"/>
          <p:cNvCxnSpPr/>
          <p:nvPr/>
        </p:nvCxnSpPr>
        <p:spPr>
          <a:xfrm>
            <a:off x="4287880" y="2807662"/>
            <a:ext cx="181970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p:nvPr/>
        </p:nvCxnSpPr>
        <p:spPr>
          <a:xfrm flipV="1">
            <a:off x="4211994" y="3295294"/>
            <a:ext cx="233450" cy="150469"/>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p:nvPr/>
        </p:nvCxnSpPr>
        <p:spPr>
          <a:xfrm>
            <a:off x="4445447" y="3295292"/>
            <a:ext cx="166213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5" name="直接连接符 94"/>
          <p:cNvCxnSpPr/>
          <p:nvPr/>
        </p:nvCxnSpPr>
        <p:spPr>
          <a:xfrm>
            <a:off x="3725669" y="4141543"/>
            <a:ext cx="186327" cy="18254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p:nvPr/>
        </p:nvCxnSpPr>
        <p:spPr>
          <a:xfrm>
            <a:off x="3911998" y="4324088"/>
            <a:ext cx="2111986"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7" name="矩形 96"/>
          <p:cNvSpPr/>
          <p:nvPr/>
        </p:nvSpPr>
        <p:spPr>
          <a:xfrm>
            <a:off x="4888298" y="2080278"/>
            <a:ext cx="1213310" cy="283488"/>
          </a:xfrm>
          <a:prstGeom prst="rect">
            <a:avLst/>
          </a:prstGeom>
        </p:spPr>
        <p:txBody>
          <a:bodyPr wrap="none" lIns="67388" tIns="33693" rIns="67388" bIns="33693">
            <a:spAutoFit/>
          </a:bodyPr>
          <a:lstStyle/>
          <a:p>
            <a:r>
              <a:rPr lang="zh-CN" altLang="en-US" sz="1400" dirty="0">
                <a:solidFill>
                  <a:schemeClr val="bg1">
                    <a:lumMod val="85000"/>
                  </a:schemeClr>
                </a:solidFill>
                <a:latin typeface="微软雅黑" panose="020B0503020204020204" pitchFamily="34" charset="-122"/>
                <a:ea typeface="微软雅黑" panose="020B0503020204020204" pitchFamily="34" charset="-122"/>
                <a:cs typeface="华文黑体" pitchFamily="2" charset="-122"/>
              </a:rPr>
              <a:t>点击添加文本</a:t>
            </a:r>
            <a:endParaRPr lang="zh-CN" altLang="en-US" sz="1400"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98" name="矩形 97"/>
          <p:cNvSpPr/>
          <p:nvPr/>
        </p:nvSpPr>
        <p:spPr>
          <a:xfrm>
            <a:off x="4888298" y="2503285"/>
            <a:ext cx="1213310" cy="283488"/>
          </a:xfrm>
          <a:prstGeom prst="rect">
            <a:avLst/>
          </a:prstGeom>
        </p:spPr>
        <p:txBody>
          <a:bodyPr wrap="none" lIns="67388" tIns="33693" rIns="67388" bIns="33693">
            <a:spAutoFit/>
          </a:bodyPr>
          <a:lstStyle/>
          <a:p>
            <a:r>
              <a:rPr lang="zh-CN" altLang="en-US" sz="1400">
                <a:solidFill>
                  <a:schemeClr val="bg1">
                    <a:lumMod val="85000"/>
                  </a:schemeClr>
                </a:solidFill>
                <a:latin typeface="微软雅黑" panose="020B0503020204020204" pitchFamily="34" charset="-122"/>
                <a:ea typeface="微软雅黑" panose="020B0503020204020204" pitchFamily="34" charset="-122"/>
                <a:cs typeface="华文黑体" pitchFamily="2" charset="-122"/>
              </a:rPr>
              <a:t>点击添加文本</a:t>
            </a:r>
            <a:endParaRPr lang="zh-CN" altLang="en-US" sz="1400">
              <a:solidFill>
                <a:schemeClr val="bg1">
                  <a:lumMod val="85000"/>
                </a:schemeClr>
              </a:solidFill>
              <a:latin typeface="微软雅黑" panose="020B0503020204020204" pitchFamily="34" charset="-122"/>
              <a:ea typeface="微软雅黑" panose="020B0503020204020204" pitchFamily="34" charset="-122"/>
            </a:endParaRPr>
          </a:p>
        </p:txBody>
      </p:sp>
      <p:sp>
        <p:nvSpPr>
          <p:cNvPr id="99" name="矩形 98"/>
          <p:cNvSpPr/>
          <p:nvPr/>
        </p:nvSpPr>
        <p:spPr>
          <a:xfrm>
            <a:off x="4888298" y="2992226"/>
            <a:ext cx="1213310" cy="283488"/>
          </a:xfrm>
          <a:prstGeom prst="rect">
            <a:avLst/>
          </a:prstGeom>
        </p:spPr>
        <p:txBody>
          <a:bodyPr wrap="none" lIns="67388" tIns="33693" rIns="67388" bIns="33693">
            <a:spAutoFit/>
          </a:bodyPr>
          <a:lstStyle/>
          <a:p>
            <a:r>
              <a:rPr lang="zh-CN" altLang="en-US" sz="1400">
                <a:solidFill>
                  <a:schemeClr val="bg1">
                    <a:lumMod val="85000"/>
                  </a:schemeClr>
                </a:solidFill>
                <a:latin typeface="微软雅黑" panose="020B0503020204020204" pitchFamily="34" charset="-122"/>
                <a:ea typeface="微软雅黑" panose="020B0503020204020204" pitchFamily="34" charset="-122"/>
                <a:cs typeface="华文黑体" pitchFamily="2" charset="-122"/>
              </a:rPr>
              <a:t>点击添加文本</a:t>
            </a:r>
            <a:endParaRPr lang="zh-CN" altLang="en-US" sz="1400">
              <a:solidFill>
                <a:schemeClr val="bg1">
                  <a:lumMod val="85000"/>
                </a:schemeClr>
              </a:solidFill>
              <a:latin typeface="微软雅黑" panose="020B0503020204020204" pitchFamily="34" charset="-122"/>
              <a:ea typeface="微软雅黑" panose="020B0503020204020204" pitchFamily="34" charset="-122"/>
            </a:endParaRPr>
          </a:p>
        </p:txBody>
      </p:sp>
      <p:sp>
        <p:nvSpPr>
          <p:cNvPr id="100" name="矩形 99"/>
          <p:cNvSpPr/>
          <p:nvPr/>
        </p:nvSpPr>
        <p:spPr>
          <a:xfrm>
            <a:off x="4854884" y="3969437"/>
            <a:ext cx="1213310" cy="283488"/>
          </a:xfrm>
          <a:prstGeom prst="rect">
            <a:avLst/>
          </a:prstGeom>
        </p:spPr>
        <p:txBody>
          <a:bodyPr wrap="none" lIns="67388" tIns="33693" rIns="67388" bIns="33693">
            <a:spAutoFit/>
          </a:bodyPr>
          <a:lstStyle/>
          <a:p>
            <a:r>
              <a:rPr lang="zh-CN" altLang="en-US" sz="1400" dirty="0">
                <a:solidFill>
                  <a:schemeClr val="bg1">
                    <a:lumMod val="85000"/>
                  </a:schemeClr>
                </a:solidFill>
                <a:latin typeface="微软雅黑" panose="020B0503020204020204" pitchFamily="34" charset="-122"/>
                <a:ea typeface="微软雅黑" panose="020B0503020204020204" pitchFamily="34" charset="-122"/>
                <a:cs typeface="华文黑体" pitchFamily="2" charset="-122"/>
              </a:rPr>
              <a:t>点击添加文本</a:t>
            </a:r>
            <a:endParaRPr lang="zh-CN" altLang="en-US" sz="1400" dirty="0">
              <a:solidFill>
                <a:schemeClr val="bg1">
                  <a:lumMod val="85000"/>
                </a:schemeClr>
              </a:solidFill>
              <a:latin typeface="微软雅黑" panose="020B0503020204020204" pitchFamily="34" charset="-122"/>
              <a:ea typeface="微软雅黑" panose="020B0503020204020204" pitchFamily="34" charset="-122"/>
            </a:endParaRPr>
          </a:p>
        </p:txBody>
      </p:sp>
      <p:sp>
        <p:nvSpPr>
          <p:cNvPr id="101" name="矩形标注 100"/>
          <p:cNvSpPr/>
          <p:nvPr/>
        </p:nvSpPr>
        <p:spPr>
          <a:xfrm>
            <a:off x="6503383" y="1655288"/>
            <a:ext cx="2140591" cy="2864452"/>
          </a:xfrm>
          <a:prstGeom prst="wedgeRectCallout">
            <a:avLst>
              <a:gd name="adj1" fmla="val -72333"/>
              <a:gd name="adj2" fmla="val 19715"/>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67388" tIns="33693" rIns="67388" bIns="33693" rtlCol="0" anchor="ctr"/>
          <a:lstStyle/>
          <a:p>
            <a:pPr algn="ctr"/>
            <a:endParaRPr lang="zh-CN" altLang="en-US" sz="2400"/>
          </a:p>
        </p:txBody>
      </p:sp>
      <p:sp>
        <p:nvSpPr>
          <p:cNvPr id="102" name="TextBox 101"/>
          <p:cNvSpPr txBox="1"/>
          <p:nvPr/>
        </p:nvSpPr>
        <p:spPr>
          <a:xfrm>
            <a:off x="6609693" y="1754467"/>
            <a:ext cx="2034281" cy="2708767"/>
          </a:xfrm>
          <a:prstGeom prst="rect">
            <a:avLst/>
          </a:prstGeom>
          <a:noFill/>
        </p:spPr>
        <p:txBody>
          <a:bodyPr wrap="square" lIns="67388" tIns="33693" rIns="67388" bIns="33693" rtlCol="0">
            <a:spAutoFit/>
          </a:bodyPr>
          <a:lstStyle/>
          <a:p>
            <a:pPr>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复制您的文本后您的内容打在这里。您的内容打在这里，或者通过复制您的文本后，在此框中选择粘贴</a:t>
            </a:r>
            <a:r>
              <a:rPr lang="en-US" altLang="zh-CN" sz="1200" dirty="0">
                <a:solidFill>
                  <a:schemeClr val="bg1"/>
                </a:solidFill>
                <a:latin typeface="微软雅黑" panose="020B0503020204020204" pitchFamily="34" charset="-122"/>
                <a:ea typeface="微软雅黑" panose="020B0503020204020204" pitchFamily="34" charset="-122"/>
              </a:rPr>
              <a:t>,</a:t>
            </a:r>
            <a:r>
              <a:rPr lang="zh-CN" altLang="en-US" sz="1200" dirty="0">
                <a:solidFill>
                  <a:schemeClr val="bg1"/>
                </a:solidFill>
                <a:latin typeface="微软雅黑" panose="020B0503020204020204" pitchFamily="34" charset="-122"/>
                <a:ea typeface="微软雅黑" panose="020B0503020204020204" pitchFamily="34" charset="-122"/>
              </a:rPr>
              <a:t>您的内容打在这里，或者通过复制您的文本后，在此框中选择粘贴。</a:t>
            </a:r>
          </a:p>
        </p:txBody>
      </p:sp>
      <p:sp>
        <p:nvSpPr>
          <p:cNvPr id="103" name="平行四边形 102"/>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 name="平行四边形 103"/>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5" name="平行四边形 104"/>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 name="平行四边形 105"/>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07" name="直接连接符 106"/>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8"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109" name="Group 7"/>
          <p:cNvGrpSpPr/>
          <p:nvPr/>
        </p:nvGrpSpPr>
        <p:grpSpPr bwMode="auto">
          <a:xfrm>
            <a:off x="180202" y="181952"/>
            <a:ext cx="216018" cy="113981"/>
            <a:chOff x="0" y="0"/>
            <a:chExt cx="1041399" cy="549275"/>
          </a:xfrm>
          <a:solidFill>
            <a:srgbClr val="133E73"/>
          </a:solidFill>
        </p:grpSpPr>
        <p:sp>
          <p:nvSpPr>
            <p:cNvPr id="110"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1"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2"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113"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9"/>
                                            </p:tgtEl>
                                            <p:attrNameLst>
                                              <p:attrName>style.visibility</p:attrName>
                                            </p:attrNameLst>
                                          </p:cBhvr>
                                          <p:to>
                                            <p:strVal val="visible"/>
                                          </p:to>
                                        </p:set>
                                        <p:anim calcmode="lin" valueType="num">
                                          <p:cBhvr additive="base">
                                            <p:cTn id="7" dur="500" fill="hold"/>
                                            <p:tgtEl>
                                              <p:spTgt spid="109"/>
                                            </p:tgtEl>
                                            <p:attrNameLst>
                                              <p:attrName>ppt_x</p:attrName>
                                            </p:attrNameLst>
                                          </p:cBhvr>
                                          <p:tavLst>
                                            <p:tav tm="0">
                                              <p:val>
                                                <p:strVal val="0-#ppt_w/2"/>
                                              </p:val>
                                            </p:tav>
                                            <p:tav tm="100000">
                                              <p:val>
                                                <p:strVal val="#ppt_x"/>
                                              </p:val>
                                            </p:tav>
                                          </p:tavLst>
                                        </p:anim>
                                        <p:anim calcmode="lin" valueType="num">
                                          <p:cBhvr additive="base">
                                            <p:cTn id="8" dur="500" fill="hold"/>
                                            <p:tgtEl>
                                              <p:spTgt spid="10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08"/>
                                            </p:tgtEl>
                                            <p:attrNameLst>
                                              <p:attrName>style.visibility</p:attrName>
                                            </p:attrNameLst>
                                          </p:cBhvr>
                                          <p:to>
                                            <p:strVal val="visible"/>
                                          </p:to>
                                        </p:set>
                                        <p:anim calcmode="lin" valueType="num">
                                          <p:cBhvr>
                                            <p:cTn id="12" dur="500" fill="hold"/>
                                            <p:tgtEl>
                                              <p:spTgt spid="10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08"/>
                                            </p:tgtEl>
                                            <p:attrNameLst>
                                              <p:attrName>ppt_y</p:attrName>
                                            </p:attrNameLst>
                                          </p:cBhvr>
                                          <p:tavLst>
                                            <p:tav tm="0">
                                              <p:val>
                                                <p:strVal val="#ppt_y"/>
                                              </p:val>
                                            </p:tav>
                                            <p:tav tm="100000">
                                              <p:val>
                                                <p:strVal val="#ppt_y"/>
                                              </p:val>
                                            </p:tav>
                                          </p:tavLst>
                                        </p:anim>
                                        <p:anim calcmode="lin" valueType="num">
                                          <p:cBhvr>
                                            <p:cTn id="14" dur="500" fill="hold"/>
                                            <p:tgtEl>
                                              <p:spTgt spid="10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0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08"/>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105"/>
                                            </p:tgtEl>
                                            <p:attrNameLst>
                                              <p:attrName>fillcolor</p:attrName>
                                            </p:attrNameLst>
                                          </p:cBhvr>
                                          <p:to>
                                            <a:srgbClr val="00AEEF"/>
                                          </p:to>
                                        </p:animClr>
                                        <p:set>
                                          <p:cBhvr>
                                            <p:cTn id="20" dur="300" fill="hold"/>
                                            <p:tgtEl>
                                              <p:spTgt spid="105"/>
                                            </p:tgtEl>
                                            <p:attrNameLst>
                                              <p:attrName>fill.type</p:attrName>
                                            </p:attrNameLst>
                                          </p:cBhvr>
                                          <p:to>
                                            <p:strVal val="solid"/>
                                          </p:to>
                                        </p:set>
                                        <p:set>
                                          <p:cBhvr>
                                            <p:cTn id="21" dur="300" fill="hold"/>
                                            <p:tgtEl>
                                              <p:spTgt spid="105"/>
                                            </p:tgtEl>
                                            <p:attrNameLst>
                                              <p:attrName>fill.on</p:attrName>
                                            </p:attrNameLst>
                                          </p:cBhvr>
                                          <p:to>
                                            <p:strVal val="true"/>
                                          </p:to>
                                        </p:set>
                                      </p:childTnLst>
                                    </p:cTn>
                                  </p:par>
                                </p:childTnLst>
                              </p:cTn>
                            </p:par>
                            <p:par>
                              <p:cTn id="22" fill="hold">
                                <p:stCondLst>
                                  <p:cond delay="1799"/>
                                </p:stCondLst>
                                <p:childTnLst>
                                  <p:par>
                                    <p:cTn id="23" presetID="2" presetClass="entr" presetSubtype="8" accel="58000" fill="hold" nodeType="afterEffect" p14:presetBounceEnd="58000">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14:bounceEnd="58000">
                                          <p:cBhvr additive="base">
                                            <p:cTn id="25" dur="1000" fill="hold"/>
                                            <p:tgtEl>
                                              <p:spTgt spid="22"/>
                                            </p:tgtEl>
                                            <p:attrNameLst>
                                              <p:attrName>ppt_x</p:attrName>
                                            </p:attrNameLst>
                                          </p:cBhvr>
                                          <p:tavLst>
                                            <p:tav tm="0">
                                              <p:val>
                                                <p:strVal val="0-#ppt_w/2"/>
                                              </p:val>
                                            </p:tav>
                                            <p:tav tm="100000">
                                              <p:val>
                                                <p:strVal val="#ppt_x"/>
                                              </p:val>
                                            </p:tav>
                                          </p:tavLst>
                                        </p:anim>
                                        <p:anim calcmode="lin" valueType="num" p14:bounceEnd="58000">
                                          <p:cBhvr additive="base">
                                            <p:cTn id="26" dur="1000" fill="hold"/>
                                            <p:tgtEl>
                                              <p:spTgt spid="22"/>
                                            </p:tgtEl>
                                            <p:attrNameLst>
                                              <p:attrName>ppt_y</p:attrName>
                                            </p:attrNameLst>
                                          </p:cBhvr>
                                          <p:tavLst>
                                            <p:tav tm="0">
                                              <p:val>
                                                <p:strVal val="#ppt_y"/>
                                              </p:val>
                                            </p:tav>
                                            <p:tav tm="100000">
                                              <p:val>
                                                <p:strVal val="#ppt_y"/>
                                              </p:val>
                                            </p:tav>
                                          </p:tavLst>
                                        </p:anim>
                                      </p:childTnLst>
                                    </p:cTn>
                                  </p:par>
                                  <p:par>
                                    <p:cTn id="27" presetID="10" presetClass="entr" presetSubtype="0" fill="hold" grpId="0" nodeType="withEffect">
                                      <p:stCondLst>
                                        <p:cond delay="1000"/>
                                      </p:stCondLst>
                                      <p:childTnLst>
                                        <p:set>
                                          <p:cBhvr>
                                            <p:cTn id="28" dur="1" fill="hold">
                                              <p:stCondLst>
                                                <p:cond delay="0"/>
                                              </p:stCondLst>
                                            </p:cTn>
                                            <p:tgtEl>
                                              <p:spTgt spid="86"/>
                                            </p:tgtEl>
                                            <p:attrNameLst>
                                              <p:attrName>style.visibility</p:attrName>
                                            </p:attrNameLst>
                                          </p:cBhvr>
                                          <p:to>
                                            <p:strVal val="visible"/>
                                          </p:to>
                                        </p:set>
                                        <p:animEffect transition="in" filter="fade">
                                          <p:cBhvr>
                                            <p:cTn id="29" dur="500"/>
                                            <p:tgtEl>
                                              <p:spTgt spid="86"/>
                                            </p:tgtEl>
                                          </p:cBhvr>
                                        </p:animEffect>
                                      </p:childTnLst>
                                    </p:cTn>
                                  </p:par>
                                  <p:par>
                                    <p:cTn id="30" presetID="10" presetClass="entr" presetSubtype="0" fill="hold" grpId="0" nodeType="withEffect">
                                      <p:stCondLst>
                                        <p:cond delay="1300"/>
                                      </p:stCondLst>
                                      <p:childTnLst>
                                        <p:set>
                                          <p:cBhvr>
                                            <p:cTn id="31" dur="1" fill="hold">
                                              <p:stCondLst>
                                                <p:cond delay="0"/>
                                              </p:stCondLst>
                                            </p:cTn>
                                            <p:tgtEl>
                                              <p:spTgt spid="87"/>
                                            </p:tgtEl>
                                            <p:attrNameLst>
                                              <p:attrName>style.visibility</p:attrName>
                                            </p:attrNameLst>
                                          </p:cBhvr>
                                          <p:to>
                                            <p:strVal val="visible"/>
                                          </p:to>
                                        </p:set>
                                        <p:animEffect transition="in" filter="fade">
                                          <p:cBhvr>
                                            <p:cTn id="32" dur="500"/>
                                            <p:tgtEl>
                                              <p:spTgt spid="87"/>
                                            </p:tgtEl>
                                          </p:cBhvr>
                                        </p:animEffect>
                                      </p:childTnLst>
                                    </p:cTn>
                                  </p:par>
                                  <p:par>
                                    <p:cTn id="33" presetID="10" presetClass="entr" presetSubtype="0" fill="hold" grpId="0" nodeType="withEffect">
                                      <p:stCondLst>
                                        <p:cond delay="1800"/>
                                      </p:stCondLst>
                                      <p:childTnLst>
                                        <p:set>
                                          <p:cBhvr>
                                            <p:cTn id="34" dur="1" fill="hold">
                                              <p:stCondLst>
                                                <p:cond delay="0"/>
                                              </p:stCondLst>
                                            </p:cTn>
                                            <p:tgtEl>
                                              <p:spTgt spid="88"/>
                                            </p:tgtEl>
                                            <p:attrNameLst>
                                              <p:attrName>style.visibility</p:attrName>
                                            </p:attrNameLst>
                                          </p:cBhvr>
                                          <p:to>
                                            <p:strVal val="visible"/>
                                          </p:to>
                                        </p:set>
                                        <p:animEffect transition="in" filter="fade">
                                          <p:cBhvr>
                                            <p:cTn id="35" dur="500"/>
                                            <p:tgtEl>
                                              <p:spTgt spid="88"/>
                                            </p:tgtEl>
                                          </p:cBhvr>
                                        </p:animEffect>
                                      </p:childTnLst>
                                    </p:cTn>
                                  </p:par>
                                  <p:par>
                                    <p:cTn id="36" presetID="10" presetClass="entr" presetSubtype="0" fill="hold" grpId="0" nodeType="withEffect">
                                      <p:stCondLst>
                                        <p:cond delay="1500"/>
                                      </p:stCondLst>
                                      <p:childTnLst>
                                        <p:set>
                                          <p:cBhvr>
                                            <p:cTn id="37" dur="1" fill="hold">
                                              <p:stCondLst>
                                                <p:cond delay="0"/>
                                              </p:stCondLst>
                                            </p:cTn>
                                            <p:tgtEl>
                                              <p:spTgt spid="85"/>
                                            </p:tgtEl>
                                            <p:attrNameLst>
                                              <p:attrName>style.visibility</p:attrName>
                                            </p:attrNameLst>
                                          </p:cBhvr>
                                          <p:to>
                                            <p:strVal val="visible"/>
                                          </p:to>
                                        </p:set>
                                        <p:animEffect transition="in" filter="fade">
                                          <p:cBhvr>
                                            <p:cTn id="38" dur="500"/>
                                            <p:tgtEl>
                                              <p:spTgt spid="85"/>
                                            </p:tgtEl>
                                          </p:cBhvr>
                                        </p:animEffect>
                                      </p:childTnLst>
                                    </p:cTn>
                                  </p:par>
                                </p:childTnLst>
                              </p:cTn>
                            </p:par>
                            <p:par>
                              <p:cTn id="39" fill="hold">
                                <p:stCondLst>
                                  <p:cond delay="2799"/>
                                </p:stCondLst>
                                <p:childTnLst>
                                  <p:par>
                                    <p:cTn id="40" presetID="10" presetClass="entr" presetSubtype="0" fill="hold" nodeType="afterEffect">
                                      <p:stCondLst>
                                        <p:cond delay="0"/>
                                      </p:stCondLst>
                                      <p:childTnLst>
                                        <p:set>
                                          <p:cBhvr>
                                            <p:cTn id="41" dur="1" fill="hold">
                                              <p:stCondLst>
                                                <p:cond delay="0"/>
                                              </p:stCondLst>
                                            </p:cTn>
                                            <p:tgtEl>
                                              <p:spTgt spid="89"/>
                                            </p:tgtEl>
                                            <p:attrNameLst>
                                              <p:attrName>style.visibility</p:attrName>
                                            </p:attrNameLst>
                                          </p:cBhvr>
                                          <p:to>
                                            <p:strVal val="visible"/>
                                          </p:to>
                                        </p:set>
                                        <p:animEffect transition="in" filter="fade">
                                          <p:cBhvr>
                                            <p:cTn id="42" dur="500"/>
                                            <p:tgtEl>
                                              <p:spTgt spid="89"/>
                                            </p:tgtEl>
                                          </p:cBhvr>
                                        </p:animEffect>
                                      </p:childTnLst>
                                    </p:cTn>
                                  </p:par>
                                  <p:par>
                                    <p:cTn id="43" presetID="10" presetClass="entr" presetSubtype="0" fill="hold" nodeType="withEffect">
                                      <p:stCondLst>
                                        <p:cond delay="0"/>
                                      </p:stCondLst>
                                      <p:childTnLst>
                                        <p:set>
                                          <p:cBhvr>
                                            <p:cTn id="44" dur="1" fill="hold">
                                              <p:stCondLst>
                                                <p:cond delay="0"/>
                                              </p:stCondLst>
                                            </p:cTn>
                                            <p:tgtEl>
                                              <p:spTgt spid="90"/>
                                            </p:tgtEl>
                                            <p:attrNameLst>
                                              <p:attrName>style.visibility</p:attrName>
                                            </p:attrNameLst>
                                          </p:cBhvr>
                                          <p:to>
                                            <p:strVal val="visible"/>
                                          </p:to>
                                        </p:set>
                                        <p:animEffect transition="in" filter="fade">
                                          <p:cBhvr>
                                            <p:cTn id="45" dur="500"/>
                                            <p:tgtEl>
                                              <p:spTgt spid="90"/>
                                            </p:tgtEl>
                                          </p:cBhvr>
                                        </p:animEffect>
                                      </p:childTnLst>
                                    </p:cTn>
                                  </p:par>
                                  <p:par>
                                    <p:cTn id="46" presetID="10" presetClass="entr" presetSubtype="0" fill="hold" nodeType="withEffect">
                                      <p:stCondLst>
                                        <p:cond delay="0"/>
                                      </p:stCondLst>
                                      <p:childTnLst>
                                        <p:set>
                                          <p:cBhvr>
                                            <p:cTn id="47" dur="1" fill="hold">
                                              <p:stCondLst>
                                                <p:cond delay="0"/>
                                              </p:stCondLst>
                                            </p:cTn>
                                            <p:tgtEl>
                                              <p:spTgt spid="91"/>
                                            </p:tgtEl>
                                            <p:attrNameLst>
                                              <p:attrName>style.visibility</p:attrName>
                                            </p:attrNameLst>
                                          </p:cBhvr>
                                          <p:to>
                                            <p:strVal val="visible"/>
                                          </p:to>
                                        </p:set>
                                        <p:animEffect transition="in" filter="fade">
                                          <p:cBhvr>
                                            <p:cTn id="48" dur="500"/>
                                            <p:tgtEl>
                                              <p:spTgt spid="91"/>
                                            </p:tgtEl>
                                          </p:cBhvr>
                                        </p:animEffect>
                                      </p:childTnLst>
                                    </p:cTn>
                                  </p:par>
                                  <p:par>
                                    <p:cTn id="49" presetID="10" presetClass="entr" presetSubtype="0" fill="hold" nodeType="withEffect">
                                      <p:stCondLst>
                                        <p:cond delay="0"/>
                                      </p:stCondLst>
                                      <p:childTnLst>
                                        <p:set>
                                          <p:cBhvr>
                                            <p:cTn id="50" dur="1" fill="hold">
                                              <p:stCondLst>
                                                <p:cond delay="0"/>
                                              </p:stCondLst>
                                            </p:cTn>
                                            <p:tgtEl>
                                              <p:spTgt spid="92"/>
                                            </p:tgtEl>
                                            <p:attrNameLst>
                                              <p:attrName>style.visibility</p:attrName>
                                            </p:attrNameLst>
                                          </p:cBhvr>
                                          <p:to>
                                            <p:strVal val="visible"/>
                                          </p:to>
                                        </p:set>
                                        <p:animEffect transition="in" filter="fade">
                                          <p:cBhvr>
                                            <p:cTn id="51" dur="500"/>
                                            <p:tgtEl>
                                              <p:spTgt spid="92"/>
                                            </p:tgtEl>
                                          </p:cBhvr>
                                        </p:animEffect>
                                      </p:childTnLst>
                                    </p:cTn>
                                  </p:par>
                                  <p:par>
                                    <p:cTn id="52" presetID="10" presetClass="entr" presetSubtype="0" fill="hold" nodeType="withEffect">
                                      <p:stCondLst>
                                        <p:cond delay="0"/>
                                      </p:stCondLst>
                                      <p:childTnLst>
                                        <p:set>
                                          <p:cBhvr>
                                            <p:cTn id="53" dur="1" fill="hold">
                                              <p:stCondLst>
                                                <p:cond delay="0"/>
                                              </p:stCondLst>
                                            </p:cTn>
                                            <p:tgtEl>
                                              <p:spTgt spid="93"/>
                                            </p:tgtEl>
                                            <p:attrNameLst>
                                              <p:attrName>style.visibility</p:attrName>
                                            </p:attrNameLst>
                                          </p:cBhvr>
                                          <p:to>
                                            <p:strVal val="visible"/>
                                          </p:to>
                                        </p:set>
                                        <p:animEffect transition="in" filter="fade">
                                          <p:cBhvr>
                                            <p:cTn id="54" dur="500"/>
                                            <p:tgtEl>
                                              <p:spTgt spid="93"/>
                                            </p:tgtEl>
                                          </p:cBhvr>
                                        </p:animEffect>
                                      </p:childTnLst>
                                    </p:cTn>
                                  </p:par>
                                </p:childTnLst>
                              </p:cTn>
                            </p:par>
                          </p:childTnLst>
                        </p:cTn>
                      </p:par>
                      <p:par>
                        <p:cTn id="55" fill="hold">
                          <p:stCondLst>
                            <p:cond delay="indefinite"/>
                          </p:stCondLst>
                          <p:childTnLst>
                            <p:par>
                              <p:cTn id="56" fill="hold">
                                <p:stCondLst>
                                  <p:cond delay="0"/>
                                </p:stCondLst>
                                <p:childTnLst>
                                  <p:par>
                                    <p:cTn id="57" presetID="1" presetClass="mediacall" presetSubtype="0" fill="hold" nodeType="clickEffect">
                                      <p:stCondLst>
                                        <p:cond delay="0"/>
                                      </p:stCondLst>
                                      <p:childTnLst>
                                        <p:cmd type="call" cmd="playFrom(0.0)">
                                          <p:cBhvr>
                                            <p:cTn id="58" dur="1" fill="hold"/>
                                            <p:tgtEl>
                                              <p:spTgt spid="113"/>
                                            </p:tgtEl>
                                          </p:cBhvr>
                                        </p:cmd>
                                      </p:childTnLst>
                                    </p:cTn>
                                  </p:par>
                                  <p:par>
                                    <p:cTn id="59" presetID="10" presetClass="entr" presetSubtype="0" fill="hold" nodeType="withEffect">
                                      <p:stCondLst>
                                        <p:cond delay="0"/>
                                      </p:stCondLst>
                                      <p:childTnLst>
                                        <p:set>
                                          <p:cBhvr>
                                            <p:cTn id="60" dur="1" fill="hold">
                                              <p:stCondLst>
                                                <p:cond delay="0"/>
                                              </p:stCondLst>
                                            </p:cTn>
                                            <p:tgtEl>
                                              <p:spTgt spid="94"/>
                                            </p:tgtEl>
                                            <p:attrNameLst>
                                              <p:attrName>style.visibility</p:attrName>
                                            </p:attrNameLst>
                                          </p:cBhvr>
                                          <p:to>
                                            <p:strVal val="visible"/>
                                          </p:to>
                                        </p:set>
                                        <p:animEffect transition="in" filter="fade">
                                          <p:cBhvr>
                                            <p:cTn id="61" dur="500"/>
                                            <p:tgtEl>
                                              <p:spTgt spid="94"/>
                                            </p:tgtEl>
                                          </p:cBhvr>
                                        </p:animEffect>
                                      </p:childTnLst>
                                    </p:cTn>
                                  </p:par>
                                  <p:par>
                                    <p:cTn id="62" presetID="10" presetClass="entr" presetSubtype="0" fill="hold" nodeType="withEffect">
                                      <p:stCondLst>
                                        <p:cond delay="0"/>
                                      </p:stCondLst>
                                      <p:childTnLst>
                                        <p:set>
                                          <p:cBhvr>
                                            <p:cTn id="63" dur="1" fill="hold">
                                              <p:stCondLst>
                                                <p:cond delay="0"/>
                                              </p:stCondLst>
                                            </p:cTn>
                                            <p:tgtEl>
                                              <p:spTgt spid="95"/>
                                            </p:tgtEl>
                                            <p:attrNameLst>
                                              <p:attrName>style.visibility</p:attrName>
                                            </p:attrNameLst>
                                          </p:cBhvr>
                                          <p:to>
                                            <p:strVal val="visible"/>
                                          </p:to>
                                        </p:set>
                                        <p:animEffect transition="in" filter="fade">
                                          <p:cBhvr>
                                            <p:cTn id="64" dur="500"/>
                                            <p:tgtEl>
                                              <p:spTgt spid="95"/>
                                            </p:tgtEl>
                                          </p:cBhvr>
                                        </p:animEffect>
                                      </p:childTnLst>
                                    </p:cTn>
                                  </p:par>
                                  <p:par>
                                    <p:cTn id="65" presetID="10" presetClass="entr" presetSubtype="0" fill="hold" nodeType="withEffect">
                                      <p:stCondLst>
                                        <p:cond delay="0"/>
                                      </p:stCondLst>
                                      <p:childTnLst>
                                        <p:set>
                                          <p:cBhvr>
                                            <p:cTn id="66" dur="1" fill="hold">
                                              <p:stCondLst>
                                                <p:cond delay="0"/>
                                              </p:stCondLst>
                                            </p:cTn>
                                            <p:tgtEl>
                                              <p:spTgt spid="96"/>
                                            </p:tgtEl>
                                            <p:attrNameLst>
                                              <p:attrName>style.visibility</p:attrName>
                                            </p:attrNameLst>
                                          </p:cBhvr>
                                          <p:to>
                                            <p:strVal val="visible"/>
                                          </p:to>
                                        </p:set>
                                        <p:animEffect transition="in" filter="fade">
                                          <p:cBhvr>
                                            <p:cTn id="67" dur="500"/>
                                            <p:tgtEl>
                                              <p:spTgt spid="96"/>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00"/>
                                            </p:tgtEl>
                                            <p:attrNameLst>
                                              <p:attrName>style.visibility</p:attrName>
                                            </p:attrNameLst>
                                          </p:cBhvr>
                                          <p:to>
                                            <p:strVal val="visible"/>
                                          </p:to>
                                        </p:set>
                                        <p:animEffect transition="in" filter="fade">
                                          <p:cBhvr>
                                            <p:cTn id="70" dur="500"/>
                                            <p:tgtEl>
                                              <p:spTgt spid="100"/>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99"/>
                                            </p:tgtEl>
                                            <p:attrNameLst>
                                              <p:attrName>style.visibility</p:attrName>
                                            </p:attrNameLst>
                                          </p:cBhvr>
                                          <p:to>
                                            <p:strVal val="visible"/>
                                          </p:to>
                                        </p:set>
                                        <p:animEffect transition="in" filter="fade">
                                          <p:cBhvr>
                                            <p:cTn id="73" dur="500"/>
                                            <p:tgtEl>
                                              <p:spTgt spid="99"/>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98"/>
                                            </p:tgtEl>
                                            <p:attrNameLst>
                                              <p:attrName>style.visibility</p:attrName>
                                            </p:attrNameLst>
                                          </p:cBhvr>
                                          <p:to>
                                            <p:strVal val="visible"/>
                                          </p:to>
                                        </p:set>
                                        <p:animEffect transition="in" filter="fade">
                                          <p:cBhvr>
                                            <p:cTn id="76" dur="500"/>
                                            <p:tgtEl>
                                              <p:spTgt spid="98"/>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97"/>
                                            </p:tgtEl>
                                            <p:attrNameLst>
                                              <p:attrName>style.visibility</p:attrName>
                                            </p:attrNameLst>
                                          </p:cBhvr>
                                          <p:to>
                                            <p:strVal val="visible"/>
                                          </p:to>
                                        </p:set>
                                        <p:animEffect transition="in" filter="fade">
                                          <p:cBhvr>
                                            <p:cTn id="79" dur="500"/>
                                            <p:tgtEl>
                                              <p:spTgt spid="97"/>
                                            </p:tgtEl>
                                          </p:cBhvr>
                                        </p:animEffect>
                                      </p:childTnLst>
                                    </p:cTn>
                                  </p:par>
                                </p:childTnLst>
                              </p:cTn>
                            </p:par>
                            <p:par>
                              <p:cTn id="80" fill="hold">
                                <p:stCondLst>
                                  <p:cond delay="0"/>
                                </p:stCondLst>
                                <p:childTnLst>
                                  <p:par>
                                    <p:cTn id="81" presetID="22" presetClass="entr" presetSubtype="8" fill="hold" grpId="0" nodeType="afterEffect">
                                      <p:stCondLst>
                                        <p:cond delay="0"/>
                                      </p:stCondLst>
                                      <p:childTnLst>
                                        <p:set>
                                          <p:cBhvr>
                                            <p:cTn id="82" dur="1" fill="hold">
                                              <p:stCondLst>
                                                <p:cond delay="0"/>
                                              </p:stCondLst>
                                            </p:cTn>
                                            <p:tgtEl>
                                              <p:spTgt spid="101"/>
                                            </p:tgtEl>
                                            <p:attrNameLst>
                                              <p:attrName>style.visibility</p:attrName>
                                            </p:attrNameLst>
                                          </p:cBhvr>
                                          <p:to>
                                            <p:strVal val="visible"/>
                                          </p:to>
                                        </p:set>
                                        <p:animEffect transition="in" filter="wipe(left)">
                                          <p:cBhvr>
                                            <p:cTn id="83" dur="500"/>
                                            <p:tgtEl>
                                              <p:spTgt spid="101"/>
                                            </p:tgtEl>
                                          </p:cBhvr>
                                        </p:animEffect>
                                      </p:childTnLst>
                                    </p:cTn>
                                  </p:par>
                                </p:childTnLst>
                              </p:cTn>
                            </p:par>
                            <p:par>
                              <p:cTn id="84" fill="hold">
                                <p:stCondLst>
                                  <p:cond delay="500"/>
                                </p:stCondLst>
                                <p:childTnLst>
                                  <p:par>
                                    <p:cTn id="85" presetID="22" presetClass="entr" presetSubtype="8" fill="hold" grpId="0" nodeType="afterEffect">
                                      <p:stCondLst>
                                        <p:cond delay="0"/>
                                      </p:stCondLst>
                                      <p:iterate type="lt">
                                        <p:tmPct val="30000"/>
                                      </p:iterate>
                                      <p:childTnLst>
                                        <p:set>
                                          <p:cBhvr>
                                            <p:cTn id="86" dur="1" fill="hold">
                                              <p:stCondLst>
                                                <p:cond delay="0"/>
                                              </p:stCondLst>
                                            </p:cTn>
                                            <p:tgtEl>
                                              <p:spTgt spid="102"/>
                                            </p:tgtEl>
                                            <p:attrNameLst>
                                              <p:attrName>style.visibility</p:attrName>
                                            </p:attrNameLst>
                                          </p:cBhvr>
                                          <p:to>
                                            <p:strVal val="visible"/>
                                          </p:to>
                                        </p:set>
                                        <p:animEffect transition="in" filter="wipe(left)">
                                          <p:cBhvr>
                                            <p:cTn id="87" dur="100"/>
                                            <p:tgtEl>
                                              <p:spTgt spid="102"/>
                                            </p:tgtEl>
                                          </p:cBhvr>
                                        </p:animEffect>
                                      </p:childTnLst>
                                    </p:cTn>
                                  </p:par>
                                  <p:par>
                                    <p:cTn id="88" presetID="36" presetClass="emph" presetSubtype="0" fill="hold" grpId="1" nodeType="withEffect">
                                      <p:stCondLst>
                                        <p:cond delay="0"/>
                                      </p:stCondLst>
                                      <p:iterate type="lt">
                                        <p:tmPct val="30000"/>
                                      </p:iterate>
                                      <p:childTnLst>
                                        <p:animScale>
                                          <p:cBhvr>
                                            <p:cTn id="89" dur="50" autoRev="1" fill="hold">
                                              <p:stCondLst>
                                                <p:cond delay="0"/>
                                              </p:stCondLst>
                                            </p:cTn>
                                            <p:tgtEl>
                                              <p:spTgt spid="102"/>
                                            </p:tgtEl>
                                          </p:cBhvr>
                                          <p:to x="80000" y="100000"/>
                                        </p:animScale>
                                        <p:anim by="(#ppt_w*0.10)" calcmode="lin" valueType="num">
                                          <p:cBhvr>
                                            <p:cTn id="90" dur="50" autoRev="1" fill="hold">
                                              <p:stCondLst>
                                                <p:cond delay="0"/>
                                              </p:stCondLst>
                                            </p:cTn>
                                            <p:tgtEl>
                                              <p:spTgt spid="102"/>
                                            </p:tgtEl>
                                            <p:attrNameLst>
                                              <p:attrName>ppt_x</p:attrName>
                                            </p:attrNameLst>
                                          </p:cBhvr>
                                        </p:anim>
                                        <p:anim by="(-#ppt_w*0.10)" calcmode="lin" valueType="num">
                                          <p:cBhvr>
                                            <p:cTn id="91" dur="50" autoRev="1" fill="hold">
                                              <p:stCondLst>
                                                <p:cond delay="0"/>
                                              </p:stCondLst>
                                            </p:cTn>
                                            <p:tgtEl>
                                              <p:spTgt spid="102"/>
                                            </p:tgtEl>
                                            <p:attrNameLst>
                                              <p:attrName>ppt_y</p:attrName>
                                            </p:attrNameLst>
                                          </p:cBhvr>
                                        </p:anim>
                                        <p:animRot by="-480000">
                                          <p:cBhvr>
                                            <p:cTn id="92" dur="50" autoRev="1" fill="hold">
                                              <p:stCondLst>
                                                <p:cond delay="0"/>
                                              </p:stCondLst>
                                            </p:cTn>
                                            <p:tgtEl>
                                              <p:spTgt spid="10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93" fill="hold" display="0">
                      <p:stCondLst>
                        <p:cond delay="indefinite"/>
                      </p:stCondLst>
                      <p:endCondLst>
                        <p:cond evt="onStopAudio" delay="0">
                          <p:tgtEl>
                            <p:sldTgt/>
                          </p:tgtEl>
                        </p:cond>
                      </p:endCondLst>
                    </p:cTn>
                    <p:tgtEl>
                      <p:spTgt spid="113"/>
                    </p:tgtEl>
                  </p:cMediaNode>
                </p:audio>
              </p:childTnLst>
            </p:cTn>
          </p:par>
        </p:tnLst>
        <p:bldLst>
          <p:bldP spid="85" grpId="0" animBg="1"/>
          <p:bldP spid="86" grpId="0" animBg="1"/>
          <p:bldP spid="87" grpId="0" animBg="1"/>
          <p:bldP spid="88" grpId="0" animBg="1"/>
          <p:bldP spid="97" grpId="0"/>
          <p:bldP spid="98" grpId="0"/>
          <p:bldP spid="99" grpId="0"/>
          <p:bldP spid="100" grpId="0"/>
          <p:bldP spid="101" grpId="0" animBg="1"/>
          <p:bldP spid="102" grpId="0"/>
          <p:bldP spid="102" grpId="1"/>
          <p:bldP spid="105" grpId="0" animBg="1"/>
          <p:bldP spid="108"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9"/>
                                            </p:tgtEl>
                                            <p:attrNameLst>
                                              <p:attrName>style.visibility</p:attrName>
                                            </p:attrNameLst>
                                          </p:cBhvr>
                                          <p:to>
                                            <p:strVal val="visible"/>
                                          </p:to>
                                        </p:set>
                                        <p:anim calcmode="lin" valueType="num">
                                          <p:cBhvr additive="base">
                                            <p:cTn id="7" dur="500" fill="hold"/>
                                            <p:tgtEl>
                                              <p:spTgt spid="109"/>
                                            </p:tgtEl>
                                            <p:attrNameLst>
                                              <p:attrName>ppt_x</p:attrName>
                                            </p:attrNameLst>
                                          </p:cBhvr>
                                          <p:tavLst>
                                            <p:tav tm="0">
                                              <p:val>
                                                <p:strVal val="0-#ppt_w/2"/>
                                              </p:val>
                                            </p:tav>
                                            <p:tav tm="100000">
                                              <p:val>
                                                <p:strVal val="#ppt_x"/>
                                              </p:val>
                                            </p:tav>
                                          </p:tavLst>
                                        </p:anim>
                                        <p:anim calcmode="lin" valueType="num">
                                          <p:cBhvr additive="base">
                                            <p:cTn id="8" dur="500" fill="hold"/>
                                            <p:tgtEl>
                                              <p:spTgt spid="10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08"/>
                                            </p:tgtEl>
                                            <p:attrNameLst>
                                              <p:attrName>style.visibility</p:attrName>
                                            </p:attrNameLst>
                                          </p:cBhvr>
                                          <p:to>
                                            <p:strVal val="visible"/>
                                          </p:to>
                                        </p:set>
                                        <p:anim calcmode="lin" valueType="num">
                                          <p:cBhvr>
                                            <p:cTn id="12" dur="500" fill="hold"/>
                                            <p:tgtEl>
                                              <p:spTgt spid="10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08"/>
                                            </p:tgtEl>
                                            <p:attrNameLst>
                                              <p:attrName>ppt_y</p:attrName>
                                            </p:attrNameLst>
                                          </p:cBhvr>
                                          <p:tavLst>
                                            <p:tav tm="0">
                                              <p:val>
                                                <p:strVal val="#ppt_y"/>
                                              </p:val>
                                            </p:tav>
                                            <p:tav tm="100000">
                                              <p:val>
                                                <p:strVal val="#ppt_y"/>
                                              </p:val>
                                            </p:tav>
                                          </p:tavLst>
                                        </p:anim>
                                        <p:anim calcmode="lin" valueType="num">
                                          <p:cBhvr>
                                            <p:cTn id="14" dur="500" fill="hold"/>
                                            <p:tgtEl>
                                              <p:spTgt spid="10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0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08"/>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105"/>
                                            </p:tgtEl>
                                            <p:attrNameLst>
                                              <p:attrName>fillcolor</p:attrName>
                                            </p:attrNameLst>
                                          </p:cBhvr>
                                          <p:to>
                                            <a:srgbClr val="00AEEF"/>
                                          </p:to>
                                        </p:animClr>
                                        <p:set>
                                          <p:cBhvr>
                                            <p:cTn id="20" dur="300" fill="hold"/>
                                            <p:tgtEl>
                                              <p:spTgt spid="105"/>
                                            </p:tgtEl>
                                            <p:attrNameLst>
                                              <p:attrName>fill.type</p:attrName>
                                            </p:attrNameLst>
                                          </p:cBhvr>
                                          <p:to>
                                            <p:strVal val="solid"/>
                                          </p:to>
                                        </p:set>
                                        <p:set>
                                          <p:cBhvr>
                                            <p:cTn id="21" dur="300" fill="hold"/>
                                            <p:tgtEl>
                                              <p:spTgt spid="105"/>
                                            </p:tgtEl>
                                            <p:attrNameLst>
                                              <p:attrName>fill.on</p:attrName>
                                            </p:attrNameLst>
                                          </p:cBhvr>
                                          <p:to>
                                            <p:strVal val="true"/>
                                          </p:to>
                                        </p:set>
                                      </p:childTnLst>
                                    </p:cTn>
                                  </p:par>
                                </p:childTnLst>
                              </p:cTn>
                            </p:par>
                            <p:par>
                              <p:cTn id="22" fill="hold">
                                <p:stCondLst>
                                  <p:cond delay="1799"/>
                                </p:stCondLst>
                                <p:childTnLst>
                                  <p:par>
                                    <p:cTn id="23" presetID="2" presetClass="entr" presetSubtype="8" accel="58000" fill="hold" nodeType="after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additive="base">
                                            <p:cTn id="25" dur="1000" fill="hold"/>
                                            <p:tgtEl>
                                              <p:spTgt spid="22"/>
                                            </p:tgtEl>
                                            <p:attrNameLst>
                                              <p:attrName>ppt_x</p:attrName>
                                            </p:attrNameLst>
                                          </p:cBhvr>
                                          <p:tavLst>
                                            <p:tav tm="0">
                                              <p:val>
                                                <p:strVal val="0-#ppt_w/2"/>
                                              </p:val>
                                            </p:tav>
                                            <p:tav tm="100000">
                                              <p:val>
                                                <p:strVal val="#ppt_x"/>
                                              </p:val>
                                            </p:tav>
                                          </p:tavLst>
                                        </p:anim>
                                        <p:anim calcmode="lin" valueType="num">
                                          <p:cBhvr additive="base">
                                            <p:cTn id="26" dur="1000" fill="hold"/>
                                            <p:tgtEl>
                                              <p:spTgt spid="22"/>
                                            </p:tgtEl>
                                            <p:attrNameLst>
                                              <p:attrName>ppt_y</p:attrName>
                                            </p:attrNameLst>
                                          </p:cBhvr>
                                          <p:tavLst>
                                            <p:tav tm="0">
                                              <p:val>
                                                <p:strVal val="#ppt_y"/>
                                              </p:val>
                                            </p:tav>
                                            <p:tav tm="100000">
                                              <p:val>
                                                <p:strVal val="#ppt_y"/>
                                              </p:val>
                                            </p:tav>
                                          </p:tavLst>
                                        </p:anim>
                                      </p:childTnLst>
                                    </p:cTn>
                                  </p:par>
                                  <p:par>
                                    <p:cTn id="27" presetID="10" presetClass="entr" presetSubtype="0" fill="hold" grpId="0" nodeType="withEffect">
                                      <p:stCondLst>
                                        <p:cond delay="1000"/>
                                      </p:stCondLst>
                                      <p:childTnLst>
                                        <p:set>
                                          <p:cBhvr>
                                            <p:cTn id="28" dur="1" fill="hold">
                                              <p:stCondLst>
                                                <p:cond delay="0"/>
                                              </p:stCondLst>
                                            </p:cTn>
                                            <p:tgtEl>
                                              <p:spTgt spid="86"/>
                                            </p:tgtEl>
                                            <p:attrNameLst>
                                              <p:attrName>style.visibility</p:attrName>
                                            </p:attrNameLst>
                                          </p:cBhvr>
                                          <p:to>
                                            <p:strVal val="visible"/>
                                          </p:to>
                                        </p:set>
                                        <p:animEffect transition="in" filter="fade">
                                          <p:cBhvr>
                                            <p:cTn id="29" dur="500"/>
                                            <p:tgtEl>
                                              <p:spTgt spid="86"/>
                                            </p:tgtEl>
                                          </p:cBhvr>
                                        </p:animEffect>
                                      </p:childTnLst>
                                    </p:cTn>
                                  </p:par>
                                  <p:par>
                                    <p:cTn id="30" presetID="10" presetClass="entr" presetSubtype="0" fill="hold" grpId="0" nodeType="withEffect">
                                      <p:stCondLst>
                                        <p:cond delay="1300"/>
                                      </p:stCondLst>
                                      <p:childTnLst>
                                        <p:set>
                                          <p:cBhvr>
                                            <p:cTn id="31" dur="1" fill="hold">
                                              <p:stCondLst>
                                                <p:cond delay="0"/>
                                              </p:stCondLst>
                                            </p:cTn>
                                            <p:tgtEl>
                                              <p:spTgt spid="87"/>
                                            </p:tgtEl>
                                            <p:attrNameLst>
                                              <p:attrName>style.visibility</p:attrName>
                                            </p:attrNameLst>
                                          </p:cBhvr>
                                          <p:to>
                                            <p:strVal val="visible"/>
                                          </p:to>
                                        </p:set>
                                        <p:animEffect transition="in" filter="fade">
                                          <p:cBhvr>
                                            <p:cTn id="32" dur="500"/>
                                            <p:tgtEl>
                                              <p:spTgt spid="87"/>
                                            </p:tgtEl>
                                          </p:cBhvr>
                                        </p:animEffect>
                                      </p:childTnLst>
                                    </p:cTn>
                                  </p:par>
                                  <p:par>
                                    <p:cTn id="33" presetID="10" presetClass="entr" presetSubtype="0" fill="hold" grpId="0" nodeType="withEffect">
                                      <p:stCondLst>
                                        <p:cond delay="1800"/>
                                      </p:stCondLst>
                                      <p:childTnLst>
                                        <p:set>
                                          <p:cBhvr>
                                            <p:cTn id="34" dur="1" fill="hold">
                                              <p:stCondLst>
                                                <p:cond delay="0"/>
                                              </p:stCondLst>
                                            </p:cTn>
                                            <p:tgtEl>
                                              <p:spTgt spid="88"/>
                                            </p:tgtEl>
                                            <p:attrNameLst>
                                              <p:attrName>style.visibility</p:attrName>
                                            </p:attrNameLst>
                                          </p:cBhvr>
                                          <p:to>
                                            <p:strVal val="visible"/>
                                          </p:to>
                                        </p:set>
                                        <p:animEffect transition="in" filter="fade">
                                          <p:cBhvr>
                                            <p:cTn id="35" dur="500"/>
                                            <p:tgtEl>
                                              <p:spTgt spid="88"/>
                                            </p:tgtEl>
                                          </p:cBhvr>
                                        </p:animEffect>
                                      </p:childTnLst>
                                    </p:cTn>
                                  </p:par>
                                  <p:par>
                                    <p:cTn id="36" presetID="10" presetClass="entr" presetSubtype="0" fill="hold" grpId="0" nodeType="withEffect">
                                      <p:stCondLst>
                                        <p:cond delay="1500"/>
                                      </p:stCondLst>
                                      <p:childTnLst>
                                        <p:set>
                                          <p:cBhvr>
                                            <p:cTn id="37" dur="1" fill="hold">
                                              <p:stCondLst>
                                                <p:cond delay="0"/>
                                              </p:stCondLst>
                                            </p:cTn>
                                            <p:tgtEl>
                                              <p:spTgt spid="85"/>
                                            </p:tgtEl>
                                            <p:attrNameLst>
                                              <p:attrName>style.visibility</p:attrName>
                                            </p:attrNameLst>
                                          </p:cBhvr>
                                          <p:to>
                                            <p:strVal val="visible"/>
                                          </p:to>
                                        </p:set>
                                        <p:animEffect transition="in" filter="fade">
                                          <p:cBhvr>
                                            <p:cTn id="38" dur="500"/>
                                            <p:tgtEl>
                                              <p:spTgt spid="85"/>
                                            </p:tgtEl>
                                          </p:cBhvr>
                                        </p:animEffect>
                                      </p:childTnLst>
                                    </p:cTn>
                                  </p:par>
                                </p:childTnLst>
                              </p:cTn>
                            </p:par>
                            <p:par>
                              <p:cTn id="39" fill="hold">
                                <p:stCondLst>
                                  <p:cond delay="2799"/>
                                </p:stCondLst>
                                <p:childTnLst>
                                  <p:par>
                                    <p:cTn id="40" presetID="10" presetClass="entr" presetSubtype="0" fill="hold" nodeType="afterEffect">
                                      <p:stCondLst>
                                        <p:cond delay="0"/>
                                      </p:stCondLst>
                                      <p:childTnLst>
                                        <p:set>
                                          <p:cBhvr>
                                            <p:cTn id="41" dur="1" fill="hold">
                                              <p:stCondLst>
                                                <p:cond delay="0"/>
                                              </p:stCondLst>
                                            </p:cTn>
                                            <p:tgtEl>
                                              <p:spTgt spid="89"/>
                                            </p:tgtEl>
                                            <p:attrNameLst>
                                              <p:attrName>style.visibility</p:attrName>
                                            </p:attrNameLst>
                                          </p:cBhvr>
                                          <p:to>
                                            <p:strVal val="visible"/>
                                          </p:to>
                                        </p:set>
                                        <p:animEffect transition="in" filter="fade">
                                          <p:cBhvr>
                                            <p:cTn id="42" dur="500"/>
                                            <p:tgtEl>
                                              <p:spTgt spid="89"/>
                                            </p:tgtEl>
                                          </p:cBhvr>
                                        </p:animEffect>
                                      </p:childTnLst>
                                    </p:cTn>
                                  </p:par>
                                  <p:par>
                                    <p:cTn id="43" presetID="10" presetClass="entr" presetSubtype="0" fill="hold" nodeType="withEffect">
                                      <p:stCondLst>
                                        <p:cond delay="0"/>
                                      </p:stCondLst>
                                      <p:childTnLst>
                                        <p:set>
                                          <p:cBhvr>
                                            <p:cTn id="44" dur="1" fill="hold">
                                              <p:stCondLst>
                                                <p:cond delay="0"/>
                                              </p:stCondLst>
                                            </p:cTn>
                                            <p:tgtEl>
                                              <p:spTgt spid="90"/>
                                            </p:tgtEl>
                                            <p:attrNameLst>
                                              <p:attrName>style.visibility</p:attrName>
                                            </p:attrNameLst>
                                          </p:cBhvr>
                                          <p:to>
                                            <p:strVal val="visible"/>
                                          </p:to>
                                        </p:set>
                                        <p:animEffect transition="in" filter="fade">
                                          <p:cBhvr>
                                            <p:cTn id="45" dur="500"/>
                                            <p:tgtEl>
                                              <p:spTgt spid="90"/>
                                            </p:tgtEl>
                                          </p:cBhvr>
                                        </p:animEffect>
                                      </p:childTnLst>
                                    </p:cTn>
                                  </p:par>
                                  <p:par>
                                    <p:cTn id="46" presetID="10" presetClass="entr" presetSubtype="0" fill="hold" nodeType="withEffect">
                                      <p:stCondLst>
                                        <p:cond delay="0"/>
                                      </p:stCondLst>
                                      <p:childTnLst>
                                        <p:set>
                                          <p:cBhvr>
                                            <p:cTn id="47" dur="1" fill="hold">
                                              <p:stCondLst>
                                                <p:cond delay="0"/>
                                              </p:stCondLst>
                                            </p:cTn>
                                            <p:tgtEl>
                                              <p:spTgt spid="91"/>
                                            </p:tgtEl>
                                            <p:attrNameLst>
                                              <p:attrName>style.visibility</p:attrName>
                                            </p:attrNameLst>
                                          </p:cBhvr>
                                          <p:to>
                                            <p:strVal val="visible"/>
                                          </p:to>
                                        </p:set>
                                        <p:animEffect transition="in" filter="fade">
                                          <p:cBhvr>
                                            <p:cTn id="48" dur="500"/>
                                            <p:tgtEl>
                                              <p:spTgt spid="91"/>
                                            </p:tgtEl>
                                          </p:cBhvr>
                                        </p:animEffect>
                                      </p:childTnLst>
                                    </p:cTn>
                                  </p:par>
                                  <p:par>
                                    <p:cTn id="49" presetID="10" presetClass="entr" presetSubtype="0" fill="hold" nodeType="withEffect">
                                      <p:stCondLst>
                                        <p:cond delay="0"/>
                                      </p:stCondLst>
                                      <p:childTnLst>
                                        <p:set>
                                          <p:cBhvr>
                                            <p:cTn id="50" dur="1" fill="hold">
                                              <p:stCondLst>
                                                <p:cond delay="0"/>
                                              </p:stCondLst>
                                            </p:cTn>
                                            <p:tgtEl>
                                              <p:spTgt spid="92"/>
                                            </p:tgtEl>
                                            <p:attrNameLst>
                                              <p:attrName>style.visibility</p:attrName>
                                            </p:attrNameLst>
                                          </p:cBhvr>
                                          <p:to>
                                            <p:strVal val="visible"/>
                                          </p:to>
                                        </p:set>
                                        <p:animEffect transition="in" filter="fade">
                                          <p:cBhvr>
                                            <p:cTn id="51" dur="500"/>
                                            <p:tgtEl>
                                              <p:spTgt spid="92"/>
                                            </p:tgtEl>
                                          </p:cBhvr>
                                        </p:animEffect>
                                      </p:childTnLst>
                                    </p:cTn>
                                  </p:par>
                                  <p:par>
                                    <p:cTn id="52" presetID="10" presetClass="entr" presetSubtype="0" fill="hold" nodeType="withEffect">
                                      <p:stCondLst>
                                        <p:cond delay="0"/>
                                      </p:stCondLst>
                                      <p:childTnLst>
                                        <p:set>
                                          <p:cBhvr>
                                            <p:cTn id="53" dur="1" fill="hold">
                                              <p:stCondLst>
                                                <p:cond delay="0"/>
                                              </p:stCondLst>
                                            </p:cTn>
                                            <p:tgtEl>
                                              <p:spTgt spid="93"/>
                                            </p:tgtEl>
                                            <p:attrNameLst>
                                              <p:attrName>style.visibility</p:attrName>
                                            </p:attrNameLst>
                                          </p:cBhvr>
                                          <p:to>
                                            <p:strVal val="visible"/>
                                          </p:to>
                                        </p:set>
                                        <p:animEffect transition="in" filter="fade">
                                          <p:cBhvr>
                                            <p:cTn id="54" dur="500"/>
                                            <p:tgtEl>
                                              <p:spTgt spid="93"/>
                                            </p:tgtEl>
                                          </p:cBhvr>
                                        </p:animEffect>
                                      </p:childTnLst>
                                    </p:cTn>
                                  </p:par>
                                </p:childTnLst>
                              </p:cTn>
                            </p:par>
                          </p:childTnLst>
                        </p:cTn>
                      </p:par>
                      <p:par>
                        <p:cTn id="55" fill="hold">
                          <p:stCondLst>
                            <p:cond delay="indefinite"/>
                          </p:stCondLst>
                          <p:childTnLst>
                            <p:par>
                              <p:cTn id="56" fill="hold">
                                <p:stCondLst>
                                  <p:cond delay="0"/>
                                </p:stCondLst>
                                <p:childTnLst>
                                  <p:par>
                                    <p:cTn id="57" presetID="1" presetClass="mediacall" presetSubtype="0" fill="hold" nodeType="clickEffect">
                                      <p:stCondLst>
                                        <p:cond delay="0"/>
                                      </p:stCondLst>
                                      <p:childTnLst>
                                        <p:cmd type="call" cmd="playFrom(0.0)">
                                          <p:cBhvr>
                                            <p:cTn id="58" dur="1" fill="hold"/>
                                            <p:tgtEl>
                                              <p:spTgt spid="113"/>
                                            </p:tgtEl>
                                          </p:cBhvr>
                                        </p:cmd>
                                      </p:childTnLst>
                                    </p:cTn>
                                  </p:par>
                                  <p:par>
                                    <p:cTn id="59" presetID="10" presetClass="entr" presetSubtype="0" fill="hold" nodeType="withEffect">
                                      <p:stCondLst>
                                        <p:cond delay="0"/>
                                      </p:stCondLst>
                                      <p:childTnLst>
                                        <p:set>
                                          <p:cBhvr>
                                            <p:cTn id="60" dur="1" fill="hold">
                                              <p:stCondLst>
                                                <p:cond delay="0"/>
                                              </p:stCondLst>
                                            </p:cTn>
                                            <p:tgtEl>
                                              <p:spTgt spid="94"/>
                                            </p:tgtEl>
                                            <p:attrNameLst>
                                              <p:attrName>style.visibility</p:attrName>
                                            </p:attrNameLst>
                                          </p:cBhvr>
                                          <p:to>
                                            <p:strVal val="visible"/>
                                          </p:to>
                                        </p:set>
                                        <p:animEffect transition="in" filter="fade">
                                          <p:cBhvr>
                                            <p:cTn id="61" dur="500"/>
                                            <p:tgtEl>
                                              <p:spTgt spid="94"/>
                                            </p:tgtEl>
                                          </p:cBhvr>
                                        </p:animEffect>
                                      </p:childTnLst>
                                    </p:cTn>
                                  </p:par>
                                  <p:par>
                                    <p:cTn id="62" presetID="10" presetClass="entr" presetSubtype="0" fill="hold" nodeType="withEffect">
                                      <p:stCondLst>
                                        <p:cond delay="0"/>
                                      </p:stCondLst>
                                      <p:childTnLst>
                                        <p:set>
                                          <p:cBhvr>
                                            <p:cTn id="63" dur="1" fill="hold">
                                              <p:stCondLst>
                                                <p:cond delay="0"/>
                                              </p:stCondLst>
                                            </p:cTn>
                                            <p:tgtEl>
                                              <p:spTgt spid="95"/>
                                            </p:tgtEl>
                                            <p:attrNameLst>
                                              <p:attrName>style.visibility</p:attrName>
                                            </p:attrNameLst>
                                          </p:cBhvr>
                                          <p:to>
                                            <p:strVal val="visible"/>
                                          </p:to>
                                        </p:set>
                                        <p:animEffect transition="in" filter="fade">
                                          <p:cBhvr>
                                            <p:cTn id="64" dur="500"/>
                                            <p:tgtEl>
                                              <p:spTgt spid="95"/>
                                            </p:tgtEl>
                                          </p:cBhvr>
                                        </p:animEffect>
                                      </p:childTnLst>
                                    </p:cTn>
                                  </p:par>
                                  <p:par>
                                    <p:cTn id="65" presetID="10" presetClass="entr" presetSubtype="0" fill="hold" nodeType="withEffect">
                                      <p:stCondLst>
                                        <p:cond delay="0"/>
                                      </p:stCondLst>
                                      <p:childTnLst>
                                        <p:set>
                                          <p:cBhvr>
                                            <p:cTn id="66" dur="1" fill="hold">
                                              <p:stCondLst>
                                                <p:cond delay="0"/>
                                              </p:stCondLst>
                                            </p:cTn>
                                            <p:tgtEl>
                                              <p:spTgt spid="96"/>
                                            </p:tgtEl>
                                            <p:attrNameLst>
                                              <p:attrName>style.visibility</p:attrName>
                                            </p:attrNameLst>
                                          </p:cBhvr>
                                          <p:to>
                                            <p:strVal val="visible"/>
                                          </p:to>
                                        </p:set>
                                        <p:animEffect transition="in" filter="fade">
                                          <p:cBhvr>
                                            <p:cTn id="67" dur="500"/>
                                            <p:tgtEl>
                                              <p:spTgt spid="96"/>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00"/>
                                            </p:tgtEl>
                                            <p:attrNameLst>
                                              <p:attrName>style.visibility</p:attrName>
                                            </p:attrNameLst>
                                          </p:cBhvr>
                                          <p:to>
                                            <p:strVal val="visible"/>
                                          </p:to>
                                        </p:set>
                                        <p:animEffect transition="in" filter="fade">
                                          <p:cBhvr>
                                            <p:cTn id="70" dur="500"/>
                                            <p:tgtEl>
                                              <p:spTgt spid="100"/>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99"/>
                                            </p:tgtEl>
                                            <p:attrNameLst>
                                              <p:attrName>style.visibility</p:attrName>
                                            </p:attrNameLst>
                                          </p:cBhvr>
                                          <p:to>
                                            <p:strVal val="visible"/>
                                          </p:to>
                                        </p:set>
                                        <p:animEffect transition="in" filter="fade">
                                          <p:cBhvr>
                                            <p:cTn id="73" dur="500"/>
                                            <p:tgtEl>
                                              <p:spTgt spid="99"/>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98"/>
                                            </p:tgtEl>
                                            <p:attrNameLst>
                                              <p:attrName>style.visibility</p:attrName>
                                            </p:attrNameLst>
                                          </p:cBhvr>
                                          <p:to>
                                            <p:strVal val="visible"/>
                                          </p:to>
                                        </p:set>
                                        <p:animEffect transition="in" filter="fade">
                                          <p:cBhvr>
                                            <p:cTn id="76" dur="500"/>
                                            <p:tgtEl>
                                              <p:spTgt spid="98"/>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97"/>
                                            </p:tgtEl>
                                            <p:attrNameLst>
                                              <p:attrName>style.visibility</p:attrName>
                                            </p:attrNameLst>
                                          </p:cBhvr>
                                          <p:to>
                                            <p:strVal val="visible"/>
                                          </p:to>
                                        </p:set>
                                        <p:animEffect transition="in" filter="fade">
                                          <p:cBhvr>
                                            <p:cTn id="79" dur="500"/>
                                            <p:tgtEl>
                                              <p:spTgt spid="97"/>
                                            </p:tgtEl>
                                          </p:cBhvr>
                                        </p:animEffect>
                                      </p:childTnLst>
                                    </p:cTn>
                                  </p:par>
                                </p:childTnLst>
                              </p:cTn>
                            </p:par>
                            <p:par>
                              <p:cTn id="80" fill="hold">
                                <p:stCondLst>
                                  <p:cond delay="0"/>
                                </p:stCondLst>
                                <p:childTnLst>
                                  <p:par>
                                    <p:cTn id="81" presetID="22" presetClass="entr" presetSubtype="8" fill="hold" grpId="0" nodeType="afterEffect">
                                      <p:stCondLst>
                                        <p:cond delay="0"/>
                                      </p:stCondLst>
                                      <p:childTnLst>
                                        <p:set>
                                          <p:cBhvr>
                                            <p:cTn id="82" dur="1" fill="hold">
                                              <p:stCondLst>
                                                <p:cond delay="0"/>
                                              </p:stCondLst>
                                            </p:cTn>
                                            <p:tgtEl>
                                              <p:spTgt spid="101"/>
                                            </p:tgtEl>
                                            <p:attrNameLst>
                                              <p:attrName>style.visibility</p:attrName>
                                            </p:attrNameLst>
                                          </p:cBhvr>
                                          <p:to>
                                            <p:strVal val="visible"/>
                                          </p:to>
                                        </p:set>
                                        <p:animEffect transition="in" filter="wipe(left)">
                                          <p:cBhvr>
                                            <p:cTn id="83" dur="500"/>
                                            <p:tgtEl>
                                              <p:spTgt spid="101"/>
                                            </p:tgtEl>
                                          </p:cBhvr>
                                        </p:animEffect>
                                      </p:childTnLst>
                                    </p:cTn>
                                  </p:par>
                                </p:childTnLst>
                              </p:cTn>
                            </p:par>
                            <p:par>
                              <p:cTn id="84" fill="hold">
                                <p:stCondLst>
                                  <p:cond delay="500"/>
                                </p:stCondLst>
                                <p:childTnLst>
                                  <p:par>
                                    <p:cTn id="85" presetID="22" presetClass="entr" presetSubtype="8" fill="hold" grpId="0" nodeType="afterEffect">
                                      <p:stCondLst>
                                        <p:cond delay="0"/>
                                      </p:stCondLst>
                                      <p:iterate type="lt">
                                        <p:tmPct val="30000"/>
                                      </p:iterate>
                                      <p:childTnLst>
                                        <p:set>
                                          <p:cBhvr>
                                            <p:cTn id="86" dur="1" fill="hold">
                                              <p:stCondLst>
                                                <p:cond delay="0"/>
                                              </p:stCondLst>
                                            </p:cTn>
                                            <p:tgtEl>
                                              <p:spTgt spid="102"/>
                                            </p:tgtEl>
                                            <p:attrNameLst>
                                              <p:attrName>style.visibility</p:attrName>
                                            </p:attrNameLst>
                                          </p:cBhvr>
                                          <p:to>
                                            <p:strVal val="visible"/>
                                          </p:to>
                                        </p:set>
                                        <p:animEffect transition="in" filter="wipe(left)">
                                          <p:cBhvr>
                                            <p:cTn id="87" dur="100"/>
                                            <p:tgtEl>
                                              <p:spTgt spid="102"/>
                                            </p:tgtEl>
                                          </p:cBhvr>
                                        </p:animEffect>
                                      </p:childTnLst>
                                    </p:cTn>
                                  </p:par>
                                  <p:par>
                                    <p:cTn id="88" presetID="36" presetClass="emph" presetSubtype="0" fill="hold" grpId="1" nodeType="withEffect">
                                      <p:stCondLst>
                                        <p:cond delay="0"/>
                                      </p:stCondLst>
                                      <p:iterate type="lt">
                                        <p:tmPct val="30000"/>
                                      </p:iterate>
                                      <p:childTnLst>
                                        <p:animScale>
                                          <p:cBhvr>
                                            <p:cTn id="89" dur="50" autoRev="1" fill="hold">
                                              <p:stCondLst>
                                                <p:cond delay="0"/>
                                              </p:stCondLst>
                                            </p:cTn>
                                            <p:tgtEl>
                                              <p:spTgt spid="102"/>
                                            </p:tgtEl>
                                          </p:cBhvr>
                                          <p:to x="80000" y="100000"/>
                                        </p:animScale>
                                        <p:anim by="(#ppt_w*0.10)" calcmode="lin" valueType="num">
                                          <p:cBhvr>
                                            <p:cTn id="90" dur="50" autoRev="1" fill="hold">
                                              <p:stCondLst>
                                                <p:cond delay="0"/>
                                              </p:stCondLst>
                                            </p:cTn>
                                            <p:tgtEl>
                                              <p:spTgt spid="102"/>
                                            </p:tgtEl>
                                            <p:attrNameLst>
                                              <p:attrName>ppt_x</p:attrName>
                                            </p:attrNameLst>
                                          </p:cBhvr>
                                        </p:anim>
                                        <p:anim by="(-#ppt_w*0.10)" calcmode="lin" valueType="num">
                                          <p:cBhvr>
                                            <p:cTn id="91" dur="50" autoRev="1" fill="hold">
                                              <p:stCondLst>
                                                <p:cond delay="0"/>
                                              </p:stCondLst>
                                            </p:cTn>
                                            <p:tgtEl>
                                              <p:spTgt spid="102"/>
                                            </p:tgtEl>
                                            <p:attrNameLst>
                                              <p:attrName>ppt_y</p:attrName>
                                            </p:attrNameLst>
                                          </p:cBhvr>
                                        </p:anim>
                                        <p:animRot by="-480000">
                                          <p:cBhvr>
                                            <p:cTn id="92" dur="50" autoRev="1" fill="hold">
                                              <p:stCondLst>
                                                <p:cond delay="0"/>
                                              </p:stCondLst>
                                            </p:cTn>
                                            <p:tgtEl>
                                              <p:spTgt spid="10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93" fill="hold" display="0">
                      <p:stCondLst>
                        <p:cond delay="indefinite"/>
                      </p:stCondLst>
                      <p:endCondLst>
                        <p:cond evt="onStopAudio" delay="0">
                          <p:tgtEl>
                            <p:sldTgt/>
                          </p:tgtEl>
                        </p:cond>
                      </p:endCondLst>
                    </p:cTn>
                    <p:tgtEl>
                      <p:spTgt spid="113"/>
                    </p:tgtEl>
                  </p:cMediaNode>
                </p:audio>
              </p:childTnLst>
            </p:cTn>
          </p:par>
        </p:tnLst>
        <p:bldLst>
          <p:bldP spid="85" grpId="0" animBg="1"/>
          <p:bldP spid="86" grpId="0" animBg="1"/>
          <p:bldP spid="87" grpId="0" animBg="1"/>
          <p:bldP spid="88" grpId="0" animBg="1"/>
          <p:bldP spid="97" grpId="0"/>
          <p:bldP spid="98" grpId="0"/>
          <p:bldP spid="99" grpId="0"/>
          <p:bldP spid="100" grpId="0"/>
          <p:bldP spid="101" grpId="0" animBg="1"/>
          <p:bldP spid="102" grpId="0"/>
          <p:bldP spid="102" grpId="1"/>
          <p:bldP spid="105" grpId="0" animBg="1"/>
          <p:bldP spid="108" grpId="0"/>
        </p:bldLst>
      </p:timing>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Freeform 19"/>
          <p:cNvSpPr>
            <a:spLocks noChangeArrowheads="1"/>
          </p:cNvSpPr>
          <p:nvPr/>
        </p:nvSpPr>
        <p:spPr bwMode="auto">
          <a:xfrm>
            <a:off x="1157923" y="3048969"/>
            <a:ext cx="1569085" cy="1354114"/>
          </a:xfrm>
          <a:custGeom>
            <a:avLst/>
            <a:gdLst>
              <a:gd name="T0" fmla="*/ 2117019 w 18"/>
              <a:gd name="T1" fmla="*/ 0 h 17"/>
              <a:gd name="T2" fmla="*/ 2241550 w 18"/>
              <a:gd name="T3" fmla="*/ 114300 h 17"/>
              <a:gd name="T4" fmla="*/ 2241550 w 18"/>
              <a:gd name="T5" fmla="*/ 1257300 h 17"/>
              <a:gd name="T6" fmla="*/ 2117019 w 18"/>
              <a:gd name="T7" fmla="*/ 1485900 h 17"/>
              <a:gd name="T8" fmla="*/ 1245306 w 18"/>
              <a:gd name="T9" fmla="*/ 1943100 h 17"/>
              <a:gd name="T10" fmla="*/ 996244 w 18"/>
              <a:gd name="T11" fmla="*/ 1943100 h 17"/>
              <a:gd name="T12" fmla="*/ 124531 w 18"/>
              <a:gd name="T13" fmla="*/ 1485900 h 17"/>
              <a:gd name="T14" fmla="*/ 0 w 18"/>
              <a:gd name="T15" fmla="*/ 1257300 h 17"/>
              <a:gd name="T16" fmla="*/ 0 w 18"/>
              <a:gd name="T17" fmla="*/ 114300 h 17"/>
              <a:gd name="T18" fmla="*/ 124531 w 18"/>
              <a:gd name="T19" fmla="*/ 0 h 17"/>
              <a:gd name="T20" fmla="*/ 2117019 w 18"/>
              <a:gd name="T21" fmla="*/ 0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17">
                <a:moveTo>
                  <a:pt x="17" y="0"/>
                </a:moveTo>
                <a:cubicBezTo>
                  <a:pt x="17" y="0"/>
                  <a:pt x="18" y="0"/>
                  <a:pt x="18" y="1"/>
                </a:cubicBezTo>
                <a:cubicBezTo>
                  <a:pt x="18" y="1"/>
                  <a:pt x="18" y="10"/>
                  <a:pt x="18" y="11"/>
                </a:cubicBezTo>
                <a:cubicBezTo>
                  <a:pt x="18" y="12"/>
                  <a:pt x="18" y="12"/>
                  <a:pt x="17" y="13"/>
                </a:cubicBezTo>
                <a:cubicBezTo>
                  <a:pt x="16" y="13"/>
                  <a:pt x="10" y="17"/>
                  <a:pt x="10" y="17"/>
                </a:cubicBezTo>
                <a:cubicBezTo>
                  <a:pt x="9" y="17"/>
                  <a:pt x="9" y="17"/>
                  <a:pt x="8" y="17"/>
                </a:cubicBezTo>
                <a:cubicBezTo>
                  <a:pt x="8" y="17"/>
                  <a:pt x="2" y="13"/>
                  <a:pt x="1" y="13"/>
                </a:cubicBezTo>
                <a:cubicBezTo>
                  <a:pt x="0" y="12"/>
                  <a:pt x="0" y="12"/>
                  <a:pt x="0" y="11"/>
                </a:cubicBezTo>
                <a:cubicBezTo>
                  <a:pt x="0" y="10"/>
                  <a:pt x="0" y="1"/>
                  <a:pt x="0" y="1"/>
                </a:cubicBezTo>
                <a:cubicBezTo>
                  <a:pt x="0" y="0"/>
                  <a:pt x="1" y="0"/>
                  <a:pt x="1" y="0"/>
                </a:cubicBezTo>
                <a:lnTo>
                  <a:pt x="17" y="0"/>
                </a:lnTo>
                <a:close/>
              </a:path>
            </a:pathLst>
          </a:custGeom>
          <a:solidFill>
            <a:srgbClr val="0070C0"/>
          </a:solidFill>
          <a:ln>
            <a:noFill/>
          </a:ln>
        </p:spPr>
        <p:txBody>
          <a:bodyPr lIns="63898" tIns="31949" rIns="63898" bIns="31949"/>
          <a:lstStyle/>
          <a:p>
            <a:endParaRPr lang="zh-CN" altLang="en-US"/>
          </a:p>
        </p:txBody>
      </p:sp>
      <p:sp>
        <p:nvSpPr>
          <p:cNvPr id="70" name="Freeform 20"/>
          <p:cNvSpPr>
            <a:spLocks noChangeArrowheads="1"/>
          </p:cNvSpPr>
          <p:nvPr/>
        </p:nvSpPr>
        <p:spPr bwMode="auto">
          <a:xfrm>
            <a:off x="1157923" y="2411739"/>
            <a:ext cx="1569085" cy="1353008"/>
          </a:xfrm>
          <a:custGeom>
            <a:avLst/>
            <a:gdLst>
              <a:gd name="T0" fmla="*/ 2117019 w 18"/>
              <a:gd name="T1" fmla="*/ 0 h 17"/>
              <a:gd name="T2" fmla="*/ 2241550 w 18"/>
              <a:gd name="T3" fmla="*/ 114207 h 17"/>
              <a:gd name="T4" fmla="*/ 2241550 w 18"/>
              <a:gd name="T5" fmla="*/ 1256273 h 17"/>
              <a:gd name="T6" fmla="*/ 2117019 w 18"/>
              <a:gd name="T7" fmla="*/ 1484686 h 17"/>
              <a:gd name="T8" fmla="*/ 1245306 w 18"/>
              <a:gd name="T9" fmla="*/ 1941513 h 17"/>
              <a:gd name="T10" fmla="*/ 996244 w 18"/>
              <a:gd name="T11" fmla="*/ 1941513 h 17"/>
              <a:gd name="T12" fmla="*/ 124531 w 18"/>
              <a:gd name="T13" fmla="*/ 1484686 h 17"/>
              <a:gd name="T14" fmla="*/ 0 w 18"/>
              <a:gd name="T15" fmla="*/ 1256273 h 17"/>
              <a:gd name="T16" fmla="*/ 0 w 18"/>
              <a:gd name="T17" fmla="*/ 114207 h 17"/>
              <a:gd name="T18" fmla="*/ 124531 w 18"/>
              <a:gd name="T19" fmla="*/ 0 h 17"/>
              <a:gd name="T20" fmla="*/ 2117019 w 18"/>
              <a:gd name="T21" fmla="*/ 0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17">
                <a:moveTo>
                  <a:pt x="17" y="0"/>
                </a:moveTo>
                <a:cubicBezTo>
                  <a:pt x="17" y="0"/>
                  <a:pt x="18" y="0"/>
                  <a:pt x="18" y="1"/>
                </a:cubicBezTo>
                <a:cubicBezTo>
                  <a:pt x="18" y="1"/>
                  <a:pt x="18" y="10"/>
                  <a:pt x="18" y="11"/>
                </a:cubicBezTo>
                <a:cubicBezTo>
                  <a:pt x="18" y="12"/>
                  <a:pt x="18" y="12"/>
                  <a:pt x="17" y="13"/>
                </a:cubicBezTo>
                <a:cubicBezTo>
                  <a:pt x="16" y="13"/>
                  <a:pt x="10" y="17"/>
                  <a:pt x="10" y="17"/>
                </a:cubicBezTo>
                <a:cubicBezTo>
                  <a:pt x="9" y="17"/>
                  <a:pt x="9" y="17"/>
                  <a:pt x="8" y="17"/>
                </a:cubicBezTo>
                <a:cubicBezTo>
                  <a:pt x="8" y="17"/>
                  <a:pt x="2" y="13"/>
                  <a:pt x="1" y="13"/>
                </a:cubicBezTo>
                <a:cubicBezTo>
                  <a:pt x="0" y="12"/>
                  <a:pt x="0" y="12"/>
                  <a:pt x="0" y="11"/>
                </a:cubicBezTo>
                <a:cubicBezTo>
                  <a:pt x="0" y="10"/>
                  <a:pt x="0" y="1"/>
                  <a:pt x="0" y="1"/>
                </a:cubicBezTo>
                <a:cubicBezTo>
                  <a:pt x="0" y="0"/>
                  <a:pt x="1" y="0"/>
                  <a:pt x="1" y="0"/>
                </a:cubicBezTo>
                <a:lnTo>
                  <a:pt x="17" y="0"/>
                </a:lnTo>
                <a:close/>
              </a:path>
            </a:pathLst>
          </a:custGeom>
          <a:solidFill>
            <a:srgbClr val="00AEEF"/>
          </a:solidFill>
          <a:ln>
            <a:noFill/>
          </a:ln>
        </p:spPr>
        <p:txBody>
          <a:bodyPr lIns="67376" tIns="33688" rIns="67376" bIns="33688" anchor="ctr"/>
          <a:lstStyle/>
          <a:p>
            <a:endParaRPr lang="zh-CN" altLang="en-US"/>
          </a:p>
        </p:txBody>
      </p:sp>
      <p:sp>
        <p:nvSpPr>
          <p:cNvPr id="71" name="Freeform 21"/>
          <p:cNvSpPr>
            <a:spLocks noChangeArrowheads="1"/>
          </p:cNvSpPr>
          <p:nvPr/>
        </p:nvSpPr>
        <p:spPr bwMode="auto">
          <a:xfrm>
            <a:off x="1157923" y="1773403"/>
            <a:ext cx="1569085" cy="1354114"/>
          </a:xfrm>
          <a:custGeom>
            <a:avLst/>
            <a:gdLst>
              <a:gd name="T0" fmla="*/ 2117019 w 18"/>
              <a:gd name="T1" fmla="*/ 0 h 17"/>
              <a:gd name="T2" fmla="*/ 2241550 w 18"/>
              <a:gd name="T3" fmla="*/ 114300 h 17"/>
              <a:gd name="T4" fmla="*/ 2241550 w 18"/>
              <a:gd name="T5" fmla="*/ 1257300 h 17"/>
              <a:gd name="T6" fmla="*/ 2117019 w 18"/>
              <a:gd name="T7" fmla="*/ 1485900 h 17"/>
              <a:gd name="T8" fmla="*/ 1245306 w 18"/>
              <a:gd name="T9" fmla="*/ 1943100 h 17"/>
              <a:gd name="T10" fmla="*/ 996244 w 18"/>
              <a:gd name="T11" fmla="*/ 1943100 h 17"/>
              <a:gd name="T12" fmla="*/ 124531 w 18"/>
              <a:gd name="T13" fmla="*/ 1485900 h 17"/>
              <a:gd name="T14" fmla="*/ 0 w 18"/>
              <a:gd name="T15" fmla="*/ 1257300 h 17"/>
              <a:gd name="T16" fmla="*/ 0 w 18"/>
              <a:gd name="T17" fmla="*/ 114300 h 17"/>
              <a:gd name="T18" fmla="*/ 124531 w 18"/>
              <a:gd name="T19" fmla="*/ 0 h 17"/>
              <a:gd name="T20" fmla="*/ 2117019 w 18"/>
              <a:gd name="T21" fmla="*/ 0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17">
                <a:moveTo>
                  <a:pt x="17" y="0"/>
                </a:moveTo>
                <a:cubicBezTo>
                  <a:pt x="17" y="0"/>
                  <a:pt x="18" y="0"/>
                  <a:pt x="18" y="1"/>
                </a:cubicBezTo>
                <a:cubicBezTo>
                  <a:pt x="18" y="1"/>
                  <a:pt x="18" y="10"/>
                  <a:pt x="18" y="11"/>
                </a:cubicBezTo>
                <a:cubicBezTo>
                  <a:pt x="18" y="12"/>
                  <a:pt x="18" y="12"/>
                  <a:pt x="17" y="13"/>
                </a:cubicBezTo>
                <a:cubicBezTo>
                  <a:pt x="16" y="13"/>
                  <a:pt x="10" y="17"/>
                  <a:pt x="10" y="17"/>
                </a:cubicBezTo>
                <a:cubicBezTo>
                  <a:pt x="9" y="17"/>
                  <a:pt x="9" y="17"/>
                  <a:pt x="8" y="17"/>
                </a:cubicBezTo>
                <a:cubicBezTo>
                  <a:pt x="8" y="17"/>
                  <a:pt x="2" y="13"/>
                  <a:pt x="1" y="13"/>
                </a:cubicBezTo>
                <a:cubicBezTo>
                  <a:pt x="0" y="12"/>
                  <a:pt x="0" y="12"/>
                  <a:pt x="0" y="11"/>
                </a:cubicBezTo>
                <a:cubicBezTo>
                  <a:pt x="0" y="10"/>
                  <a:pt x="0" y="1"/>
                  <a:pt x="0" y="1"/>
                </a:cubicBezTo>
                <a:cubicBezTo>
                  <a:pt x="0" y="0"/>
                  <a:pt x="1" y="0"/>
                  <a:pt x="1" y="0"/>
                </a:cubicBezTo>
                <a:lnTo>
                  <a:pt x="17" y="0"/>
                </a:lnTo>
                <a:close/>
              </a:path>
            </a:pathLst>
          </a:custGeom>
          <a:solidFill>
            <a:srgbClr val="0070C0"/>
          </a:solidFill>
          <a:ln>
            <a:noFill/>
          </a:ln>
        </p:spPr>
        <p:txBody>
          <a:bodyPr lIns="63898" tIns="31949" rIns="63898" bIns="31949"/>
          <a:lstStyle/>
          <a:p>
            <a:endParaRPr lang="zh-CN" altLang="en-US"/>
          </a:p>
        </p:txBody>
      </p:sp>
      <p:sp>
        <p:nvSpPr>
          <p:cNvPr id="72" name="Freeform 22"/>
          <p:cNvSpPr>
            <a:spLocks noChangeArrowheads="1"/>
          </p:cNvSpPr>
          <p:nvPr/>
        </p:nvSpPr>
        <p:spPr bwMode="auto">
          <a:xfrm>
            <a:off x="1157923" y="1136173"/>
            <a:ext cx="1569085" cy="1355220"/>
          </a:xfrm>
          <a:custGeom>
            <a:avLst/>
            <a:gdLst>
              <a:gd name="T0" fmla="*/ 2117019 w 18"/>
              <a:gd name="T1" fmla="*/ 0 h 17"/>
              <a:gd name="T2" fmla="*/ 2241550 w 18"/>
              <a:gd name="T3" fmla="*/ 114393 h 17"/>
              <a:gd name="T4" fmla="*/ 2241550 w 18"/>
              <a:gd name="T5" fmla="*/ 1258327 h 17"/>
              <a:gd name="T6" fmla="*/ 2117019 w 18"/>
              <a:gd name="T7" fmla="*/ 1487114 h 17"/>
              <a:gd name="T8" fmla="*/ 1245306 w 18"/>
              <a:gd name="T9" fmla="*/ 1944687 h 17"/>
              <a:gd name="T10" fmla="*/ 996244 w 18"/>
              <a:gd name="T11" fmla="*/ 1944687 h 17"/>
              <a:gd name="T12" fmla="*/ 124531 w 18"/>
              <a:gd name="T13" fmla="*/ 1487114 h 17"/>
              <a:gd name="T14" fmla="*/ 0 w 18"/>
              <a:gd name="T15" fmla="*/ 1258327 h 17"/>
              <a:gd name="T16" fmla="*/ 0 w 18"/>
              <a:gd name="T17" fmla="*/ 114393 h 17"/>
              <a:gd name="T18" fmla="*/ 124531 w 18"/>
              <a:gd name="T19" fmla="*/ 0 h 17"/>
              <a:gd name="T20" fmla="*/ 2117019 w 18"/>
              <a:gd name="T21" fmla="*/ 0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17">
                <a:moveTo>
                  <a:pt x="17" y="0"/>
                </a:moveTo>
                <a:cubicBezTo>
                  <a:pt x="17" y="0"/>
                  <a:pt x="18" y="0"/>
                  <a:pt x="18" y="1"/>
                </a:cubicBezTo>
                <a:cubicBezTo>
                  <a:pt x="18" y="1"/>
                  <a:pt x="18" y="10"/>
                  <a:pt x="18" y="11"/>
                </a:cubicBezTo>
                <a:cubicBezTo>
                  <a:pt x="18" y="12"/>
                  <a:pt x="18" y="12"/>
                  <a:pt x="17" y="13"/>
                </a:cubicBezTo>
                <a:cubicBezTo>
                  <a:pt x="16" y="13"/>
                  <a:pt x="10" y="17"/>
                  <a:pt x="10" y="17"/>
                </a:cubicBezTo>
                <a:cubicBezTo>
                  <a:pt x="9" y="17"/>
                  <a:pt x="9" y="17"/>
                  <a:pt x="8" y="17"/>
                </a:cubicBezTo>
                <a:cubicBezTo>
                  <a:pt x="8" y="17"/>
                  <a:pt x="2" y="13"/>
                  <a:pt x="1" y="13"/>
                </a:cubicBezTo>
                <a:cubicBezTo>
                  <a:pt x="0" y="12"/>
                  <a:pt x="0" y="12"/>
                  <a:pt x="0" y="11"/>
                </a:cubicBezTo>
                <a:cubicBezTo>
                  <a:pt x="0" y="10"/>
                  <a:pt x="0" y="1"/>
                  <a:pt x="0" y="1"/>
                </a:cubicBezTo>
                <a:cubicBezTo>
                  <a:pt x="0" y="0"/>
                  <a:pt x="1" y="0"/>
                  <a:pt x="1" y="0"/>
                </a:cubicBezTo>
                <a:lnTo>
                  <a:pt x="17" y="0"/>
                </a:lnTo>
                <a:close/>
              </a:path>
            </a:pathLst>
          </a:custGeom>
          <a:solidFill>
            <a:srgbClr val="00AEEF"/>
          </a:solidFill>
          <a:ln>
            <a:noFill/>
          </a:ln>
        </p:spPr>
        <p:txBody>
          <a:bodyPr lIns="67376" tIns="33688" rIns="67376" bIns="33688" anchor="ctr"/>
          <a:lstStyle/>
          <a:p>
            <a:endParaRPr lang="zh-CN" altLang="en-US"/>
          </a:p>
        </p:txBody>
      </p:sp>
      <p:cxnSp>
        <p:nvCxnSpPr>
          <p:cNvPr id="73" name="直接连接符 72"/>
          <p:cNvCxnSpPr/>
          <p:nvPr/>
        </p:nvCxnSpPr>
        <p:spPr>
          <a:xfrm flipH="1">
            <a:off x="3004820" y="1326457"/>
            <a:ext cx="2229168" cy="0"/>
          </a:xfrm>
          <a:prstGeom prst="line">
            <a:avLst/>
          </a:prstGeom>
          <a:ln w="6350">
            <a:solidFill>
              <a:srgbClr val="00AEEF"/>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4" name="直接连接符 73"/>
          <p:cNvCxnSpPr/>
          <p:nvPr/>
        </p:nvCxnSpPr>
        <p:spPr>
          <a:xfrm flipH="1">
            <a:off x="3004820" y="2407314"/>
            <a:ext cx="2229168" cy="0"/>
          </a:xfrm>
          <a:prstGeom prst="line">
            <a:avLst/>
          </a:prstGeom>
          <a:ln w="6350">
            <a:solidFill>
              <a:srgbClr val="0070C0"/>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5" name="直接连接符 74"/>
          <p:cNvCxnSpPr/>
          <p:nvPr/>
        </p:nvCxnSpPr>
        <p:spPr>
          <a:xfrm flipH="1">
            <a:off x="3004820" y="3186150"/>
            <a:ext cx="2229168" cy="0"/>
          </a:xfrm>
          <a:prstGeom prst="line">
            <a:avLst/>
          </a:prstGeom>
          <a:ln w="6350">
            <a:solidFill>
              <a:srgbClr val="00AEEF"/>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6" name="直接连接符 75"/>
          <p:cNvCxnSpPr/>
          <p:nvPr/>
        </p:nvCxnSpPr>
        <p:spPr>
          <a:xfrm flipH="1">
            <a:off x="3004820" y="4061236"/>
            <a:ext cx="2229168" cy="0"/>
          </a:xfrm>
          <a:prstGeom prst="line">
            <a:avLst/>
          </a:prstGeom>
          <a:ln w="6350">
            <a:solidFill>
              <a:srgbClr val="0070C0"/>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7" name="直接连接符 76"/>
          <p:cNvCxnSpPr/>
          <p:nvPr/>
        </p:nvCxnSpPr>
        <p:spPr>
          <a:xfrm>
            <a:off x="5374005" y="1246803"/>
            <a:ext cx="0" cy="209091"/>
          </a:xfrm>
          <a:prstGeom prst="line">
            <a:avLst/>
          </a:prstGeom>
          <a:ln w="38100">
            <a:solidFill>
              <a:srgbClr val="00AEEF"/>
            </a:solidFill>
          </a:ln>
        </p:spPr>
        <p:style>
          <a:lnRef idx="1">
            <a:schemeClr val="accent1"/>
          </a:lnRef>
          <a:fillRef idx="0">
            <a:schemeClr val="accent1"/>
          </a:fillRef>
          <a:effectRef idx="0">
            <a:schemeClr val="accent1"/>
          </a:effectRef>
          <a:fontRef idx="minor">
            <a:schemeClr val="tx1"/>
          </a:fontRef>
        </p:style>
      </p:cxnSp>
      <p:cxnSp>
        <p:nvCxnSpPr>
          <p:cNvPr id="78" name="直接连接符 77"/>
          <p:cNvCxnSpPr/>
          <p:nvPr/>
        </p:nvCxnSpPr>
        <p:spPr>
          <a:xfrm>
            <a:off x="5365115" y="2303321"/>
            <a:ext cx="0" cy="207985"/>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79" name="直接连接符 78"/>
          <p:cNvCxnSpPr/>
          <p:nvPr/>
        </p:nvCxnSpPr>
        <p:spPr>
          <a:xfrm>
            <a:off x="5354003" y="3109816"/>
            <a:ext cx="0" cy="209091"/>
          </a:xfrm>
          <a:prstGeom prst="line">
            <a:avLst/>
          </a:prstGeom>
          <a:ln w="38100">
            <a:solidFill>
              <a:srgbClr val="00AEEF"/>
            </a:soli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p:nvPr/>
        </p:nvCxnSpPr>
        <p:spPr>
          <a:xfrm>
            <a:off x="5345113" y="3927373"/>
            <a:ext cx="0" cy="209091"/>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sp>
        <p:nvSpPr>
          <p:cNvPr id="81" name="文本框 58"/>
          <p:cNvSpPr txBox="1"/>
          <p:nvPr/>
        </p:nvSpPr>
        <p:spPr>
          <a:xfrm>
            <a:off x="1454627" y="1922753"/>
            <a:ext cx="990123" cy="424621"/>
          </a:xfrm>
          <a:prstGeom prst="rect">
            <a:avLst/>
          </a:prstGeom>
          <a:noFill/>
        </p:spPr>
        <p:txBody>
          <a:bodyPr lIns="63898" tIns="31949" rIns="63898" bIns="31949">
            <a:spAutoFit/>
          </a:bodyPr>
          <a:lstStyle/>
          <a:p>
            <a:pPr algn="ctr" eaLnBrk="1" hangingPunct="1">
              <a:lnSpc>
                <a:spcPct val="130000"/>
              </a:lnSpc>
              <a:defRPr/>
            </a:pPr>
            <a:r>
              <a:rPr lang="en-US" altLang="zh-CN" noProof="1">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en-US" altLang="zh-CN" b="1" noProof="1">
                <a:solidFill>
                  <a:schemeClr val="bg1"/>
                </a:solidFill>
                <a:latin typeface="Arial" panose="020B0604020202020204" pitchFamily="34" charset="0"/>
                <a:ea typeface="微软雅黑" panose="020B0503020204020204" pitchFamily="34" charset="-122"/>
                <a:sym typeface="Arial" panose="020B0604020202020204" pitchFamily="34" charset="0"/>
              </a:rPr>
              <a:t>01</a:t>
            </a:r>
            <a:endParaRPr lang="zh-CN" altLang="en-US" b="1"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82" name="文本框 59"/>
          <p:cNvSpPr txBox="1"/>
          <p:nvPr/>
        </p:nvSpPr>
        <p:spPr>
          <a:xfrm>
            <a:off x="1446848" y="2556665"/>
            <a:ext cx="991235" cy="424621"/>
          </a:xfrm>
          <a:prstGeom prst="rect">
            <a:avLst/>
          </a:prstGeom>
          <a:noFill/>
        </p:spPr>
        <p:txBody>
          <a:bodyPr lIns="63898" tIns="31949" rIns="63898" bIns="31949">
            <a:spAutoFit/>
          </a:bodyPr>
          <a:lstStyle/>
          <a:p>
            <a:pPr algn="ctr" eaLnBrk="1" hangingPunct="1">
              <a:lnSpc>
                <a:spcPct val="130000"/>
              </a:lnSpc>
              <a:defRPr/>
            </a:pPr>
            <a:r>
              <a:rPr lang="en-US" altLang="zh-CN" noProof="1">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en-US" altLang="zh-CN" b="1" noProof="1">
                <a:solidFill>
                  <a:schemeClr val="bg1"/>
                </a:solidFill>
                <a:latin typeface="Arial" panose="020B0604020202020204" pitchFamily="34" charset="0"/>
                <a:ea typeface="微软雅黑" panose="020B0503020204020204" pitchFamily="34" charset="-122"/>
                <a:sym typeface="Arial" panose="020B0604020202020204" pitchFamily="34" charset="0"/>
              </a:rPr>
              <a:t>02</a:t>
            </a:r>
            <a:endParaRPr lang="zh-CN" altLang="en-US" b="1"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83" name="文本框 60"/>
          <p:cNvSpPr txBox="1"/>
          <p:nvPr/>
        </p:nvSpPr>
        <p:spPr>
          <a:xfrm>
            <a:off x="1446848" y="3191682"/>
            <a:ext cx="991235" cy="424621"/>
          </a:xfrm>
          <a:prstGeom prst="rect">
            <a:avLst/>
          </a:prstGeom>
          <a:noFill/>
        </p:spPr>
        <p:txBody>
          <a:bodyPr lIns="63898" tIns="31949" rIns="63898" bIns="31949">
            <a:spAutoFit/>
          </a:bodyPr>
          <a:lstStyle/>
          <a:p>
            <a:pPr algn="ctr" eaLnBrk="1" hangingPunct="1">
              <a:lnSpc>
                <a:spcPct val="130000"/>
              </a:lnSpc>
              <a:defRPr/>
            </a:pPr>
            <a:r>
              <a:rPr lang="en-US" altLang="zh-CN" noProof="1">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en-US" altLang="zh-CN" b="1" noProof="1">
                <a:solidFill>
                  <a:schemeClr val="bg1"/>
                </a:solidFill>
                <a:latin typeface="Arial" panose="020B0604020202020204" pitchFamily="34" charset="0"/>
                <a:ea typeface="微软雅黑" panose="020B0503020204020204" pitchFamily="34" charset="-122"/>
                <a:sym typeface="Arial" panose="020B0604020202020204" pitchFamily="34" charset="0"/>
              </a:rPr>
              <a:t>03</a:t>
            </a:r>
            <a:endParaRPr lang="zh-CN" altLang="en-US" b="1"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84" name="文本框 61"/>
          <p:cNvSpPr txBox="1"/>
          <p:nvPr/>
        </p:nvSpPr>
        <p:spPr>
          <a:xfrm>
            <a:off x="1446848" y="3817849"/>
            <a:ext cx="991235" cy="424621"/>
          </a:xfrm>
          <a:prstGeom prst="rect">
            <a:avLst/>
          </a:prstGeom>
          <a:noFill/>
        </p:spPr>
        <p:txBody>
          <a:bodyPr lIns="63898" tIns="31949" rIns="63898" bIns="31949">
            <a:spAutoFit/>
          </a:bodyPr>
          <a:lstStyle/>
          <a:p>
            <a:pPr algn="ctr" eaLnBrk="1" hangingPunct="1">
              <a:lnSpc>
                <a:spcPct val="130000"/>
              </a:lnSpc>
              <a:defRPr/>
            </a:pPr>
            <a:r>
              <a:rPr lang="en-US" altLang="zh-CN" noProof="1">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en-US" altLang="zh-CN" b="1" noProof="1">
                <a:solidFill>
                  <a:schemeClr val="bg1"/>
                </a:solidFill>
                <a:latin typeface="Arial" panose="020B0604020202020204" pitchFamily="34" charset="0"/>
                <a:ea typeface="微软雅黑" panose="020B0503020204020204" pitchFamily="34" charset="-122"/>
                <a:sym typeface="Arial" panose="020B0604020202020204" pitchFamily="34" charset="0"/>
              </a:rPr>
              <a:t>04</a:t>
            </a:r>
            <a:endParaRPr lang="zh-CN" altLang="en-US" b="1"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85" name="组合 62"/>
          <p:cNvGrpSpPr/>
          <p:nvPr/>
        </p:nvGrpSpPr>
        <p:grpSpPr>
          <a:xfrm>
            <a:off x="1676827" y="1350067"/>
            <a:ext cx="531875" cy="528640"/>
            <a:chOff x="3175" y="0"/>
            <a:chExt cx="971551" cy="969963"/>
          </a:xfrm>
          <a:solidFill>
            <a:schemeClr val="bg1"/>
          </a:solidFill>
        </p:grpSpPr>
        <p:sp>
          <p:nvSpPr>
            <p:cNvPr id="86" name="Freeform 47"/>
            <p:cNvSpPr/>
            <p:nvPr/>
          </p:nvSpPr>
          <p:spPr bwMode="auto">
            <a:xfrm>
              <a:off x="674688" y="98425"/>
              <a:ext cx="201613" cy="201613"/>
            </a:xfrm>
            <a:custGeom>
              <a:avLst/>
              <a:gdLst>
                <a:gd name="T0" fmla="*/ 0 w 127"/>
                <a:gd name="T1" fmla="*/ 0 h 127"/>
                <a:gd name="T2" fmla="*/ 0 w 127"/>
                <a:gd name="T3" fmla="*/ 21 h 127"/>
                <a:gd name="T4" fmla="*/ 107 w 127"/>
                <a:gd name="T5" fmla="*/ 21 h 127"/>
                <a:gd name="T6" fmla="*/ 107 w 127"/>
                <a:gd name="T7" fmla="*/ 127 h 127"/>
                <a:gd name="T8" fmla="*/ 127 w 127"/>
                <a:gd name="T9" fmla="*/ 127 h 127"/>
                <a:gd name="T10" fmla="*/ 127 w 127"/>
                <a:gd name="T11" fmla="*/ 0 h 127"/>
                <a:gd name="T12" fmla="*/ 0 w 127"/>
                <a:gd name="T13" fmla="*/ 0 h 127"/>
              </a:gdLst>
              <a:ahLst/>
              <a:cxnLst>
                <a:cxn ang="0">
                  <a:pos x="T0" y="T1"/>
                </a:cxn>
                <a:cxn ang="0">
                  <a:pos x="T2" y="T3"/>
                </a:cxn>
                <a:cxn ang="0">
                  <a:pos x="T4" y="T5"/>
                </a:cxn>
                <a:cxn ang="0">
                  <a:pos x="T6" y="T7"/>
                </a:cxn>
                <a:cxn ang="0">
                  <a:pos x="T8" y="T9"/>
                </a:cxn>
                <a:cxn ang="0">
                  <a:pos x="T10" y="T11"/>
                </a:cxn>
                <a:cxn ang="0">
                  <a:pos x="T12" y="T13"/>
                </a:cxn>
              </a:cxnLst>
              <a:rect l="0" t="0" r="r" b="b"/>
              <a:pathLst>
                <a:path w="127" h="127">
                  <a:moveTo>
                    <a:pt x="0" y="0"/>
                  </a:moveTo>
                  <a:lnTo>
                    <a:pt x="0" y="21"/>
                  </a:lnTo>
                  <a:lnTo>
                    <a:pt x="107" y="21"/>
                  </a:lnTo>
                  <a:lnTo>
                    <a:pt x="107" y="127"/>
                  </a:lnTo>
                  <a:lnTo>
                    <a:pt x="127" y="127"/>
                  </a:lnTo>
                  <a:lnTo>
                    <a:pt x="127" y="0"/>
                  </a:lnTo>
                  <a:lnTo>
                    <a:pt x="0"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87" name="Freeform 48"/>
            <p:cNvSpPr/>
            <p:nvPr/>
          </p:nvSpPr>
          <p:spPr bwMode="auto">
            <a:xfrm>
              <a:off x="101600" y="671513"/>
              <a:ext cx="201613" cy="200025"/>
            </a:xfrm>
            <a:custGeom>
              <a:avLst/>
              <a:gdLst>
                <a:gd name="T0" fmla="*/ 0 w 127"/>
                <a:gd name="T1" fmla="*/ 0 h 126"/>
                <a:gd name="T2" fmla="*/ 0 w 127"/>
                <a:gd name="T3" fmla="*/ 126 h 126"/>
                <a:gd name="T4" fmla="*/ 127 w 127"/>
                <a:gd name="T5" fmla="*/ 126 h 126"/>
                <a:gd name="T6" fmla="*/ 127 w 127"/>
                <a:gd name="T7" fmla="*/ 106 h 126"/>
                <a:gd name="T8" fmla="*/ 21 w 127"/>
                <a:gd name="T9" fmla="*/ 106 h 126"/>
                <a:gd name="T10" fmla="*/ 21 w 127"/>
                <a:gd name="T11" fmla="*/ 0 h 126"/>
                <a:gd name="T12" fmla="*/ 0 w 127"/>
                <a:gd name="T13" fmla="*/ 0 h 126"/>
                <a:gd name="T14" fmla="*/ 0 w 127"/>
                <a:gd name="T15" fmla="*/ 0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126">
                  <a:moveTo>
                    <a:pt x="0" y="0"/>
                  </a:moveTo>
                  <a:lnTo>
                    <a:pt x="0" y="126"/>
                  </a:lnTo>
                  <a:lnTo>
                    <a:pt x="127" y="126"/>
                  </a:lnTo>
                  <a:lnTo>
                    <a:pt x="127" y="106"/>
                  </a:lnTo>
                  <a:lnTo>
                    <a:pt x="21" y="106"/>
                  </a:lnTo>
                  <a:lnTo>
                    <a:pt x="21" y="0"/>
                  </a:lnTo>
                  <a:lnTo>
                    <a:pt x="0" y="0"/>
                  </a:lnTo>
                  <a:lnTo>
                    <a:pt x="0"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88" name="Freeform 49"/>
            <p:cNvSpPr/>
            <p:nvPr/>
          </p:nvSpPr>
          <p:spPr bwMode="auto">
            <a:xfrm>
              <a:off x="674688" y="671513"/>
              <a:ext cx="201613" cy="200025"/>
            </a:xfrm>
            <a:custGeom>
              <a:avLst/>
              <a:gdLst>
                <a:gd name="T0" fmla="*/ 107 w 127"/>
                <a:gd name="T1" fmla="*/ 0 h 126"/>
                <a:gd name="T2" fmla="*/ 107 w 127"/>
                <a:gd name="T3" fmla="*/ 106 h 126"/>
                <a:gd name="T4" fmla="*/ 0 w 127"/>
                <a:gd name="T5" fmla="*/ 106 h 126"/>
                <a:gd name="T6" fmla="*/ 0 w 127"/>
                <a:gd name="T7" fmla="*/ 126 h 126"/>
                <a:gd name="T8" fmla="*/ 127 w 127"/>
                <a:gd name="T9" fmla="*/ 126 h 126"/>
                <a:gd name="T10" fmla="*/ 127 w 127"/>
                <a:gd name="T11" fmla="*/ 0 h 126"/>
                <a:gd name="T12" fmla="*/ 107 w 127"/>
                <a:gd name="T13" fmla="*/ 0 h 126"/>
                <a:gd name="T14" fmla="*/ 107 w 127"/>
                <a:gd name="T15" fmla="*/ 0 h 1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126">
                  <a:moveTo>
                    <a:pt x="107" y="0"/>
                  </a:moveTo>
                  <a:lnTo>
                    <a:pt x="107" y="106"/>
                  </a:lnTo>
                  <a:lnTo>
                    <a:pt x="0" y="106"/>
                  </a:lnTo>
                  <a:lnTo>
                    <a:pt x="0" y="126"/>
                  </a:lnTo>
                  <a:lnTo>
                    <a:pt x="127" y="126"/>
                  </a:lnTo>
                  <a:lnTo>
                    <a:pt x="127" y="0"/>
                  </a:lnTo>
                  <a:lnTo>
                    <a:pt x="107" y="0"/>
                  </a:lnTo>
                  <a:lnTo>
                    <a:pt x="107"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89" name="Freeform 50"/>
            <p:cNvSpPr/>
            <p:nvPr/>
          </p:nvSpPr>
          <p:spPr bwMode="auto">
            <a:xfrm>
              <a:off x="101600" y="98425"/>
              <a:ext cx="201613" cy="201613"/>
            </a:xfrm>
            <a:custGeom>
              <a:avLst/>
              <a:gdLst>
                <a:gd name="T0" fmla="*/ 0 w 127"/>
                <a:gd name="T1" fmla="*/ 0 h 127"/>
                <a:gd name="T2" fmla="*/ 0 w 127"/>
                <a:gd name="T3" fmla="*/ 127 h 127"/>
                <a:gd name="T4" fmla="*/ 21 w 127"/>
                <a:gd name="T5" fmla="*/ 127 h 127"/>
                <a:gd name="T6" fmla="*/ 21 w 127"/>
                <a:gd name="T7" fmla="*/ 21 h 127"/>
                <a:gd name="T8" fmla="*/ 127 w 127"/>
                <a:gd name="T9" fmla="*/ 21 h 127"/>
                <a:gd name="T10" fmla="*/ 127 w 127"/>
                <a:gd name="T11" fmla="*/ 0 h 127"/>
                <a:gd name="T12" fmla="*/ 0 w 127"/>
                <a:gd name="T13" fmla="*/ 0 h 127"/>
              </a:gdLst>
              <a:ahLst/>
              <a:cxnLst>
                <a:cxn ang="0">
                  <a:pos x="T0" y="T1"/>
                </a:cxn>
                <a:cxn ang="0">
                  <a:pos x="T2" y="T3"/>
                </a:cxn>
                <a:cxn ang="0">
                  <a:pos x="T4" y="T5"/>
                </a:cxn>
                <a:cxn ang="0">
                  <a:pos x="T6" y="T7"/>
                </a:cxn>
                <a:cxn ang="0">
                  <a:pos x="T8" y="T9"/>
                </a:cxn>
                <a:cxn ang="0">
                  <a:pos x="T10" y="T11"/>
                </a:cxn>
                <a:cxn ang="0">
                  <a:pos x="T12" y="T13"/>
                </a:cxn>
              </a:cxnLst>
              <a:rect l="0" t="0" r="r" b="b"/>
              <a:pathLst>
                <a:path w="127" h="127">
                  <a:moveTo>
                    <a:pt x="0" y="0"/>
                  </a:moveTo>
                  <a:lnTo>
                    <a:pt x="0" y="127"/>
                  </a:lnTo>
                  <a:lnTo>
                    <a:pt x="21" y="127"/>
                  </a:lnTo>
                  <a:lnTo>
                    <a:pt x="21" y="21"/>
                  </a:lnTo>
                  <a:lnTo>
                    <a:pt x="127" y="21"/>
                  </a:lnTo>
                  <a:lnTo>
                    <a:pt x="127" y="0"/>
                  </a:lnTo>
                  <a:lnTo>
                    <a:pt x="0"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0" name="Rectangle 51"/>
            <p:cNvSpPr>
              <a:spLocks noChangeArrowheads="1"/>
            </p:cNvSpPr>
            <p:nvPr/>
          </p:nvSpPr>
          <p:spPr bwMode="auto">
            <a:xfrm>
              <a:off x="3175" y="469900"/>
              <a:ext cx="230188" cy="31750"/>
            </a:xfrm>
            <a:prstGeom prst="rect">
              <a:avLst/>
            </a:pr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1" name="Rectangle 52"/>
            <p:cNvSpPr>
              <a:spLocks noChangeArrowheads="1"/>
            </p:cNvSpPr>
            <p:nvPr/>
          </p:nvSpPr>
          <p:spPr bwMode="auto">
            <a:xfrm>
              <a:off x="744538" y="469900"/>
              <a:ext cx="230188" cy="31750"/>
            </a:xfrm>
            <a:prstGeom prst="rect">
              <a:avLst/>
            </a:pr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2" name="Rectangle 53"/>
            <p:cNvSpPr>
              <a:spLocks noChangeArrowheads="1"/>
            </p:cNvSpPr>
            <p:nvPr/>
          </p:nvSpPr>
          <p:spPr bwMode="auto">
            <a:xfrm>
              <a:off x="473075" y="741363"/>
              <a:ext cx="31750" cy="228600"/>
            </a:xfrm>
            <a:prstGeom prst="rect">
              <a:avLst/>
            </a:pr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3" name="Rectangle 54"/>
            <p:cNvSpPr>
              <a:spLocks noChangeArrowheads="1"/>
            </p:cNvSpPr>
            <p:nvPr/>
          </p:nvSpPr>
          <p:spPr bwMode="auto">
            <a:xfrm>
              <a:off x="473075" y="0"/>
              <a:ext cx="31750" cy="228600"/>
            </a:xfrm>
            <a:prstGeom prst="rect">
              <a:avLst/>
            </a:pr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4" name="Freeform 55"/>
            <p:cNvSpPr/>
            <p:nvPr/>
          </p:nvSpPr>
          <p:spPr bwMode="auto">
            <a:xfrm>
              <a:off x="407988" y="309563"/>
              <a:ext cx="163513" cy="169863"/>
            </a:xfrm>
            <a:custGeom>
              <a:avLst/>
              <a:gdLst>
                <a:gd name="T0" fmla="*/ 180 w 360"/>
                <a:gd name="T1" fmla="*/ 0 h 375"/>
                <a:gd name="T2" fmla="*/ 0 w 360"/>
                <a:gd name="T3" fmla="*/ 91 h 375"/>
                <a:gd name="T4" fmla="*/ 0 w 360"/>
                <a:gd name="T5" fmla="*/ 284 h 375"/>
                <a:gd name="T6" fmla="*/ 180 w 360"/>
                <a:gd name="T7" fmla="*/ 375 h 375"/>
                <a:gd name="T8" fmla="*/ 360 w 360"/>
                <a:gd name="T9" fmla="*/ 285 h 375"/>
                <a:gd name="T10" fmla="*/ 360 w 360"/>
                <a:gd name="T11" fmla="*/ 91 h 375"/>
                <a:gd name="T12" fmla="*/ 180 w 360"/>
                <a:gd name="T13" fmla="*/ 0 h 375"/>
              </a:gdLst>
              <a:ahLst/>
              <a:cxnLst>
                <a:cxn ang="0">
                  <a:pos x="T0" y="T1"/>
                </a:cxn>
                <a:cxn ang="0">
                  <a:pos x="T2" y="T3"/>
                </a:cxn>
                <a:cxn ang="0">
                  <a:pos x="T4" y="T5"/>
                </a:cxn>
                <a:cxn ang="0">
                  <a:pos x="T6" y="T7"/>
                </a:cxn>
                <a:cxn ang="0">
                  <a:pos x="T8" y="T9"/>
                </a:cxn>
                <a:cxn ang="0">
                  <a:pos x="T10" y="T11"/>
                </a:cxn>
                <a:cxn ang="0">
                  <a:pos x="T12" y="T13"/>
                </a:cxn>
              </a:cxnLst>
              <a:rect l="0" t="0" r="r" b="b"/>
              <a:pathLst>
                <a:path w="360" h="375">
                  <a:moveTo>
                    <a:pt x="180" y="0"/>
                  </a:moveTo>
                  <a:cubicBezTo>
                    <a:pt x="117" y="32"/>
                    <a:pt x="59" y="61"/>
                    <a:pt x="0" y="91"/>
                  </a:cubicBezTo>
                  <a:cubicBezTo>
                    <a:pt x="0" y="284"/>
                    <a:pt x="0" y="284"/>
                    <a:pt x="0" y="284"/>
                  </a:cubicBezTo>
                  <a:cubicBezTo>
                    <a:pt x="63" y="316"/>
                    <a:pt x="123" y="345"/>
                    <a:pt x="180" y="375"/>
                  </a:cubicBezTo>
                  <a:cubicBezTo>
                    <a:pt x="242" y="344"/>
                    <a:pt x="307" y="310"/>
                    <a:pt x="360" y="285"/>
                  </a:cubicBezTo>
                  <a:cubicBezTo>
                    <a:pt x="360" y="91"/>
                    <a:pt x="360" y="91"/>
                    <a:pt x="360" y="91"/>
                  </a:cubicBezTo>
                  <a:cubicBezTo>
                    <a:pt x="298" y="60"/>
                    <a:pt x="233" y="27"/>
                    <a:pt x="180" y="0"/>
                  </a:cubicBez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sp>
          <p:nvSpPr>
            <p:cNvPr id="95" name="Freeform 56"/>
            <p:cNvSpPr/>
            <p:nvPr/>
          </p:nvSpPr>
          <p:spPr bwMode="auto">
            <a:xfrm>
              <a:off x="347663" y="477838"/>
              <a:ext cx="284163" cy="184150"/>
            </a:xfrm>
            <a:custGeom>
              <a:avLst/>
              <a:gdLst>
                <a:gd name="T0" fmla="*/ 0 w 179"/>
                <a:gd name="T1" fmla="*/ 0 h 116"/>
                <a:gd name="T2" fmla="*/ 0 w 179"/>
                <a:gd name="T3" fmla="*/ 74 h 116"/>
                <a:gd name="T4" fmla="*/ 89 w 179"/>
                <a:gd name="T5" fmla="*/ 116 h 116"/>
                <a:gd name="T6" fmla="*/ 179 w 179"/>
                <a:gd name="T7" fmla="*/ 67 h 116"/>
                <a:gd name="T8" fmla="*/ 179 w 179"/>
                <a:gd name="T9" fmla="*/ 0 h 116"/>
                <a:gd name="T10" fmla="*/ 158 w 179"/>
                <a:gd name="T11" fmla="*/ 0 h 116"/>
                <a:gd name="T12" fmla="*/ 158 w 179"/>
                <a:gd name="T13" fmla="*/ 55 h 116"/>
                <a:gd name="T14" fmla="*/ 89 w 179"/>
                <a:gd name="T15" fmla="*/ 93 h 116"/>
                <a:gd name="T16" fmla="*/ 20 w 179"/>
                <a:gd name="T17" fmla="*/ 61 h 116"/>
                <a:gd name="T18" fmla="*/ 20 w 179"/>
                <a:gd name="T19" fmla="*/ 0 h 116"/>
                <a:gd name="T20" fmla="*/ 0 w 179"/>
                <a:gd name="T2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9" h="116">
                  <a:moveTo>
                    <a:pt x="0" y="0"/>
                  </a:moveTo>
                  <a:lnTo>
                    <a:pt x="0" y="74"/>
                  </a:lnTo>
                  <a:lnTo>
                    <a:pt x="89" y="116"/>
                  </a:lnTo>
                  <a:lnTo>
                    <a:pt x="179" y="67"/>
                  </a:lnTo>
                  <a:lnTo>
                    <a:pt x="179" y="0"/>
                  </a:lnTo>
                  <a:lnTo>
                    <a:pt x="158" y="0"/>
                  </a:lnTo>
                  <a:lnTo>
                    <a:pt x="158" y="55"/>
                  </a:lnTo>
                  <a:lnTo>
                    <a:pt x="89" y="93"/>
                  </a:lnTo>
                  <a:lnTo>
                    <a:pt x="20" y="61"/>
                  </a:lnTo>
                  <a:lnTo>
                    <a:pt x="20" y="0"/>
                  </a:lnTo>
                  <a:lnTo>
                    <a:pt x="0" y="0"/>
                  </a:lnTo>
                  <a:close/>
                </a:path>
              </a:pathLst>
            </a:custGeom>
            <a:grpFill/>
            <a:ln>
              <a:noFill/>
            </a:ln>
          </p:spPr>
          <p:txBody>
            <a:bodyPr/>
            <a:lstStyle/>
            <a:p>
              <a:pPr eaLnBrk="1" hangingPunct="1">
                <a:lnSpc>
                  <a:spcPct val="130000"/>
                </a:lnSpc>
                <a:defRPr/>
              </a:pPr>
              <a:endParaRPr lang="zh-CN" altLang="en-US" sz="1400" noProof="1">
                <a:latin typeface="Arial" panose="020B0604020202020204" pitchFamily="34" charset="0"/>
                <a:ea typeface="微软雅黑" panose="020B0503020204020204" pitchFamily="34" charset="-122"/>
                <a:sym typeface="Arial" panose="020B0604020202020204" pitchFamily="34" charset="0"/>
              </a:endParaRPr>
            </a:p>
          </p:txBody>
        </p:sp>
      </p:grpSp>
      <p:sp>
        <p:nvSpPr>
          <p:cNvPr id="96" name="文本框 29"/>
          <p:cNvSpPr txBox="1">
            <a:spLocks noChangeArrowheads="1"/>
          </p:cNvSpPr>
          <p:nvPr/>
        </p:nvSpPr>
        <p:spPr bwMode="auto">
          <a:xfrm>
            <a:off x="5512912" y="1065370"/>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97" name="文本框 30"/>
          <p:cNvSpPr txBox="1">
            <a:spLocks noChangeArrowheads="1"/>
          </p:cNvSpPr>
          <p:nvPr/>
        </p:nvSpPr>
        <p:spPr bwMode="auto">
          <a:xfrm>
            <a:off x="5512912" y="1297693"/>
            <a:ext cx="2112486" cy="325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US"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98" name="文本框 31"/>
          <p:cNvSpPr txBox="1">
            <a:spLocks noChangeArrowheads="1"/>
          </p:cNvSpPr>
          <p:nvPr/>
        </p:nvSpPr>
        <p:spPr bwMode="auto">
          <a:xfrm>
            <a:off x="5512912" y="2064360"/>
            <a:ext cx="1134586" cy="236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99" name="文本框 32"/>
          <p:cNvSpPr txBox="1">
            <a:spLocks noChangeArrowheads="1"/>
          </p:cNvSpPr>
          <p:nvPr/>
        </p:nvSpPr>
        <p:spPr bwMode="auto">
          <a:xfrm>
            <a:off x="5512912" y="2297790"/>
            <a:ext cx="2112486" cy="325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US"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00" name="文本框 33"/>
          <p:cNvSpPr txBox="1">
            <a:spLocks noChangeArrowheads="1"/>
          </p:cNvSpPr>
          <p:nvPr/>
        </p:nvSpPr>
        <p:spPr bwMode="auto">
          <a:xfrm>
            <a:off x="5512912" y="2899619"/>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101" name="文本框 34"/>
          <p:cNvSpPr txBox="1">
            <a:spLocks noChangeArrowheads="1"/>
          </p:cNvSpPr>
          <p:nvPr/>
        </p:nvSpPr>
        <p:spPr bwMode="auto">
          <a:xfrm>
            <a:off x="5512912" y="3131942"/>
            <a:ext cx="2112486" cy="325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US"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02" name="文本框 35"/>
          <p:cNvSpPr txBox="1">
            <a:spLocks noChangeArrowheads="1"/>
          </p:cNvSpPr>
          <p:nvPr/>
        </p:nvSpPr>
        <p:spPr bwMode="auto">
          <a:xfrm>
            <a:off x="5512912" y="3790191"/>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103" name="文本框 36"/>
          <p:cNvSpPr txBox="1">
            <a:spLocks noChangeArrowheads="1"/>
          </p:cNvSpPr>
          <p:nvPr/>
        </p:nvSpPr>
        <p:spPr bwMode="auto">
          <a:xfrm>
            <a:off x="5512912" y="4022515"/>
            <a:ext cx="2112486" cy="325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US"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7" name="平行四边形 36"/>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平行四边形 37"/>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平行四边形 38"/>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平行四边形 39"/>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1" name="直接连接符 40"/>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2"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43" name="Group 7"/>
          <p:cNvGrpSpPr/>
          <p:nvPr/>
        </p:nvGrpSpPr>
        <p:grpSpPr bwMode="auto">
          <a:xfrm>
            <a:off x="180202" y="181952"/>
            <a:ext cx="216018" cy="113981"/>
            <a:chOff x="0" y="0"/>
            <a:chExt cx="1041399" cy="549275"/>
          </a:xfrm>
          <a:solidFill>
            <a:srgbClr val="133E73"/>
          </a:solidFill>
        </p:grpSpPr>
        <p:sp>
          <p:nvSpPr>
            <p:cNvPr id="44"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5"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46"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47" name="6112">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6"/>
          <a:stretch>
            <a:fillRect/>
          </a:stretch>
        </p:blipFill>
        <p:spPr>
          <a:xfrm>
            <a:off x="2268377" y="-1568065"/>
            <a:ext cx="1008084" cy="1008084"/>
          </a:xfrm>
          <a:prstGeom prst="rect">
            <a:avLst/>
          </a:prstGeom>
        </p:spPr>
      </p:pic>
    </p:spTree>
    <p:custDataLst>
      <p:tags r:id="rId1"/>
    </p:custData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3"/>
                                        </p:tgtEl>
                                        <p:attrNameLst>
                                          <p:attrName>style.visibility</p:attrName>
                                        </p:attrNameLst>
                                      </p:cBhvr>
                                      <p:to>
                                        <p:strVal val="visible"/>
                                      </p:to>
                                    </p:set>
                                    <p:anim calcmode="lin" valueType="num">
                                      <p:cBhvr additive="base">
                                        <p:cTn id="7" dur="500" fill="hold"/>
                                        <p:tgtEl>
                                          <p:spTgt spid="43"/>
                                        </p:tgtEl>
                                        <p:attrNameLst>
                                          <p:attrName>ppt_x</p:attrName>
                                        </p:attrNameLst>
                                      </p:cBhvr>
                                      <p:tavLst>
                                        <p:tav tm="0">
                                          <p:val>
                                            <p:strVal val="0-#ppt_w/2"/>
                                          </p:val>
                                        </p:tav>
                                        <p:tav tm="100000">
                                          <p:val>
                                            <p:strVal val="#ppt_x"/>
                                          </p:val>
                                        </p:tav>
                                      </p:tavLst>
                                    </p:anim>
                                    <p:anim calcmode="lin" valueType="num">
                                      <p:cBhvr additive="base">
                                        <p:cTn id="8" dur="500" fill="hold"/>
                                        <p:tgtEl>
                                          <p:spTgt spid="4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42"/>
                                        </p:tgtEl>
                                        <p:attrNameLst>
                                          <p:attrName>style.visibility</p:attrName>
                                        </p:attrNameLst>
                                      </p:cBhvr>
                                      <p:to>
                                        <p:strVal val="visible"/>
                                      </p:to>
                                    </p:set>
                                    <p:anim calcmode="lin" valueType="num">
                                      <p:cBhvr>
                                        <p:cTn id="12" dur="500" fill="hold"/>
                                        <p:tgtEl>
                                          <p:spTgt spid="42"/>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42"/>
                                        </p:tgtEl>
                                        <p:attrNameLst>
                                          <p:attrName>ppt_y</p:attrName>
                                        </p:attrNameLst>
                                      </p:cBhvr>
                                      <p:tavLst>
                                        <p:tav tm="0">
                                          <p:val>
                                            <p:strVal val="#ppt_y"/>
                                          </p:val>
                                        </p:tav>
                                        <p:tav tm="100000">
                                          <p:val>
                                            <p:strVal val="#ppt_y"/>
                                          </p:val>
                                        </p:tav>
                                      </p:tavLst>
                                    </p:anim>
                                    <p:anim calcmode="lin" valueType="num">
                                      <p:cBhvr>
                                        <p:cTn id="14" dur="500" fill="hold"/>
                                        <p:tgtEl>
                                          <p:spTgt spid="42"/>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42"/>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42"/>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39"/>
                                        </p:tgtEl>
                                        <p:attrNameLst>
                                          <p:attrName>fillcolor</p:attrName>
                                        </p:attrNameLst>
                                      </p:cBhvr>
                                      <p:to>
                                        <a:srgbClr val="00AEEF"/>
                                      </p:to>
                                    </p:animClr>
                                    <p:set>
                                      <p:cBhvr>
                                        <p:cTn id="20" dur="300" fill="hold"/>
                                        <p:tgtEl>
                                          <p:spTgt spid="39"/>
                                        </p:tgtEl>
                                        <p:attrNameLst>
                                          <p:attrName>fill.type</p:attrName>
                                        </p:attrNameLst>
                                      </p:cBhvr>
                                      <p:to>
                                        <p:strVal val="solid"/>
                                      </p:to>
                                    </p:set>
                                    <p:set>
                                      <p:cBhvr>
                                        <p:cTn id="21" dur="300" fill="hold"/>
                                        <p:tgtEl>
                                          <p:spTgt spid="39"/>
                                        </p:tgtEl>
                                        <p:attrNameLst>
                                          <p:attrName>fill.on</p:attrName>
                                        </p:attrNameLst>
                                      </p:cBhvr>
                                      <p:to>
                                        <p:strVal val="true"/>
                                      </p:to>
                                    </p:set>
                                  </p:childTnLst>
                                </p:cTn>
                              </p:par>
                            </p:childTnLst>
                          </p:cTn>
                        </p:par>
                      </p:childTnLst>
                    </p:cTn>
                  </p:par>
                  <p:par>
                    <p:cTn id="22" fill="hold">
                      <p:stCondLst>
                        <p:cond delay="indefinite"/>
                      </p:stCondLst>
                      <p:childTnLst>
                        <p:par>
                          <p:cTn id="23" fill="hold">
                            <p:stCondLst>
                              <p:cond delay="0"/>
                            </p:stCondLst>
                            <p:childTnLst>
                              <p:par>
                                <p:cTn id="24" presetID="2" presetClass="entr" presetSubtype="1" accel="40000" fill="hold" grpId="0" nodeType="clickEffect">
                                  <p:stCondLst>
                                    <p:cond delay="0"/>
                                  </p:stCondLst>
                                  <p:childTnLst>
                                    <p:set>
                                      <p:cBhvr>
                                        <p:cTn id="25" dur="1" fill="hold">
                                          <p:stCondLst>
                                            <p:cond delay="0"/>
                                          </p:stCondLst>
                                        </p:cTn>
                                        <p:tgtEl>
                                          <p:spTgt spid="72"/>
                                        </p:tgtEl>
                                        <p:attrNameLst>
                                          <p:attrName>style.visibility</p:attrName>
                                        </p:attrNameLst>
                                      </p:cBhvr>
                                      <p:to>
                                        <p:strVal val="visible"/>
                                      </p:to>
                                    </p:set>
                                    <p:anim calcmode="lin" valueType="num">
                                      <p:cBhvr>
                                        <p:cTn id="26" dur="750" fill="hold"/>
                                        <p:tgtEl>
                                          <p:spTgt spid="72"/>
                                        </p:tgtEl>
                                        <p:attrNameLst>
                                          <p:attrName>ppt_x</p:attrName>
                                        </p:attrNameLst>
                                      </p:cBhvr>
                                      <p:tavLst>
                                        <p:tav tm="0">
                                          <p:val>
                                            <p:strVal val="#ppt_x"/>
                                          </p:val>
                                        </p:tav>
                                        <p:tav tm="100000">
                                          <p:val>
                                            <p:strVal val="#ppt_x"/>
                                          </p:val>
                                        </p:tav>
                                      </p:tavLst>
                                    </p:anim>
                                    <p:anim calcmode="lin" valueType="num">
                                      <p:cBhvr>
                                        <p:cTn id="27" dur="750" fill="hold"/>
                                        <p:tgtEl>
                                          <p:spTgt spid="72"/>
                                        </p:tgtEl>
                                        <p:attrNameLst>
                                          <p:attrName>ppt_y</p:attrName>
                                        </p:attrNameLst>
                                      </p:cBhvr>
                                      <p:tavLst>
                                        <p:tav tm="0">
                                          <p:val>
                                            <p:strVal val="0-#ppt_h/2"/>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2" presetClass="entr" presetSubtype="1" accel="40000" fill="hold" grpId="0" nodeType="clickEffect">
                                  <p:stCondLst>
                                    <p:cond delay="0"/>
                                  </p:stCondLst>
                                  <p:childTnLst>
                                    <p:set>
                                      <p:cBhvr>
                                        <p:cTn id="31" dur="1" fill="hold">
                                          <p:stCondLst>
                                            <p:cond delay="0"/>
                                          </p:stCondLst>
                                        </p:cTn>
                                        <p:tgtEl>
                                          <p:spTgt spid="71"/>
                                        </p:tgtEl>
                                        <p:attrNameLst>
                                          <p:attrName>style.visibility</p:attrName>
                                        </p:attrNameLst>
                                      </p:cBhvr>
                                      <p:to>
                                        <p:strVal val="visible"/>
                                      </p:to>
                                    </p:set>
                                    <p:anim calcmode="lin" valueType="num">
                                      <p:cBhvr>
                                        <p:cTn id="32" dur="750" fill="hold"/>
                                        <p:tgtEl>
                                          <p:spTgt spid="71"/>
                                        </p:tgtEl>
                                        <p:attrNameLst>
                                          <p:attrName>ppt_x</p:attrName>
                                        </p:attrNameLst>
                                      </p:cBhvr>
                                      <p:tavLst>
                                        <p:tav tm="0">
                                          <p:val>
                                            <p:strVal val="#ppt_x"/>
                                          </p:val>
                                        </p:tav>
                                        <p:tav tm="100000">
                                          <p:val>
                                            <p:strVal val="#ppt_x"/>
                                          </p:val>
                                        </p:tav>
                                      </p:tavLst>
                                    </p:anim>
                                    <p:anim calcmode="lin" valueType="num">
                                      <p:cBhvr>
                                        <p:cTn id="33" dur="750" fill="hold"/>
                                        <p:tgtEl>
                                          <p:spTgt spid="71"/>
                                        </p:tgtEl>
                                        <p:attrNameLst>
                                          <p:attrName>ppt_y</p:attrName>
                                        </p:attrNameLst>
                                      </p:cBhvr>
                                      <p:tavLst>
                                        <p:tav tm="0">
                                          <p:val>
                                            <p:strVal val="0-#ppt_h/2"/>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2" presetClass="entr" presetSubtype="1" accel="40000" fill="hold" grpId="0" nodeType="clickEffect">
                                  <p:stCondLst>
                                    <p:cond delay="0"/>
                                  </p:stCondLst>
                                  <p:childTnLst>
                                    <p:set>
                                      <p:cBhvr>
                                        <p:cTn id="37" dur="1" fill="hold">
                                          <p:stCondLst>
                                            <p:cond delay="0"/>
                                          </p:stCondLst>
                                        </p:cTn>
                                        <p:tgtEl>
                                          <p:spTgt spid="70"/>
                                        </p:tgtEl>
                                        <p:attrNameLst>
                                          <p:attrName>style.visibility</p:attrName>
                                        </p:attrNameLst>
                                      </p:cBhvr>
                                      <p:to>
                                        <p:strVal val="visible"/>
                                      </p:to>
                                    </p:set>
                                    <p:anim calcmode="lin" valueType="num">
                                      <p:cBhvr>
                                        <p:cTn id="38" dur="750" fill="hold"/>
                                        <p:tgtEl>
                                          <p:spTgt spid="70"/>
                                        </p:tgtEl>
                                        <p:attrNameLst>
                                          <p:attrName>ppt_x</p:attrName>
                                        </p:attrNameLst>
                                      </p:cBhvr>
                                      <p:tavLst>
                                        <p:tav tm="0">
                                          <p:val>
                                            <p:strVal val="#ppt_x"/>
                                          </p:val>
                                        </p:tav>
                                        <p:tav tm="100000">
                                          <p:val>
                                            <p:strVal val="#ppt_x"/>
                                          </p:val>
                                        </p:tav>
                                      </p:tavLst>
                                    </p:anim>
                                    <p:anim calcmode="lin" valueType="num">
                                      <p:cBhvr>
                                        <p:cTn id="39" dur="750" fill="hold"/>
                                        <p:tgtEl>
                                          <p:spTgt spid="70"/>
                                        </p:tgtEl>
                                        <p:attrNameLst>
                                          <p:attrName>ppt_y</p:attrName>
                                        </p:attrNameLst>
                                      </p:cBhvr>
                                      <p:tavLst>
                                        <p:tav tm="0">
                                          <p:val>
                                            <p:strVal val="0-#ppt_h/2"/>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2" presetClass="entr" presetSubtype="1" accel="40000" fill="hold" grpId="0" nodeType="clickEffect">
                                  <p:stCondLst>
                                    <p:cond delay="0"/>
                                  </p:stCondLst>
                                  <p:childTnLst>
                                    <p:set>
                                      <p:cBhvr>
                                        <p:cTn id="43" dur="1" fill="hold">
                                          <p:stCondLst>
                                            <p:cond delay="0"/>
                                          </p:stCondLst>
                                        </p:cTn>
                                        <p:tgtEl>
                                          <p:spTgt spid="69"/>
                                        </p:tgtEl>
                                        <p:attrNameLst>
                                          <p:attrName>style.visibility</p:attrName>
                                        </p:attrNameLst>
                                      </p:cBhvr>
                                      <p:to>
                                        <p:strVal val="visible"/>
                                      </p:to>
                                    </p:set>
                                    <p:anim calcmode="lin" valueType="num">
                                      <p:cBhvr>
                                        <p:cTn id="44" dur="750" fill="hold"/>
                                        <p:tgtEl>
                                          <p:spTgt spid="69"/>
                                        </p:tgtEl>
                                        <p:attrNameLst>
                                          <p:attrName>ppt_x</p:attrName>
                                        </p:attrNameLst>
                                      </p:cBhvr>
                                      <p:tavLst>
                                        <p:tav tm="0">
                                          <p:val>
                                            <p:strVal val="#ppt_x"/>
                                          </p:val>
                                        </p:tav>
                                        <p:tav tm="100000">
                                          <p:val>
                                            <p:strVal val="#ppt_x"/>
                                          </p:val>
                                        </p:tav>
                                      </p:tavLst>
                                    </p:anim>
                                    <p:anim calcmode="lin" valueType="num">
                                      <p:cBhvr>
                                        <p:cTn id="45" dur="750" fill="hold"/>
                                        <p:tgtEl>
                                          <p:spTgt spid="69"/>
                                        </p:tgtEl>
                                        <p:attrNameLst>
                                          <p:attrName>ppt_y</p:attrName>
                                        </p:attrNameLst>
                                      </p:cBhvr>
                                      <p:tavLst>
                                        <p:tav tm="0">
                                          <p:val>
                                            <p:strVal val="0-#ppt_h/2"/>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85"/>
                                        </p:tgtEl>
                                        <p:attrNameLst>
                                          <p:attrName>style.visibility</p:attrName>
                                        </p:attrNameLst>
                                      </p:cBhvr>
                                      <p:to>
                                        <p:strVal val="visible"/>
                                      </p:to>
                                    </p:set>
                                    <p:animEffect transition="in" filter="fade">
                                      <p:cBhvr>
                                        <p:cTn id="50" dur="500"/>
                                        <p:tgtEl>
                                          <p:spTgt spid="85"/>
                                        </p:tgtEl>
                                      </p:cBhvr>
                                    </p:animEffect>
                                  </p:childTnLst>
                                </p:cTn>
                              </p:par>
                            </p:childTnLst>
                          </p:cTn>
                        </p:par>
                      </p:childTnLst>
                    </p:cTn>
                  </p:par>
                  <p:par>
                    <p:cTn id="51" fill="hold">
                      <p:stCondLst>
                        <p:cond delay="indefinite"/>
                      </p:stCondLst>
                      <p:childTnLst>
                        <p:par>
                          <p:cTn id="52" fill="hold">
                            <p:stCondLst>
                              <p:cond delay="0"/>
                            </p:stCondLst>
                            <p:childTnLst>
                              <p:par>
                                <p:cTn id="53" presetID="56" presetClass="entr" presetSubtype="0" fill="hold" grpId="0" nodeType="clickEffect">
                                  <p:stCondLst>
                                    <p:cond delay="0"/>
                                  </p:stCondLst>
                                  <p:iterate type="lt">
                                    <p:tmPct val="10000"/>
                                  </p:iterate>
                                  <p:childTnLst>
                                    <p:set>
                                      <p:cBhvr>
                                        <p:cTn id="54" dur="1" fill="hold">
                                          <p:stCondLst>
                                            <p:cond delay="0"/>
                                          </p:stCondLst>
                                        </p:cTn>
                                        <p:tgtEl>
                                          <p:spTgt spid="81">
                                            <p:txEl>
                                              <p:pRg st="0" end="0"/>
                                            </p:txEl>
                                          </p:spTgt>
                                        </p:tgtEl>
                                        <p:attrNameLst>
                                          <p:attrName>style.visibility</p:attrName>
                                        </p:attrNameLst>
                                      </p:cBhvr>
                                      <p:to>
                                        <p:strVal val="visible"/>
                                      </p:to>
                                    </p:set>
                                    <p:anim by="(-#ppt_w*2)" calcmode="lin" valueType="num">
                                      <p:cBhvr rctx="PPT">
                                        <p:cTn id="55" dur="500" autoRev="1" fill="hold">
                                          <p:stCondLst>
                                            <p:cond delay="0"/>
                                          </p:stCondLst>
                                        </p:cTn>
                                        <p:tgtEl>
                                          <p:spTgt spid="81">
                                            <p:txEl>
                                              <p:pRg st="0" end="0"/>
                                            </p:txEl>
                                          </p:spTgt>
                                        </p:tgtEl>
                                        <p:attrNameLst>
                                          <p:attrName>ppt_w</p:attrName>
                                        </p:attrNameLst>
                                      </p:cBhvr>
                                    </p:anim>
                                    <p:anim by="(#ppt_w*0.50)" calcmode="lin" valueType="num">
                                      <p:cBhvr>
                                        <p:cTn id="56" dur="500" decel="50000" autoRev="1" fill="hold">
                                          <p:stCondLst>
                                            <p:cond delay="0"/>
                                          </p:stCondLst>
                                        </p:cTn>
                                        <p:tgtEl>
                                          <p:spTgt spid="81">
                                            <p:txEl>
                                              <p:pRg st="0" end="0"/>
                                            </p:txEl>
                                          </p:spTgt>
                                        </p:tgtEl>
                                        <p:attrNameLst>
                                          <p:attrName>ppt_x</p:attrName>
                                        </p:attrNameLst>
                                      </p:cBhvr>
                                    </p:anim>
                                    <p:anim from="(-#ppt_h/2)" to="(#ppt_y)" calcmode="lin" valueType="num">
                                      <p:cBhvr>
                                        <p:cTn id="57" dur="1000" fill="hold">
                                          <p:stCondLst>
                                            <p:cond delay="0"/>
                                          </p:stCondLst>
                                        </p:cTn>
                                        <p:tgtEl>
                                          <p:spTgt spid="81">
                                            <p:txEl>
                                              <p:pRg st="0" end="0"/>
                                            </p:txEl>
                                          </p:spTgt>
                                        </p:tgtEl>
                                        <p:attrNameLst>
                                          <p:attrName>ppt_y</p:attrName>
                                        </p:attrNameLst>
                                      </p:cBhvr>
                                    </p:anim>
                                    <p:animRot by="21600000">
                                      <p:cBhvr>
                                        <p:cTn id="58" dur="1000" fill="hold">
                                          <p:stCondLst>
                                            <p:cond delay="0"/>
                                          </p:stCondLst>
                                        </p:cTn>
                                        <p:tgtEl>
                                          <p:spTgt spid="81">
                                            <p:txEl>
                                              <p:pRg st="0" end="0"/>
                                            </p:txEl>
                                          </p:spTgt>
                                        </p:tgtEl>
                                        <p:attrNameLst>
                                          <p:attrName>r</p:attrName>
                                        </p:attrNameLst>
                                      </p:cBhvr>
                                    </p:animRot>
                                  </p:childTnLst>
                                </p:cTn>
                              </p:par>
                            </p:childTnLst>
                          </p:cTn>
                        </p:par>
                      </p:childTnLst>
                    </p:cTn>
                  </p:par>
                  <p:par>
                    <p:cTn id="59" fill="hold">
                      <p:stCondLst>
                        <p:cond delay="indefinite"/>
                      </p:stCondLst>
                      <p:childTnLst>
                        <p:par>
                          <p:cTn id="60" fill="hold">
                            <p:stCondLst>
                              <p:cond delay="0"/>
                            </p:stCondLst>
                            <p:childTnLst>
                              <p:par>
                                <p:cTn id="61" presetID="56" presetClass="entr" presetSubtype="0" fill="hold" grpId="0" nodeType="clickEffect">
                                  <p:stCondLst>
                                    <p:cond delay="0"/>
                                  </p:stCondLst>
                                  <p:iterate type="lt">
                                    <p:tmPct val="10000"/>
                                  </p:iterate>
                                  <p:childTnLst>
                                    <p:set>
                                      <p:cBhvr>
                                        <p:cTn id="62" dur="1" fill="hold">
                                          <p:stCondLst>
                                            <p:cond delay="0"/>
                                          </p:stCondLst>
                                        </p:cTn>
                                        <p:tgtEl>
                                          <p:spTgt spid="82">
                                            <p:txEl>
                                              <p:pRg st="0" end="0"/>
                                            </p:txEl>
                                          </p:spTgt>
                                        </p:tgtEl>
                                        <p:attrNameLst>
                                          <p:attrName>style.visibility</p:attrName>
                                        </p:attrNameLst>
                                      </p:cBhvr>
                                      <p:to>
                                        <p:strVal val="visible"/>
                                      </p:to>
                                    </p:set>
                                    <p:anim by="(-#ppt_w*2)" calcmode="lin" valueType="num">
                                      <p:cBhvr rctx="PPT">
                                        <p:cTn id="63" dur="500" autoRev="1" fill="hold">
                                          <p:stCondLst>
                                            <p:cond delay="0"/>
                                          </p:stCondLst>
                                        </p:cTn>
                                        <p:tgtEl>
                                          <p:spTgt spid="82">
                                            <p:txEl>
                                              <p:pRg st="0" end="0"/>
                                            </p:txEl>
                                          </p:spTgt>
                                        </p:tgtEl>
                                        <p:attrNameLst>
                                          <p:attrName>ppt_w</p:attrName>
                                        </p:attrNameLst>
                                      </p:cBhvr>
                                    </p:anim>
                                    <p:anim by="(#ppt_w*0.50)" calcmode="lin" valueType="num">
                                      <p:cBhvr>
                                        <p:cTn id="64" dur="500" decel="50000" autoRev="1" fill="hold">
                                          <p:stCondLst>
                                            <p:cond delay="0"/>
                                          </p:stCondLst>
                                        </p:cTn>
                                        <p:tgtEl>
                                          <p:spTgt spid="82">
                                            <p:txEl>
                                              <p:pRg st="0" end="0"/>
                                            </p:txEl>
                                          </p:spTgt>
                                        </p:tgtEl>
                                        <p:attrNameLst>
                                          <p:attrName>ppt_x</p:attrName>
                                        </p:attrNameLst>
                                      </p:cBhvr>
                                    </p:anim>
                                    <p:anim from="(-#ppt_h/2)" to="(#ppt_y)" calcmode="lin" valueType="num">
                                      <p:cBhvr>
                                        <p:cTn id="65" dur="1000" fill="hold">
                                          <p:stCondLst>
                                            <p:cond delay="0"/>
                                          </p:stCondLst>
                                        </p:cTn>
                                        <p:tgtEl>
                                          <p:spTgt spid="82">
                                            <p:txEl>
                                              <p:pRg st="0" end="0"/>
                                            </p:txEl>
                                          </p:spTgt>
                                        </p:tgtEl>
                                        <p:attrNameLst>
                                          <p:attrName>ppt_y</p:attrName>
                                        </p:attrNameLst>
                                      </p:cBhvr>
                                    </p:anim>
                                    <p:animRot by="21600000">
                                      <p:cBhvr>
                                        <p:cTn id="66" dur="1000" fill="hold">
                                          <p:stCondLst>
                                            <p:cond delay="0"/>
                                          </p:stCondLst>
                                        </p:cTn>
                                        <p:tgtEl>
                                          <p:spTgt spid="82">
                                            <p:txEl>
                                              <p:pRg st="0" end="0"/>
                                            </p:txEl>
                                          </p:spTgt>
                                        </p:tgtEl>
                                        <p:attrNameLst>
                                          <p:attrName>r</p:attrName>
                                        </p:attrNameLst>
                                      </p:cBhvr>
                                    </p:animRot>
                                  </p:childTnLst>
                                </p:cTn>
                              </p:par>
                            </p:childTnLst>
                          </p:cTn>
                        </p:par>
                      </p:childTnLst>
                    </p:cTn>
                  </p:par>
                  <p:par>
                    <p:cTn id="67" fill="hold">
                      <p:stCondLst>
                        <p:cond delay="indefinite"/>
                      </p:stCondLst>
                      <p:childTnLst>
                        <p:par>
                          <p:cTn id="68" fill="hold">
                            <p:stCondLst>
                              <p:cond delay="0"/>
                            </p:stCondLst>
                            <p:childTnLst>
                              <p:par>
                                <p:cTn id="69" presetID="56" presetClass="entr" presetSubtype="0" fill="hold" grpId="0" nodeType="clickEffect">
                                  <p:stCondLst>
                                    <p:cond delay="0"/>
                                  </p:stCondLst>
                                  <p:iterate type="lt">
                                    <p:tmPct val="10000"/>
                                  </p:iterate>
                                  <p:childTnLst>
                                    <p:set>
                                      <p:cBhvr>
                                        <p:cTn id="70" dur="1" fill="hold">
                                          <p:stCondLst>
                                            <p:cond delay="0"/>
                                          </p:stCondLst>
                                        </p:cTn>
                                        <p:tgtEl>
                                          <p:spTgt spid="83">
                                            <p:txEl>
                                              <p:pRg st="0" end="0"/>
                                            </p:txEl>
                                          </p:spTgt>
                                        </p:tgtEl>
                                        <p:attrNameLst>
                                          <p:attrName>style.visibility</p:attrName>
                                        </p:attrNameLst>
                                      </p:cBhvr>
                                      <p:to>
                                        <p:strVal val="visible"/>
                                      </p:to>
                                    </p:set>
                                    <p:anim by="(-#ppt_w*2)" calcmode="lin" valueType="num">
                                      <p:cBhvr rctx="PPT">
                                        <p:cTn id="71" dur="500" autoRev="1" fill="hold">
                                          <p:stCondLst>
                                            <p:cond delay="0"/>
                                          </p:stCondLst>
                                        </p:cTn>
                                        <p:tgtEl>
                                          <p:spTgt spid="83">
                                            <p:txEl>
                                              <p:pRg st="0" end="0"/>
                                            </p:txEl>
                                          </p:spTgt>
                                        </p:tgtEl>
                                        <p:attrNameLst>
                                          <p:attrName>ppt_w</p:attrName>
                                        </p:attrNameLst>
                                      </p:cBhvr>
                                    </p:anim>
                                    <p:anim by="(#ppt_w*0.50)" calcmode="lin" valueType="num">
                                      <p:cBhvr>
                                        <p:cTn id="72" dur="500" decel="50000" autoRev="1" fill="hold">
                                          <p:stCondLst>
                                            <p:cond delay="0"/>
                                          </p:stCondLst>
                                        </p:cTn>
                                        <p:tgtEl>
                                          <p:spTgt spid="83">
                                            <p:txEl>
                                              <p:pRg st="0" end="0"/>
                                            </p:txEl>
                                          </p:spTgt>
                                        </p:tgtEl>
                                        <p:attrNameLst>
                                          <p:attrName>ppt_x</p:attrName>
                                        </p:attrNameLst>
                                      </p:cBhvr>
                                    </p:anim>
                                    <p:anim from="(-#ppt_h/2)" to="(#ppt_y)" calcmode="lin" valueType="num">
                                      <p:cBhvr>
                                        <p:cTn id="73" dur="1000" fill="hold">
                                          <p:stCondLst>
                                            <p:cond delay="0"/>
                                          </p:stCondLst>
                                        </p:cTn>
                                        <p:tgtEl>
                                          <p:spTgt spid="83">
                                            <p:txEl>
                                              <p:pRg st="0" end="0"/>
                                            </p:txEl>
                                          </p:spTgt>
                                        </p:tgtEl>
                                        <p:attrNameLst>
                                          <p:attrName>ppt_y</p:attrName>
                                        </p:attrNameLst>
                                      </p:cBhvr>
                                    </p:anim>
                                    <p:animRot by="21600000">
                                      <p:cBhvr>
                                        <p:cTn id="74" dur="1000" fill="hold">
                                          <p:stCondLst>
                                            <p:cond delay="0"/>
                                          </p:stCondLst>
                                        </p:cTn>
                                        <p:tgtEl>
                                          <p:spTgt spid="83">
                                            <p:txEl>
                                              <p:pRg st="0" end="0"/>
                                            </p:txEl>
                                          </p:spTgt>
                                        </p:tgtEl>
                                        <p:attrNameLst>
                                          <p:attrName>r</p:attrName>
                                        </p:attrNameLst>
                                      </p:cBhvr>
                                    </p:animRot>
                                  </p:childTnLst>
                                </p:cTn>
                              </p:par>
                            </p:childTnLst>
                          </p:cTn>
                        </p:par>
                      </p:childTnLst>
                    </p:cTn>
                  </p:par>
                  <p:par>
                    <p:cTn id="75" fill="hold">
                      <p:stCondLst>
                        <p:cond delay="indefinite"/>
                      </p:stCondLst>
                      <p:childTnLst>
                        <p:par>
                          <p:cTn id="76" fill="hold">
                            <p:stCondLst>
                              <p:cond delay="0"/>
                            </p:stCondLst>
                            <p:childTnLst>
                              <p:par>
                                <p:cTn id="77" presetID="56" presetClass="entr" presetSubtype="0" fill="hold" grpId="0" nodeType="clickEffect">
                                  <p:stCondLst>
                                    <p:cond delay="0"/>
                                  </p:stCondLst>
                                  <p:iterate type="lt">
                                    <p:tmPct val="10000"/>
                                  </p:iterate>
                                  <p:childTnLst>
                                    <p:set>
                                      <p:cBhvr>
                                        <p:cTn id="78" dur="1" fill="hold">
                                          <p:stCondLst>
                                            <p:cond delay="0"/>
                                          </p:stCondLst>
                                        </p:cTn>
                                        <p:tgtEl>
                                          <p:spTgt spid="84">
                                            <p:txEl>
                                              <p:pRg st="0" end="0"/>
                                            </p:txEl>
                                          </p:spTgt>
                                        </p:tgtEl>
                                        <p:attrNameLst>
                                          <p:attrName>style.visibility</p:attrName>
                                        </p:attrNameLst>
                                      </p:cBhvr>
                                      <p:to>
                                        <p:strVal val="visible"/>
                                      </p:to>
                                    </p:set>
                                    <p:anim by="(-#ppt_w*2)" calcmode="lin" valueType="num">
                                      <p:cBhvr rctx="PPT">
                                        <p:cTn id="79" dur="500" autoRev="1" fill="hold">
                                          <p:stCondLst>
                                            <p:cond delay="0"/>
                                          </p:stCondLst>
                                        </p:cTn>
                                        <p:tgtEl>
                                          <p:spTgt spid="84">
                                            <p:txEl>
                                              <p:pRg st="0" end="0"/>
                                            </p:txEl>
                                          </p:spTgt>
                                        </p:tgtEl>
                                        <p:attrNameLst>
                                          <p:attrName>ppt_w</p:attrName>
                                        </p:attrNameLst>
                                      </p:cBhvr>
                                    </p:anim>
                                    <p:anim by="(#ppt_w*0.50)" calcmode="lin" valueType="num">
                                      <p:cBhvr>
                                        <p:cTn id="80" dur="500" decel="50000" autoRev="1" fill="hold">
                                          <p:stCondLst>
                                            <p:cond delay="0"/>
                                          </p:stCondLst>
                                        </p:cTn>
                                        <p:tgtEl>
                                          <p:spTgt spid="84">
                                            <p:txEl>
                                              <p:pRg st="0" end="0"/>
                                            </p:txEl>
                                          </p:spTgt>
                                        </p:tgtEl>
                                        <p:attrNameLst>
                                          <p:attrName>ppt_x</p:attrName>
                                        </p:attrNameLst>
                                      </p:cBhvr>
                                    </p:anim>
                                    <p:anim from="(-#ppt_h/2)" to="(#ppt_y)" calcmode="lin" valueType="num">
                                      <p:cBhvr>
                                        <p:cTn id="81" dur="1000" fill="hold">
                                          <p:stCondLst>
                                            <p:cond delay="0"/>
                                          </p:stCondLst>
                                        </p:cTn>
                                        <p:tgtEl>
                                          <p:spTgt spid="84">
                                            <p:txEl>
                                              <p:pRg st="0" end="0"/>
                                            </p:txEl>
                                          </p:spTgt>
                                        </p:tgtEl>
                                        <p:attrNameLst>
                                          <p:attrName>ppt_y</p:attrName>
                                        </p:attrNameLst>
                                      </p:cBhvr>
                                    </p:anim>
                                    <p:animRot by="21600000">
                                      <p:cBhvr>
                                        <p:cTn id="82" dur="1000" fill="hold">
                                          <p:stCondLst>
                                            <p:cond delay="0"/>
                                          </p:stCondLst>
                                        </p:cTn>
                                        <p:tgtEl>
                                          <p:spTgt spid="84">
                                            <p:txEl>
                                              <p:pRg st="0" end="0"/>
                                            </p:txEl>
                                          </p:spTgt>
                                        </p:tgtEl>
                                        <p:attrNameLst>
                                          <p:attrName>r</p:attrName>
                                        </p:attrNameLst>
                                      </p:cBhvr>
                                    </p:animRot>
                                  </p:childTnLst>
                                </p:cTn>
                              </p:par>
                            </p:childTnLst>
                          </p:cTn>
                        </p:par>
                      </p:childTnLst>
                    </p:cTn>
                  </p:par>
                  <p:par>
                    <p:cTn id="83" fill="hold">
                      <p:stCondLst>
                        <p:cond delay="indefinite"/>
                      </p:stCondLst>
                      <p:childTnLst>
                        <p:par>
                          <p:cTn id="84" fill="hold">
                            <p:stCondLst>
                              <p:cond delay="0"/>
                            </p:stCondLst>
                            <p:childTnLst>
                              <p:par>
                                <p:cTn id="85" presetID="22" presetClass="entr" presetSubtype="8" fill="hold" nodeType="clickEffect">
                                  <p:stCondLst>
                                    <p:cond delay="0"/>
                                  </p:stCondLst>
                                  <p:childTnLst>
                                    <p:set>
                                      <p:cBhvr>
                                        <p:cTn id="86" dur="1" fill="hold">
                                          <p:stCondLst>
                                            <p:cond delay="0"/>
                                          </p:stCondLst>
                                        </p:cTn>
                                        <p:tgtEl>
                                          <p:spTgt spid="73"/>
                                        </p:tgtEl>
                                        <p:attrNameLst>
                                          <p:attrName>style.visibility</p:attrName>
                                        </p:attrNameLst>
                                      </p:cBhvr>
                                      <p:to>
                                        <p:strVal val="visible"/>
                                      </p:to>
                                    </p:set>
                                    <p:animEffect transition="in" filter="wipe(left)">
                                      <p:cBhvr>
                                        <p:cTn id="87" dur="500"/>
                                        <p:tgtEl>
                                          <p:spTgt spid="73"/>
                                        </p:tgtEl>
                                      </p:cBhvr>
                                    </p:animEffect>
                                  </p:childTnLst>
                                </p:cTn>
                              </p:par>
                            </p:childTnLst>
                          </p:cTn>
                        </p:par>
                      </p:childTnLst>
                    </p:cTn>
                  </p:par>
                  <p:par>
                    <p:cTn id="88" fill="hold">
                      <p:stCondLst>
                        <p:cond delay="indefinite"/>
                      </p:stCondLst>
                      <p:childTnLst>
                        <p:par>
                          <p:cTn id="89" fill="hold">
                            <p:stCondLst>
                              <p:cond delay="0"/>
                            </p:stCondLst>
                            <p:childTnLst>
                              <p:par>
                                <p:cTn id="90" presetID="1" presetClass="entr" presetSubtype="0" fill="hold" nodeType="clickEffect">
                                  <p:stCondLst>
                                    <p:cond delay="0"/>
                                  </p:stCondLst>
                                  <p:childTnLst>
                                    <p:set>
                                      <p:cBhvr>
                                        <p:cTn id="91" dur="1" fill="hold">
                                          <p:stCondLst>
                                            <p:cond delay="0"/>
                                          </p:stCondLst>
                                        </p:cTn>
                                        <p:tgtEl>
                                          <p:spTgt spid="77"/>
                                        </p:tgtEl>
                                        <p:attrNameLst>
                                          <p:attrName>style.visibility</p:attrName>
                                        </p:attrNameLst>
                                      </p:cBhvr>
                                      <p:to>
                                        <p:strVal val="visible"/>
                                      </p:to>
                                    </p:set>
                                  </p:childTnLst>
                                </p:cTn>
                              </p:par>
                            </p:childTnLst>
                          </p:cTn>
                        </p:par>
                      </p:childTnLst>
                    </p:cTn>
                  </p:par>
                  <p:par>
                    <p:cTn id="92" fill="hold">
                      <p:stCondLst>
                        <p:cond delay="indefinite"/>
                      </p:stCondLst>
                      <p:childTnLst>
                        <p:par>
                          <p:cTn id="93" fill="hold">
                            <p:stCondLst>
                              <p:cond delay="0"/>
                            </p:stCondLst>
                            <p:childTnLst>
                              <p:par>
                                <p:cTn id="94" presetID="22" presetClass="entr" presetSubtype="8" fill="hold" nodeType="clickEffect">
                                  <p:stCondLst>
                                    <p:cond delay="0"/>
                                  </p:stCondLst>
                                  <p:childTnLst>
                                    <p:set>
                                      <p:cBhvr>
                                        <p:cTn id="95" dur="1" fill="hold">
                                          <p:stCondLst>
                                            <p:cond delay="0"/>
                                          </p:stCondLst>
                                        </p:cTn>
                                        <p:tgtEl>
                                          <p:spTgt spid="74"/>
                                        </p:tgtEl>
                                        <p:attrNameLst>
                                          <p:attrName>style.visibility</p:attrName>
                                        </p:attrNameLst>
                                      </p:cBhvr>
                                      <p:to>
                                        <p:strVal val="visible"/>
                                      </p:to>
                                    </p:set>
                                    <p:animEffect transition="in" filter="wipe(left)">
                                      <p:cBhvr>
                                        <p:cTn id="96" dur="500"/>
                                        <p:tgtEl>
                                          <p:spTgt spid="74"/>
                                        </p:tgtEl>
                                      </p:cBhvr>
                                    </p:animEffect>
                                  </p:childTnLst>
                                </p:cTn>
                              </p:par>
                            </p:childTnLst>
                          </p:cTn>
                        </p:par>
                      </p:childTnLst>
                    </p:cTn>
                  </p:par>
                  <p:par>
                    <p:cTn id="97" fill="hold">
                      <p:stCondLst>
                        <p:cond delay="indefinite"/>
                      </p:stCondLst>
                      <p:childTnLst>
                        <p:par>
                          <p:cTn id="98" fill="hold">
                            <p:stCondLst>
                              <p:cond delay="0"/>
                            </p:stCondLst>
                            <p:childTnLst>
                              <p:par>
                                <p:cTn id="99" presetID="1" presetClass="entr" presetSubtype="0" fill="hold" nodeType="clickEffect">
                                  <p:stCondLst>
                                    <p:cond delay="0"/>
                                  </p:stCondLst>
                                  <p:childTnLst>
                                    <p:set>
                                      <p:cBhvr>
                                        <p:cTn id="100" dur="1" fill="hold">
                                          <p:stCondLst>
                                            <p:cond delay="0"/>
                                          </p:stCondLst>
                                        </p:cTn>
                                        <p:tgtEl>
                                          <p:spTgt spid="78"/>
                                        </p:tgtEl>
                                        <p:attrNameLst>
                                          <p:attrName>style.visibility</p:attrName>
                                        </p:attrNameLst>
                                      </p:cBhvr>
                                      <p:to>
                                        <p:strVal val="visible"/>
                                      </p:to>
                                    </p:set>
                                  </p:childTnLst>
                                </p:cTn>
                              </p:par>
                            </p:childTnLst>
                          </p:cTn>
                        </p:par>
                      </p:childTnLst>
                    </p:cTn>
                  </p:par>
                  <p:par>
                    <p:cTn id="101" fill="hold">
                      <p:stCondLst>
                        <p:cond delay="indefinite"/>
                      </p:stCondLst>
                      <p:childTnLst>
                        <p:par>
                          <p:cTn id="102" fill="hold">
                            <p:stCondLst>
                              <p:cond delay="0"/>
                            </p:stCondLst>
                            <p:childTnLst>
                              <p:par>
                                <p:cTn id="103" presetID="22" presetClass="entr" presetSubtype="8" fill="hold" nodeType="clickEffect">
                                  <p:stCondLst>
                                    <p:cond delay="0"/>
                                  </p:stCondLst>
                                  <p:childTnLst>
                                    <p:set>
                                      <p:cBhvr>
                                        <p:cTn id="104" dur="1" fill="hold">
                                          <p:stCondLst>
                                            <p:cond delay="0"/>
                                          </p:stCondLst>
                                        </p:cTn>
                                        <p:tgtEl>
                                          <p:spTgt spid="75"/>
                                        </p:tgtEl>
                                        <p:attrNameLst>
                                          <p:attrName>style.visibility</p:attrName>
                                        </p:attrNameLst>
                                      </p:cBhvr>
                                      <p:to>
                                        <p:strVal val="visible"/>
                                      </p:to>
                                    </p:set>
                                    <p:animEffect transition="in" filter="wipe(left)">
                                      <p:cBhvr>
                                        <p:cTn id="105" dur="500"/>
                                        <p:tgtEl>
                                          <p:spTgt spid="75"/>
                                        </p:tgtEl>
                                      </p:cBhvr>
                                    </p:animEffect>
                                  </p:childTnLst>
                                </p:cTn>
                              </p:par>
                            </p:childTnLst>
                          </p:cTn>
                        </p:par>
                      </p:childTnLst>
                    </p:cTn>
                  </p:par>
                  <p:par>
                    <p:cTn id="106" fill="hold">
                      <p:stCondLst>
                        <p:cond delay="indefinite"/>
                      </p:stCondLst>
                      <p:childTnLst>
                        <p:par>
                          <p:cTn id="107" fill="hold">
                            <p:stCondLst>
                              <p:cond delay="0"/>
                            </p:stCondLst>
                            <p:childTnLst>
                              <p:par>
                                <p:cTn id="108" presetID="1" presetClass="entr" presetSubtype="0" fill="hold" nodeType="clickEffect">
                                  <p:stCondLst>
                                    <p:cond delay="0"/>
                                  </p:stCondLst>
                                  <p:childTnLst>
                                    <p:set>
                                      <p:cBhvr>
                                        <p:cTn id="109" dur="1" fill="hold">
                                          <p:stCondLst>
                                            <p:cond delay="0"/>
                                          </p:stCondLst>
                                        </p:cTn>
                                        <p:tgtEl>
                                          <p:spTgt spid="79"/>
                                        </p:tgtEl>
                                        <p:attrNameLst>
                                          <p:attrName>style.visibility</p:attrName>
                                        </p:attrNameLst>
                                      </p:cBhvr>
                                      <p:to>
                                        <p:strVal val="visible"/>
                                      </p:to>
                                    </p:set>
                                  </p:childTnLst>
                                </p:cTn>
                              </p:par>
                            </p:childTnLst>
                          </p:cTn>
                        </p:par>
                        <p:par>
                          <p:cTn id="110" fill="hold">
                            <p:stCondLst>
                              <p:cond delay="0"/>
                            </p:stCondLst>
                            <p:childTnLst>
                              <p:par>
                                <p:cTn id="111" presetID="1" presetClass="mediacall" presetSubtype="0" fill="hold" nodeType="afterEffect">
                                  <p:stCondLst>
                                    <p:cond delay="0"/>
                                  </p:stCondLst>
                                  <p:childTnLst>
                                    <p:cmd type="call" cmd="playFrom(0.0)">
                                      <p:cBhvr>
                                        <p:cTn id="112" dur="1" fill="hold"/>
                                        <p:tgtEl>
                                          <p:spTgt spid="47"/>
                                        </p:tgtEl>
                                      </p:cBhvr>
                                    </p:cmd>
                                  </p:childTnLst>
                                </p:cTn>
                              </p:par>
                            </p:childTnLst>
                          </p:cTn>
                        </p:par>
                      </p:childTnLst>
                    </p:cTn>
                  </p:par>
                  <p:par>
                    <p:cTn id="113" fill="hold">
                      <p:stCondLst>
                        <p:cond delay="indefinite"/>
                      </p:stCondLst>
                      <p:childTnLst>
                        <p:par>
                          <p:cTn id="114" fill="hold">
                            <p:stCondLst>
                              <p:cond delay="0"/>
                            </p:stCondLst>
                            <p:childTnLst>
                              <p:par>
                                <p:cTn id="115" presetID="22" presetClass="entr" presetSubtype="8" fill="hold" nodeType="clickEffect">
                                  <p:stCondLst>
                                    <p:cond delay="0"/>
                                  </p:stCondLst>
                                  <p:childTnLst>
                                    <p:set>
                                      <p:cBhvr>
                                        <p:cTn id="116" dur="1" fill="hold">
                                          <p:stCondLst>
                                            <p:cond delay="0"/>
                                          </p:stCondLst>
                                        </p:cTn>
                                        <p:tgtEl>
                                          <p:spTgt spid="76"/>
                                        </p:tgtEl>
                                        <p:attrNameLst>
                                          <p:attrName>style.visibility</p:attrName>
                                        </p:attrNameLst>
                                      </p:cBhvr>
                                      <p:to>
                                        <p:strVal val="visible"/>
                                      </p:to>
                                    </p:set>
                                    <p:animEffect transition="in" filter="wipe(left)">
                                      <p:cBhvr>
                                        <p:cTn id="117" dur="500"/>
                                        <p:tgtEl>
                                          <p:spTgt spid="76"/>
                                        </p:tgtEl>
                                      </p:cBhvr>
                                    </p:animEffect>
                                  </p:childTnLst>
                                </p:cTn>
                              </p:par>
                            </p:childTnLst>
                          </p:cTn>
                        </p:par>
                      </p:childTnLst>
                    </p:cTn>
                  </p:par>
                  <p:par>
                    <p:cTn id="118" fill="hold">
                      <p:stCondLst>
                        <p:cond delay="indefinite"/>
                      </p:stCondLst>
                      <p:childTnLst>
                        <p:par>
                          <p:cTn id="119" fill="hold">
                            <p:stCondLst>
                              <p:cond delay="0"/>
                            </p:stCondLst>
                            <p:childTnLst>
                              <p:par>
                                <p:cTn id="120" presetID="1" presetClass="entr" presetSubtype="0" fill="hold" nodeType="clickEffect">
                                  <p:stCondLst>
                                    <p:cond delay="0"/>
                                  </p:stCondLst>
                                  <p:childTnLst>
                                    <p:set>
                                      <p:cBhvr>
                                        <p:cTn id="121" dur="1" fill="hold">
                                          <p:stCondLst>
                                            <p:cond delay="0"/>
                                          </p:stCondLst>
                                        </p:cTn>
                                        <p:tgtEl>
                                          <p:spTgt spid="80"/>
                                        </p:tgtEl>
                                        <p:attrNameLst>
                                          <p:attrName>style.visibility</p:attrName>
                                        </p:attrNameLst>
                                      </p:cBhvr>
                                      <p:to>
                                        <p:strVal val="visible"/>
                                      </p:to>
                                    </p:set>
                                  </p:childTnLst>
                                </p:cTn>
                              </p:par>
                            </p:childTnLst>
                          </p:cTn>
                        </p:par>
                        <p:par>
                          <p:cTn id="122" fill="hold">
                            <p:stCondLst>
                              <p:cond delay="0"/>
                            </p:stCondLst>
                            <p:childTnLst>
                              <p:par>
                                <p:cTn id="123" presetID="2" presetClass="entr" presetSubtype="2" accel="40000" fill="hold" grpId="0" nodeType="afterEffect">
                                  <p:stCondLst>
                                    <p:cond delay="0"/>
                                  </p:stCondLst>
                                  <p:childTnLst>
                                    <p:set>
                                      <p:cBhvr>
                                        <p:cTn id="124" dur="1" fill="hold">
                                          <p:stCondLst>
                                            <p:cond delay="0"/>
                                          </p:stCondLst>
                                        </p:cTn>
                                        <p:tgtEl>
                                          <p:spTgt spid="96"/>
                                        </p:tgtEl>
                                        <p:attrNameLst>
                                          <p:attrName>style.visibility</p:attrName>
                                        </p:attrNameLst>
                                      </p:cBhvr>
                                      <p:to>
                                        <p:strVal val="visible"/>
                                      </p:to>
                                    </p:set>
                                    <p:anim calcmode="lin" valueType="num">
                                      <p:cBhvr>
                                        <p:cTn id="125" dur="750" fill="hold"/>
                                        <p:tgtEl>
                                          <p:spTgt spid="96"/>
                                        </p:tgtEl>
                                        <p:attrNameLst>
                                          <p:attrName>ppt_x</p:attrName>
                                        </p:attrNameLst>
                                      </p:cBhvr>
                                      <p:tavLst>
                                        <p:tav tm="0">
                                          <p:val>
                                            <p:strVal val="1+#ppt_w/2"/>
                                          </p:val>
                                        </p:tav>
                                        <p:tav tm="100000">
                                          <p:val>
                                            <p:strVal val="#ppt_x"/>
                                          </p:val>
                                        </p:tav>
                                      </p:tavLst>
                                    </p:anim>
                                    <p:anim calcmode="lin" valueType="num">
                                      <p:cBhvr>
                                        <p:cTn id="126" dur="750" fill="hold"/>
                                        <p:tgtEl>
                                          <p:spTgt spid="96"/>
                                        </p:tgtEl>
                                        <p:attrNameLst>
                                          <p:attrName>ppt_y</p:attrName>
                                        </p:attrNameLst>
                                      </p:cBhvr>
                                      <p:tavLst>
                                        <p:tav tm="0">
                                          <p:val>
                                            <p:strVal val="#ppt_y"/>
                                          </p:val>
                                        </p:tav>
                                        <p:tav tm="100000">
                                          <p:val>
                                            <p:strVal val="#ppt_y"/>
                                          </p:val>
                                        </p:tav>
                                      </p:tavLst>
                                    </p:anim>
                                  </p:childTnLst>
                                </p:cTn>
                              </p:par>
                              <p:par>
                                <p:cTn id="127" presetID="2" presetClass="entr" presetSubtype="2" accel="40000" fill="hold" grpId="0" nodeType="withEffect">
                                  <p:stCondLst>
                                    <p:cond delay="0"/>
                                  </p:stCondLst>
                                  <p:childTnLst>
                                    <p:set>
                                      <p:cBhvr>
                                        <p:cTn id="128" dur="1" fill="hold">
                                          <p:stCondLst>
                                            <p:cond delay="0"/>
                                          </p:stCondLst>
                                        </p:cTn>
                                        <p:tgtEl>
                                          <p:spTgt spid="97"/>
                                        </p:tgtEl>
                                        <p:attrNameLst>
                                          <p:attrName>style.visibility</p:attrName>
                                        </p:attrNameLst>
                                      </p:cBhvr>
                                      <p:to>
                                        <p:strVal val="visible"/>
                                      </p:to>
                                    </p:set>
                                    <p:anim calcmode="lin" valueType="num">
                                      <p:cBhvr>
                                        <p:cTn id="129" dur="750" fill="hold"/>
                                        <p:tgtEl>
                                          <p:spTgt spid="97"/>
                                        </p:tgtEl>
                                        <p:attrNameLst>
                                          <p:attrName>ppt_x</p:attrName>
                                        </p:attrNameLst>
                                      </p:cBhvr>
                                      <p:tavLst>
                                        <p:tav tm="0">
                                          <p:val>
                                            <p:strVal val="1+#ppt_w/2"/>
                                          </p:val>
                                        </p:tav>
                                        <p:tav tm="100000">
                                          <p:val>
                                            <p:strVal val="#ppt_x"/>
                                          </p:val>
                                        </p:tav>
                                      </p:tavLst>
                                    </p:anim>
                                    <p:anim calcmode="lin" valueType="num">
                                      <p:cBhvr>
                                        <p:cTn id="130" dur="750" fill="hold"/>
                                        <p:tgtEl>
                                          <p:spTgt spid="97"/>
                                        </p:tgtEl>
                                        <p:attrNameLst>
                                          <p:attrName>ppt_y</p:attrName>
                                        </p:attrNameLst>
                                      </p:cBhvr>
                                      <p:tavLst>
                                        <p:tav tm="0">
                                          <p:val>
                                            <p:strVal val="#ppt_y"/>
                                          </p:val>
                                        </p:tav>
                                        <p:tav tm="100000">
                                          <p:val>
                                            <p:strVal val="#ppt_y"/>
                                          </p:val>
                                        </p:tav>
                                      </p:tavLst>
                                    </p:anim>
                                  </p:childTnLst>
                                </p:cTn>
                              </p:par>
                            </p:childTnLst>
                          </p:cTn>
                        </p:par>
                        <p:par>
                          <p:cTn id="131" fill="hold">
                            <p:stCondLst>
                              <p:cond delay="1000"/>
                            </p:stCondLst>
                            <p:childTnLst>
                              <p:par>
                                <p:cTn id="132" presetID="2" presetClass="entr" presetSubtype="2" accel="40000" fill="hold" grpId="0" nodeType="afterEffect">
                                  <p:stCondLst>
                                    <p:cond delay="0"/>
                                  </p:stCondLst>
                                  <p:childTnLst>
                                    <p:set>
                                      <p:cBhvr>
                                        <p:cTn id="133" dur="1" fill="hold">
                                          <p:stCondLst>
                                            <p:cond delay="0"/>
                                          </p:stCondLst>
                                        </p:cTn>
                                        <p:tgtEl>
                                          <p:spTgt spid="98"/>
                                        </p:tgtEl>
                                        <p:attrNameLst>
                                          <p:attrName>style.visibility</p:attrName>
                                        </p:attrNameLst>
                                      </p:cBhvr>
                                      <p:to>
                                        <p:strVal val="visible"/>
                                      </p:to>
                                    </p:set>
                                    <p:anim calcmode="lin" valueType="num">
                                      <p:cBhvr>
                                        <p:cTn id="134" dur="750" fill="hold"/>
                                        <p:tgtEl>
                                          <p:spTgt spid="98"/>
                                        </p:tgtEl>
                                        <p:attrNameLst>
                                          <p:attrName>ppt_x</p:attrName>
                                        </p:attrNameLst>
                                      </p:cBhvr>
                                      <p:tavLst>
                                        <p:tav tm="0">
                                          <p:val>
                                            <p:strVal val="1+#ppt_w/2"/>
                                          </p:val>
                                        </p:tav>
                                        <p:tav tm="100000">
                                          <p:val>
                                            <p:strVal val="#ppt_x"/>
                                          </p:val>
                                        </p:tav>
                                      </p:tavLst>
                                    </p:anim>
                                    <p:anim calcmode="lin" valueType="num">
                                      <p:cBhvr>
                                        <p:cTn id="135" dur="750" fill="hold"/>
                                        <p:tgtEl>
                                          <p:spTgt spid="98"/>
                                        </p:tgtEl>
                                        <p:attrNameLst>
                                          <p:attrName>ppt_y</p:attrName>
                                        </p:attrNameLst>
                                      </p:cBhvr>
                                      <p:tavLst>
                                        <p:tav tm="0">
                                          <p:val>
                                            <p:strVal val="#ppt_y"/>
                                          </p:val>
                                        </p:tav>
                                        <p:tav tm="100000">
                                          <p:val>
                                            <p:strVal val="#ppt_y"/>
                                          </p:val>
                                        </p:tav>
                                      </p:tavLst>
                                    </p:anim>
                                  </p:childTnLst>
                                </p:cTn>
                              </p:par>
                              <p:par>
                                <p:cTn id="136" presetID="2" presetClass="entr" presetSubtype="2" accel="40000" fill="hold" grpId="0" nodeType="withEffect">
                                  <p:stCondLst>
                                    <p:cond delay="0"/>
                                  </p:stCondLst>
                                  <p:childTnLst>
                                    <p:set>
                                      <p:cBhvr>
                                        <p:cTn id="137" dur="1" fill="hold">
                                          <p:stCondLst>
                                            <p:cond delay="0"/>
                                          </p:stCondLst>
                                        </p:cTn>
                                        <p:tgtEl>
                                          <p:spTgt spid="99"/>
                                        </p:tgtEl>
                                        <p:attrNameLst>
                                          <p:attrName>style.visibility</p:attrName>
                                        </p:attrNameLst>
                                      </p:cBhvr>
                                      <p:to>
                                        <p:strVal val="visible"/>
                                      </p:to>
                                    </p:set>
                                    <p:anim calcmode="lin" valueType="num">
                                      <p:cBhvr>
                                        <p:cTn id="138" dur="750" fill="hold"/>
                                        <p:tgtEl>
                                          <p:spTgt spid="99"/>
                                        </p:tgtEl>
                                        <p:attrNameLst>
                                          <p:attrName>ppt_x</p:attrName>
                                        </p:attrNameLst>
                                      </p:cBhvr>
                                      <p:tavLst>
                                        <p:tav tm="0">
                                          <p:val>
                                            <p:strVal val="1+#ppt_w/2"/>
                                          </p:val>
                                        </p:tav>
                                        <p:tav tm="100000">
                                          <p:val>
                                            <p:strVal val="#ppt_x"/>
                                          </p:val>
                                        </p:tav>
                                      </p:tavLst>
                                    </p:anim>
                                    <p:anim calcmode="lin" valueType="num">
                                      <p:cBhvr>
                                        <p:cTn id="139" dur="750" fill="hold"/>
                                        <p:tgtEl>
                                          <p:spTgt spid="99"/>
                                        </p:tgtEl>
                                        <p:attrNameLst>
                                          <p:attrName>ppt_y</p:attrName>
                                        </p:attrNameLst>
                                      </p:cBhvr>
                                      <p:tavLst>
                                        <p:tav tm="0">
                                          <p:val>
                                            <p:strVal val="#ppt_y"/>
                                          </p:val>
                                        </p:tav>
                                        <p:tav tm="100000">
                                          <p:val>
                                            <p:strVal val="#ppt_y"/>
                                          </p:val>
                                        </p:tav>
                                      </p:tavLst>
                                    </p:anim>
                                  </p:childTnLst>
                                </p:cTn>
                              </p:par>
                            </p:childTnLst>
                          </p:cTn>
                        </p:par>
                        <p:par>
                          <p:cTn id="140" fill="hold">
                            <p:stCondLst>
                              <p:cond delay="2000"/>
                            </p:stCondLst>
                            <p:childTnLst>
                              <p:par>
                                <p:cTn id="141" presetID="2" presetClass="entr" presetSubtype="2" accel="40000" fill="hold" grpId="0" nodeType="afterEffect">
                                  <p:stCondLst>
                                    <p:cond delay="0"/>
                                  </p:stCondLst>
                                  <p:childTnLst>
                                    <p:set>
                                      <p:cBhvr>
                                        <p:cTn id="142" dur="1" fill="hold">
                                          <p:stCondLst>
                                            <p:cond delay="0"/>
                                          </p:stCondLst>
                                        </p:cTn>
                                        <p:tgtEl>
                                          <p:spTgt spid="100"/>
                                        </p:tgtEl>
                                        <p:attrNameLst>
                                          <p:attrName>style.visibility</p:attrName>
                                        </p:attrNameLst>
                                      </p:cBhvr>
                                      <p:to>
                                        <p:strVal val="visible"/>
                                      </p:to>
                                    </p:set>
                                    <p:anim calcmode="lin" valueType="num">
                                      <p:cBhvr>
                                        <p:cTn id="143" dur="750" fill="hold"/>
                                        <p:tgtEl>
                                          <p:spTgt spid="100"/>
                                        </p:tgtEl>
                                        <p:attrNameLst>
                                          <p:attrName>ppt_x</p:attrName>
                                        </p:attrNameLst>
                                      </p:cBhvr>
                                      <p:tavLst>
                                        <p:tav tm="0">
                                          <p:val>
                                            <p:strVal val="1+#ppt_w/2"/>
                                          </p:val>
                                        </p:tav>
                                        <p:tav tm="100000">
                                          <p:val>
                                            <p:strVal val="#ppt_x"/>
                                          </p:val>
                                        </p:tav>
                                      </p:tavLst>
                                    </p:anim>
                                    <p:anim calcmode="lin" valueType="num">
                                      <p:cBhvr>
                                        <p:cTn id="144" dur="750" fill="hold"/>
                                        <p:tgtEl>
                                          <p:spTgt spid="100"/>
                                        </p:tgtEl>
                                        <p:attrNameLst>
                                          <p:attrName>ppt_y</p:attrName>
                                        </p:attrNameLst>
                                      </p:cBhvr>
                                      <p:tavLst>
                                        <p:tav tm="0">
                                          <p:val>
                                            <p:strVal val="#ppt_y"/>
                                          </p:val>
                                        </p:tav>
                                        <p:tav tm="100000">
                                          <p:val>
                                            <p:strVal val="#ppt_y"/>
                                          </p:val>
                                        </p:tav>
                                      </p:tavLst>
                                    </p:anim>
                                  </p:childTnLst>
                                </p:cTn>
                              </p:par>
                              <p:par>
                                <p:cTn id="145" presetID="2" presetClass="entr" presetSubtype="2" accel="40000" fill="hold" grpId="0" nodeType="withEffect">
                                  <p:stCondLst>
                                    <p:cond delay="0"/>
                                  </p:stCondLst>
                                  <p:childTnLst>
                                    <p:set>
                                      <p:cBhvr>
                                        <p:cTn id="146" dur="1" fill="hold">
                                          <p:stCondLst>
                                            <p:cond delay="0"/>
                                          </p:stCondLst>
                                        </p:cTn>
                                        <p:tgtEl>
                                          <p:spTgt spid="101"/>
                                        </p:tgtEl>
                                        <p:attrNameLst>
                                          <p:attrName>style.visibility</p:attrName>
                                        </p:attrNameLst>
                                      </p:cBhvr>
                                      <p:to>
                                        <p:strVal val="visible"/>
                                      </p:to>
                                    </p:set>
                                    <p:anim calcmode="lin" valueType="num">
                                      <p:cBhvr>
                                        <p:cTn id="147" dur="750" fill="hold"/>
                                        <p:tgtEl>
                                          <p:spTgt spid="101"/>
                                        </p:tgtEl>
                                        <p:attrNameLst>
                                          <p:attrName>ppt_x</p:attrName>
                                        </p:attrNameLst>
                                      </p:cBhvr>
                                      <p:tavLst>
                                        <p:tav tm="0">
                                          <p:val>
                                            <p:strVal val="1+#ppt_w/2"/>
                                          </p:val>
                                        </p:tav>
                                        <p:tav tm="100000">
                                          <p:val>
                                            <p:strVal val="#ppt_x"/>
                                          </p:val>
                                        </p:tav>
                                      </p:tavLst>
                                    </p:anim>
                                    <p:anim calcmode="lin" valueType="num">
                                      <p:cBhvr>
                                        <p:cTn id="148" dur="750" fill="hold"/>
                                        <p:tgtEl>
                                          <p:spTgt spid="101"/>
                                        </p:tgtEl>
                                        <p:attrNameLst>
                                          <p:attrName>ppt_y</p:attrName>
                                        </p:attrNameLst>
                                      </p:cBhvr>
                                      <p:tavLst>
                                        <p:tav tm="0">
                                          <p:val>
                                            <p:strVal val="#ppt_y"/>
                                          </p:val>
                                        </p:tav>
                                        <p:tav tm="100000">
                                          <p:val>
                                            <p:strVal val="#ppt_y"/>
                                          </p:val>
                                        </p:tav>
                                      </p:tavLst>
                                    </p:anim>
                                  </p:childTnLst>
                                </p:cTn>
                              </p:par>
                            </p:childTnLst>
                          </p:cTn>
                        </p:par>
                        <p:par>
                          <p:cTn id="149" fill="hold">
                            <p:stCondLst>
                              <p:cond delay="3000"/>
                            </p:stCondLst>
                            <p:childTnLst>
                              <p:par>
                                <p:cTn id="150" presetID="2" presetClass="entr" presetSubtype="2" accel="40000" fill="hold" grpId="0" nodeType="afterEffect">
                                  <p:stCondLst>
                                    <p:cond delay="0"/>
                                  </p:stCondLst>
                                  <p:childTnLst>
                                    <p:set>
                                      <p:cBhvr>
                                        <p:cTn id="151" dur="1" fill="hold">
                                          <p:stCondLst>
                                            <p:cond delay="0"/>
                                          </p:stCondLst>
                                        </p:cTn>
                                        <p:tgtEl>
                                          <p:spTgt spid="102"/>
                                        </p:tgtEl>
                                        <p:attrNameLst>
                                          <p:attrName>style.visibility</p:attrName>
                                        </p:attrNameLst>
                                      </p:cBhvr>
                                      <p:to>
                                        <p:strVal val="visible"/>
                                      </p:to>
                                    </p:set>
                                    <p:anim calcmode="lin" valueType="num">
                                      <p:cBhvr>
                                        <p:cTn id="152" dur="750" fill="hold"/>
                                        <p:tgtEl>
                                          <p:spTgt spid="102"/>
                                        </p:tgtEl>
                                        <p:attrNameLst>
                                          <p:attrName>ppt_x</p:attrName>
                                        </p:attrNameLst>
                                      </p:cBhvr>
                                      <p:tavLst>
                                        <p:tav tm="0">
                                          <p:val>
                                            <p:strVal val="1+#ppt_w/2"/>
                                          </p:val>
                                        </p:tav>
                                        <p:tav tm="100000">
                                          <p:val>
                                            <p:strVal val="#ppt_x"/>
                                          </p:val>
                                        </p:tav>
                                      </p:tavLst>
                                    </p:anim>
                                    <p:anim calcmode="lin" valueType="num">
                                      <p:cBhvr>
                                        <p:cTn id="153" dur="750" fill="hold"/>
                                        <p:tgtEl>
                                          <p:spTgt spid="102"/>
                                        </p:tgtEl>
                                        <p:attrNameLst>
                                          <p:attrName>ppt_y</p:attrName>
                                        </p:attrNameLst>
                                      </p:cBhvr>
                                      <p:tavLst>
                                        <p:tav tm="0">
                                          <p:val>
                                            <p:strVal val="#ppt_y"/>
                                          </p:val>
                                        </p:tav>
                                        <p:tav tm="100000">
                                          <p:val>
                                            <p:strVal val="#ppt_y"/>
                                          </p:val>
                                        </p:tav>
                                      </p:tavLst>
                                    </p:anim>
                                  </p:childTnLst>
                                </p:cTn>
                              </p:par>
                              <p:par>
                                <p:cTn id="154" presetID="2" presetClass="entr" presetSubtype="2" accel="40000" fill="hold" grpId="0" nodeType="withEffect">
                                  <p:stCondLst>
                                    <p:cond delay="0"/>
                                  </p:stCondLst>
                                  <p:childTnLst>
                                    <p:set>
                                      <p:cBhvr>
                                        <p:cTn id="155" dur="1" fill="hold">
                                          <p:stCondLst>
                                            <p:cond delay="0"/>
                                          </p:stCondLst>
                                        </p:cTn>
                                        <p:tgtEl>
                                          <p:spTgt spid="103"/>
                                        </p:tgtEl>
                                        <p:attrNameLst>
                                          <p:attrName>style.visibility</p:attrName>
                                        </p:attrNameLst>
                                      </p:cBhvr>
                                      <p:to>
                                        <p:strVal val="visible"/>
                                      </p:to>
                                    </p:set>
                                    <p:anim calcmode="lin" valueType="num">
                                      <p:cBhvr>
                                        <p:cTn id="156" dur="750" fill="hold"/>
                                        <p:tgtEl>
                                          <p:spTgt spid="103"/>
                                        </p:tgtEl>
                                        <p:attrNameLst>
                                          <p:attrName>ppt_x</p:attrName>
                                        </p:attrNameLst>
                                      </p:cBhvr>
                                      <p:tavLst>
                                        <p:tav tm="0">
                                          <p:val>
                                            <p:strVal val="1+#ppt_w/2"/>
                                          </p:val>
                                        </p:tav>
                                        <p:tav tm="100000">
                                          <p:val>
                                            <p:strVal val="#ppt_x"/>
                                          </p:val>
                                        </p:tav>
                                      </p:tavLst>
                                    </p:anim>
                                    <p:anim calcmode="lin" valueType="num">
                                      <p:cBhvr>
                                        <p:cTn id="157" dur="750" fill="hold"/>
                                        <p:tgtEl>
                                          <p:spTgt spid="10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58" fill="hold" display="0">
                  <p:stCondLst>
                    <p:cond delay="indefinite"/>
                  </p:stCondLst>
                  <p:endCondLst>
                    <p:cond evt="onStopAudio" delay="0">
                      <p:tgtEl>
                        <p:sldTgt/>
                      </p:tgtEl>
                    </p:cond>
                  </p:endCondLst>
                </p:cTn>
                <p:tgtEl>
                  <p:spTgt spid="47"/>
                </p:tgtEl>
              </p:cMediaNode>
            </p:audio>
          </p:childTnLst>
        </p:cTn>
      </p:par>
    </p:tnLst>
    <p:bldLst>
      <p:bldP spid="69" grpId="0" animBg="1"/>
      <p:bldP spid="70" grpId="0" animBg="1"/>
      <p:bldP spid="71" grpId="0" animBg="1"/>
      <p:bldP spid="72" grpId="0" animBg="1"/>
      <p:bldP spid="81" grpId="0" build="p"/>
      <p:bldP spid="82" grpId="0" build="p"/>
      <p:bldP spid="83" grpId="0" build="p"/>
      <p:bldP spid="84" grpId="0" build="p"/>
      <p:bldP spid="96" grpId="0"/>
      <p:bldP spid="97" grpId="0"/>
      <p:bldP spid="98" grpId="0"/>
      <p:bldP spid="99" grpId="0"/>
      <p:bldP spid="100" grpId="0"/>
      <p:bldP spid="101" grpId="0"/>
      <p:bldP spid="102" grpId="0"/>
      <p:bldP spid="103" grpId="0"/>
      <p:bldP spid="39" grpId="0" animBg="1"/>
      <p:bldP spid="4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Box 41"/>
          <p:cNvSpPr txBox="1">
            <a:spLocks noChangeArrowheads="1"/>
          </p:cNvSpPr>
          <p:nvPr/>
        </p:nvSpPr>
        <p:spPr bwMode="auto">
          <a:xfrm>
            <a:off x="4259881" y="4211927"/>
            <a:ext cx="443875" cy="437382"/>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7391" tIns="33696" rIns="67391" bIns="33696">
            <a:spAutoFit/>
          </a:bodyPr>
          <a:lstStyle/>
          <a:p>
            <a:pPr algn="ctr"/>
            <a:r>
              <a:rPr lang="zh-CN" altLang="en-US" sz="1200" b="1" dirty="0">
                <a:solidFill>
                  <a:schemeClr val="bg1"/>
                </a:solidFill>
                <a:latin typeface="微软雅黑" panose="020B0503020204020204" pitchFamily="34" charset="-122"/>
                <a:ea typeface="微软雅黑" panose="020B0503020204020204" pitchFamily="34" charset="-122"/>
              </a:rPr>
              <a:t>添加</a:t>
            </a:r>
            <a:endParaRPr lang="en-US" altLang="zh-CN" sz="1200" b="1" dirty="0">
              <a:solidFill>
                <a:schemeClr val="bg1"/>
              </a:solidFill>
              <a:latin typeface="微软雅黑" panose="020B0503020204020204" pitchFamily="34" charset="-122"/>
              <a:ea typeface="微软雅黑" panose="020B0503020204020204" pitchFamily="34" charset="-122"/>
            </a:endParaRPr>
          </a:p>
          <a:p>
            <a:pPr algn="ctr"/>
            <a:r>
              <a:rPr lang="zh-CN" altLang="en-US" sz="1200" b="1" dirty="0">
                <a:solidFill>
                  <a:schemeClr val="bg1"/>
                </a:solidFill>
                <a:latin typeface="微软雅黑" panose="020B0503020204020204" pitchFamily="34" charset="-122"/>
                <a:ea typeface="微软雅黑" panose="020B0503020204020204" pitchFamily="34" charset="-122"/>
              </a:rPr>
              <a:t>内容</a:t>
            </a:r>
            <a:endParaRPr lang="en-US" altLang="ko-KR" sz="1200" b="1" dirty="0">
              <a:solidFill>
                <a:schemeClr val="bg1"/>
              </a:solidFill>
              <a:latin typeface="微软雅黑" panose="020B0503020204020204" pitchFamily="34" charset="-122"/>
              <a:ea typeface="微软雅黑" panose="020B0503020204020204" pitchFamily="34" charset="-122"/>
            </a:endParaRPr>
          </a:p>
        </p:txBody>
      </p:sp>
      <p:grpSp>
        <p:nvGrpSpPr>
          <p:cNvPr id="30" name="Group 114"/>
          <p:cNvGrpSpPr/>
          <p:nvPr/>
        </p:nvGrpSpPr>
        <p:grpSpPr>
          <a:xfrm>
            <a:off x="1004162" y="1319079"/>
            <a:ext cx="1684908" cy="1482389"/>
            <a:chOff x="1057275" y="1583888"/>
            <a:chExt cx="1712098" cy="1513131"/>
          </a:xfrm>
        </p:grpSpPr>
        <p:sp>
          <p:nvSpPr>
            <p:cNvPr id="31" name="圆角矩形 9"/>
            <p:cNvSpPr/>
            <p:nvPr/>
          </p:nvSpPr>
          <p:spPr>
            <a:xfrm>
              <a:off x="1057275" y="1583888"/>
              <a:ext cx="1712098" cy="1513131"/>
            </a:xfrm>
            <a:prstGeom prst="roundRect">
              <a:avLst>
                <a:gd name="adj" fmla="val 6371"/>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latin typeface="微软雅黑 Light" panose="020B0502040204020203" pitchFamily="34" charset="-122"/>
                <a:ea typeface="微软雅黑 Light" panose="020B0502040204020203" pitchFamily="34" charset="-122"/>
              </a:endParaRPr>
            </a:p>
          </p:txBody>
        </p:sp>
        <p:sp>
          <p:nvSpPr>
            <p:cNvPr id="32" name="圆角矩形 10"/>
            <p:cNvSpPr/>
            <p:nvPr/>
          </p:nvSpPr>
          <p:spPr>
            <a:xfrm>
              <a:off x="1097436" y="1622223"/>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33" name="Text Box 41"/>
            <p:cNvSpPr txBox="1">
              <a:spLocks noChangeArrowheads="1"/>
            </p:cNvSpPr>
            <p:nvPr/>
          </p:nvSpPr>
          <p:spPr bwMode="auto">
            <a:xfrm>
              <a:off x="1097436" y="1815163"/>
              <a:ext cx="1620675" cy="8105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r>
                <a:rPr lang="zh-CN" altLang="en-US" sz="1000" dirty="0">
                  <a:latin typeface="微软雅黑" panose="020B0503020204020204" pitchFamily="34" charset="-122"/>
                  <a:ea typeface="微软雅黑" panose="020B0503020204020204" pitchFamily="34" charset="-122"/>
                </a:rPr>
                <a:t>轻点此处输入文字内容，</a:t>
              </a:r>
              <a:r>
                <a:rPr lang="en-US" altLang="zh-CN" sz="1000" dirty="0">
                  <a:latin typeface="微软雅黑" panose="020B0503020204020204" pitchFamily="34" charset="-122"/>
                  <a:ea typeface="微软雅黑" panose="020B0503020204020204" pitchFamily="34" charset="-122"/>
                </a:rPr>
                <a:t>PPT</a:t>
              </a:r>
              <a:r>
                <a:rPr lang="zh-CN" altLang="en-US" sz="1000" dirty="0">
                  <a:latin typeface="微软雅黑" panose="020B0503020204020204" pitchFamily="34" charset="-122"/>
                  <a:ea typeface="微软雅黑" panose="020B0503020204020204" pitchFamily="34" charset="-122"/>
                </a:rPr>
                <a:t>模板所有文字图片都可编辑，数据图表都可以修改颜色大小形状</a:t>
              </a:r>
            </a:p>
          </p:txBody>
        </p:sp>
        <p:sp>
          <p:nvSpPr>
            <p:cNvPr id="34" name="矩形 27"/>
            <p:cNvSpPr/>
            <p:nvPr/>
          </p:nvSpPr>
          <p:spPr>
            <a:xfrm>
              <a:off x="1515612" y="2806203"/>
              <a:ext cx="813132" cy="282743"/>
            </a:xfrm>
            <a:prstGeom prst="rect">
              <a:avLst/>
            </a:prstGeom>
          </p:spPr>
          <p:txBody>
            <a:bodyPr wrap="none">
              <a:spAutoFit/>
            </a:bodyPr>
            <a:lstStyle/>
            <a:p>
              <a:pPr algn="ctr"/>
              <a:r>
                <a:rPr lang="zh-CN" altLang="en-US" sz="1200" b="1" dirty="0">
                  <a:solidFill>
                    <a:schemeClr val="bg1"/>
                  </a:solidFill>
                  <a:latin typeface="微软雅黑 Light" panose="020B0502040204020203" pitchFamily="34" charset="-122"/>
                  <a:ea typeface="微软雅黑 Light" panose="020B0502040204020203" pitchFamily="34" charset="-122"/>
                </a:rPr>
                <a:t>添加内容</a:t>
              </a:r>
              <a:endParaRPr lang="en-US" altLang="ko-KR" sz="1200" b="1" dirty="0">
                <a:solidFill>
                  <a:schemeClr val="bg1"/>
                </a:solidFill>
                <a:latin typeface="微软雅黑 Light" panose="020B0502040204020203" pitchFamily="34" charset="-122"/>
                <a:ea typeface="微软雅黑 Light" panose="020B0502040204020203" pitchFamily="34" charset="-122"/>
              </a:endParaRPr>
            </a:p>
          </p:txBody>
        </p:sp>
      </p:grpSp>
      <p:grpSp>
        <p:nvGrpSpPr>
          <p:cNvPr id="35" name="Group 115"/>
          <p:cNvGrpSpPr/>
          <p:nvPr/>
        </p:nvGrpSpPr>
        <p:grpSpPr>
          <a:xfrm>
            <a:off x="2749246" y="1326341"/>
            <a:ext cx="1684908" cy="1482389"/>
            <a:chOff x="2830520" y="1591301"/>
            <a:chExt cx="1712098" cy="1513131"/>
          </a:xfrm>
        </p:grpSpPr>
        <p:sp>
          <p:nvSpPr>
            <p:cNvPr id="36" name="圆角矩形 11"/>
            <p:cNvSpPr/>
            <p:nvPr/>
          </p:nvSpPr>
          <p:spPr>
            <a:xfrm>
              <a:off x="2830520" y="1591301"/>
              <a:ext cx="1712098" cy="1513131"/>
            </a:xfrm>
            <a:prstGeom prst="roundRect">
              <a:avLst>
                <a:gd name="adj" fmla="val 6371"/>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37" name="圆角矩形 12"/>
            <p:cNvSpPr/>
            <p:nvPr/>
          </p:nvSpPr>
          <p:spPr>
            <a:xfrm>
              <a:off x="2870680" y="1629636"/>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38" name="矩形 28"/>
            <p:cNvSpPr/>
            <p:nvPr/>
          </p:nvSpPr>
          <p:spPr>
            <a:xfrm>
              <a:off x="3287071" y="2806203"/>
              <a:ext cx="813132" cy="282743"/>
            </a:xfrm>
            <a:prstGeom prst="rect">
              <a:avLst/>
            </a:prstGeom>
          </p:spPr>
          <p:txBody>
            <a:bodyPr wrap="none">
              <a:spAutoFit/>
            </a:bodyPr>
            <a:lstStyle/>
            <a:p>
              <a:pPr algn="ctr"/>
              <a:r>
                <a:rPr lang="zh-CN" altLang="en-US" sz="1200" b="1" dirty="0">
                  <a:solidFill>
                    <a:schemeClr val="bg1"/>
                  </a:solidFill>
                  <a:latin typeface="微软雅黑 Light" panose="020B0502040204020203" pitchFamily="34" charset="-122"/>
                  <a:ea typeface="微软雅黑 Light" panose="020B0502040204020203" pitchFamily="34" charset="-122"/>
                </a:rPr>
                <a:t>添加内容</a:t>
              </a:r>
              <a:endParaRPr lang="en-US" altLang="ko-KR" sz="1200" b="1" dirty="0">
                <a:solidFill>
                  <a:schemeClr val="bg1"/>
                </a:solidFill>
                <a:latin typeface="微软雅黑 Light" panose="020B0502040204020203" pitchFamily="34" charset="-122"/>
                <a:ea typeface="微软雅黑 Light" panose="020B0502040204020203" pitchFamily="34" charset="-122"/>
              </a:endParaRPr>
            </a:p>
          </p:txBody>
        </p:sp>
        <p:sp>
          <p:nvSpPr>
            <p:cNvPr id="39" name="Text Box 41"/>
            <p:cNvSpPr txBox="1">
              <a:spLocks noChangeArrowheads="1"/>
            </p:cNvSpPr>
            <p:nvPr/>
          </p:nvSpPr>
          <p:spPr bwMode="auto">
            <a:xfrm>
              <a:off x="2870511" y="1815163"/>
              <a:ext cx="1620675" cy="8105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r>
                <a:rPr lang="zh-CN" altLang="en-US" sz="1000" dirty="0">
                  <a:latin typeface="微软雅黑" panose="020B0503020204020204" pitchFamily="34" charset="-122"/>
                  <a:ea typeface="微软雅黑" panose="020B0503020204020204" pitchFamily="34" charset="-122"/>
                </a:rPr>
                <a:t>轻点此处输入文字内容，</a:t>
              </a:r>
              <a:r>
                <a:rPr lang="en-US" altLang="zh-CN" sz="1000" dirty="0">
                  <a:latin typeface="微软雅黑" panose="020B0503020204020204" pitchFamily="34" charset="-122"/>
                  <a:ea typeface="微软雅黑" panose="020B0503020204020204" pitchFamily="34" charset="-122"/>
                </a:rPr>
                <a:t>PPT</a:t>
              </a:r>
              <a:r>
                <a:rPr lang="zh-CN" altLang="en-US" sz="1000" dirty="0">
                  <a:latin typeface="微软雅黑" panose="020B0503020204020204" pitchFamily="34" charset="-122"/>
                  <a:ea typeface="微软雅黑" panose="020B0503020204020204" pitchFamily="34" charset="-122"/>
                </a:rPr>
                <a:t>模板所有文字图片都可编辑，数据图表都可以修改颜色大小形状</a:t>
              </a:r>
            </a:p>
          </p:txBody>
        </p:sp>
      </p:grpSp>
      <p:grpSp>
        <p:nvGrpSpPr>
          <p:cNvPr id="40" name="Group 117"/>
          <p:cNvGrpSpPr/>
          <p:nvPr/>
        </p:nvGrpSpPr>
        <p:grpSpPr>
          <a:xfrm>
            <a:off x="4494328" y="1329254"/>
            <a:ext cx="1684908" cy="1482389"/>
            <a:chOff x="4603764" y="1594274"/>
            <a:chExt cx="1712098" cy="1513131"/>
          </a:xfrm>
        </p:grpSpPr>
        <p:sp>
          <p:nvSpPr>
            <p:cNvPr id="41" name="圆角矩形 13"/>
            <p:cNvSpPr/>
            <p:nvPr/>
          </p:nvSpPr>
          <p:spPr>
            <a:xfrm>
              <a:off x="4603764" y="1594274"/>
              <a:ext cx="1712098" cy="1513131"/>
            </a:xfrm>
            <a:prstGeom prst="roundRect">
              <a:avLst>
                <a:gd name="adj" fmla="val 6371"/>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latin typeface="微软雅黑 Light" panose="020B0502040204020203" pitchFamily="34" charset="-122"/>
                <a:ea typeface="微软雅黑 Light" panose="020B0502040204020203" pitchFamily="34" charset="-122"/>
              </a:endParaRPr>
            </a:p>
          </p:txBody>
        </p:sp>
        <p:sp>
          <p:nvSpPr>
            <p:cNvPr id="42" name="圆角矩形 14"/>
            <p:cNvSpPr/>
            <p:nvPr/>
          </p:nvSpPr>
          <p:spPr>
            <a:xfrm>
              <a:off x="4643925" y="1632610"/>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43" name="矩形 29"/>
            <p:cNvSpPr/>
            <p:nvPr/>
          </p:nvSpPr>
          <p:spPr>
            <a:xfrm>
              <a:off x="5028513" y="2806203"/>
              <a:ext cx="813132" cy="282743"/>
            </a:xfrm>
            <a:prstGeom prst="rect">
              <a:avLst/>
            </a:prstGeom>
          </p:spPr>
          <p:txBody>
            <a:bodyPr wrap="none">
              <a:spAutoFit/>
            </a:bodyPr>
            <a:lstStyle/>
            <a:p>
              <a:pPr algn="ctr"/>
              <a:r>
                <a:rPr lang="zh-CN" altLang="en-US" sz="1200" b="1" dirty="0">
                  <a:solidFill>
                    <a:schemeClr val="bg1"/>
                  </a:solidFill>
                  <a:latin typeface="微软雅黑 Light" panose="020B0502040204020203" pitchFamily="34" charset="-122"/>
                  <a:ea typeface="微软雅黑 Light" panose="020B0502040204020203" pitchFamily="34" charset="-122"/>
                </a:rPr>
                <a:t>添加内容</a:t>
              </a:r>
              <a:endParaRPr lang="en-US" altLang="ko-KR" sz="1200" b="1" dirty="0">
                <a:solidFill>
                  <a:schemeClr val="bg1"/>
                </a:solidFill>
                <a:latin typeface="微软雅黑 Light" panose="020B0502040204020203" pitchFamily="34" charset="-122"/>
                <a:ea typeface="微软雅黑 Light" panose="020B0502040204020203" pitchFamily="34" charset="-122"/>
              </a:endParaRPr>
            </a:p>
          </p:txBody>
        </p:sp>
        <p:sp>
          <p:nvSpPr>
            <p:cNvPr id="44" name="Text Box 41"/>
            <p:cNvSpPr txBox="1">
              <a:spLocks noChangeArrowheads="1"/>
            </p:cNvSpPr>
            <p:nvPr/>
          </p:nvSpPr>
          <p:spPr bwMode="auto">
            <a:xfrm>
              <a:off x="4632636" y="1824688"/>
              <a:ext cx="1620675" cy="8105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r>
                <a:rPr lang="zh-CN" altLang="en-US" sz="1000" dirty="0">
                  <a:latin typeface="微软雅黑" panose="020B0503020204020204" pitchFamily="34" charset="-122"/>
                  <a:ea typeface="微软雅黑" panose="020B0503020204020204" pitchFamily="34" charset="-122"/>
                </a:rPr>
                <a:t>轻点此处输入文字内容，</a:t>
              </a:r>
              <a:r>
                <a:rPr lang="en-US" altLang="zh-CN" sz="1000" dirty="0">
                  <a:latin typeface="微软雅黑" panose="020B0503020204020204" pitchFamily="34" charset="-122"/>
                  <a:ea typeface="微软雅黑" panose="020B0503020204020204" pitchFamily="34" charset="-122"/>
                </a:rPr>
                <a:t>PPT</a:t>
              </a:r>
              <a:r>
                <a:rPr lang="zh-CN" altLang="en-US" sz="1000" dirty="0">
                  <a:latin typeface="微软雅黑" panose="020B0503020204020204" pitchFamily="34" charset="-122"/>
                  <a:ea typeface="微软雅黑" panose="020B0503020204020204" pitchFamily="34" charset="-122"/>
                </a:rPr>
                <a:t>模板所有文字图片都可编辑，数据图表都可以修改颜色大小形状</a:t>
              </a:r>
            </a:p>
          </p:txBody>
        </p:sp>
      </p:grpSp>
      <p:grpSp>
        <p:nvGrpSpPr>
          <p:cNvPr id="45" name="Group 118"/>
          <p:cNvGrpSpPr/>
          <p:nvPr/>
        </p:nvGrpSpPr>
        <p:grpSpPr>
          <a:xfrm>
            <a:off x="6229685" y="1329254"/>
            <a:ext cx="1684908" cy="1482389"/>
            <a:chOff x="6367126" y="1594274"/>
            <a:chExt cx="1712098" cy="1513131"/>
          </a:xfrm>
        </p:grpSpPr>
        <p:sp>
          <p:nvSpPr>
            <p:cNvPr id="46" name="圆角矩形 15"/>
            <p:cNvSpPr/>
            <p:nvPr/>
          </p:nvSpPr>
          <p:spPr>
            <a:xfrm>
              <a:off x="6367126" y="1594274"/>
              <a:ext cx="1712098" cy="1513131"/>
            </a:xfrm>
            <a:prstGeom prst="roundRect">
              <a:avLst>
                <a:gd name="adj" fmla="val 6371"/>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47" name="圆角矩形 16"/>
            <p:cNvSpPr/>
            <p:nvPr/>
          </p:nvSpPr>
          <p:spPr>
            <a:xfrm>
              <a:off x="6407286" y="1632610"/>
              <a:ext cx="1620675" cy="1172170"/>
            </a:xfrm>
            <a:prstGeom prst="roundRect">
              <a:avLst>
                <a:gd name="adj" fmla="val 63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微软雅黑 Light" panose="020B0502040204020203" pitchFamily="34" charset="-122"/>
                <a:ea typeface="微软雅黑 Light" panose="020B0502040204020203" pitchFamily="34" charset="-122"/>
              </a:endParaRPr>
            </a:p>
          </p:txBody>
        </p:sp>
        <p:sp>
          <p:nvSpPr>
            <p:cNvPr id="48" name="矩形 30"/>
            <p:cNvSpPr/>
            <p:nvPr/>
          </p:nvSpPr>
          <p:spPr>
            <a:xfrm>
              <a:off x="6816608" y="2806203"/>
              <a:ext cx="813132" cy="282743"/>
            </a:xfrm>
            <a:prstGeom prst="rect">
              <a:avLst/>
            </a:prstGeom>
          </p:spPr>
          <p:txBody>
            <a:bodyPr wrap="none">
              <a:spAutoFit/>
            </a:bodyPr>
            <a:lstStyle/>
            <a:p>
              <a:pPr algn="ctr"/>
              <a:r>
                <a:rPr lang="zh-CN" altLang="en-US" sz="1200" b="1" dirty="0">
                  <a:solidFill>
                    <a:schemeClr val="bg1"/>
                  </a:solidFill>
                  <a:latin typeface="微软雅黑 Light" panose="020B0502040204020203" pitchFamily="34" charset="-122"/>
                  <a:ea typeface="微软雅黑 Light" panose="020B0502040204020203" pitchFamily="34" charset="-122"/>
                </a:rPr>
                <a:t>添加内容</a:t>
              </a:r>
              <a:endParaRPr lang="en-US" altLang="ko-KR" sz="1200" b="1" dirty="0">
                <a:solidFill>
                  <a:schemeClr val="bg1"/>
                </a:solidFill>
                <a:latin typeface="微软雅黑 Light" panose="020B0502040204020203" pitchFamily="34" charset="-122"/>
                <a:ea typeface="微软雅黑 Light" panose="020B0502040204020203" pitchFamily="34" charset="-122"/>
              </a:endParaRPr>
            </a:p>
          </p:txBody>
        </p:sp>
        <p:sp>
          <p:nvSpPr>
            <p:cNvPr id="49" name="Text Box 41"/>
            <p:cNvSpPr txBox="1">
              <a:spLocks noChangeArrowheads="1"/>
            </p:cNvSpPr>
            <p:nvPr/>
          </p:nvSpPr>
          <p:spPr bwMode="auto">
            <a:xfrm>
              <a:off x="6458549" y="1834213"/>
              <a:ext cx="1620675" cy="810531"/>
            </a:xfrm>
            <a:prstGeom prst="rect">
              <a:avLst/>
            </a:prstGeom>
            <a:noFill/>
            <a:ln>
              <a:noFill/>
            </a:ln>
            <a:effectLst/>
            <a:extLst>
              <a:ext uri="{909E8E84-426E-40DD-AFC4-6F175D3DCCD1}">
                <a14:hiddenFill xmlns:a14="http://schemas.microsoft.com/office/drawing/2010/main">
                  <a:solidFill>
                    <a:srgbClr val="C800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14000"/>
                </a:lnSpc>
              </a:pPr>
              <a:r>
                <a:rPr lang="zh-CN" altLang="en-US" sz="1000" dirty="0">
                  <a:latin typeface="微软雅黑" panose="020B0503020204020204" pitchFamily="34" charset="-122"/>
                  <a:ea typeface="微软雅黑" panose="020B0503020204020204" pitchFamily="34" charset="-122"/>
                </a:rPr>
                <a:t>轻点此处输入文字内容，</a:t>
              </a:r>
              <a:r>
                <a:rPr lang="en-US" altLang="zh-CN" sz="1000" dirty="0">
                  <a:latin typeface="微软雅黑" panose="020B0503020204020204" pitchFamily="34" charset="-122"/>
                  <a:ea typeface="微软雅黑" panose="020B0503020204020204" pitchFamily="34" charset="-122"/>
                </a:rPr>
                <a:t>PPT</a:t>
              </a:r>
              <a:r>
                <a:rPr lang="zh-CN" altLang="en-US" sz="1000" dirty="0">
                  <a:latin typeface="微软雅黑" panose="020B0503020204020204" pitchFamily="34" charset="-122"/>
                  <a:ea typeface="微软雅黑" panose="020B0503020204020204" pitchFamily="34" charset="-122"/>
                </a:rPr>
                <a:t>模板所有文字图片都可编辑，数据图表都可以修改颜色大小形状</a:t>
              </a:r>
            </a:p>
          </p:txBody>
        </p:sp>
      </p:grpSp>
      <p:grpSp>
        <p:nvGrpSpPr>
          <p:cNvPr id="50" name="Group 119"/>
          <p:cNvGrpSpPr/>
          <p:nvPr/>
        </p:nvGrpSpPr>
        <p:grpSpPr>
          <a:xfrm>
            <a:off x="2907878" y="3282112"/>
            <a:ext cx="3074260" cy="3029316"/>
            <a:chOff x="2953610" y="3349505"/>
            <a:chExt cx="3123871" cy="3092138"/>
          </a:xfrm>
        </p:grpSpPr>
        <p:grpSp>
          <p:nvGrpSpPr>
            <p:cNvPr id="51" name="Group 109"/>
            <p:cNvGrpSpPr/>
            <p:nvPr/>
          </p:nvGrpSpPr>
          <p:grpSpPr>
            <a:xfrm>
              <a:off x="2953610" y="3349506"/>
              <a:ext cx="3123870" cy="3092137"/>
              <a:chOff x="2953610" y="3349506"/>
              <a:chExt cx="3123870" cy="3092137"/>
            </a:xfrm>
          </p:grpSpPr>
          <p:sp>
            <p:nvSpPr>
              <p:cNvPr id="82" name="空心弧 6"/>
              <p:cNvSpPr/>
              <p:nvPr/>
            </p:nvSpPr>
            <p:spPr>
              <a:xfrm rot="13253830">
                <a:off x="2953610" y="3349506"/>
                <a:ext cx="3123870" cy="3092137"/>
              </a:xfrm>
              <a:prstGeom prst="blockArc">
                <a:avLst>
                  <a:gd name="adj1" fmla="val 19149915"/>
                  <a:gd name="adj2" fmla="val 0"/>
                  <a:gd name="adj3" fmla="val 25000"/>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tx1"/>
                  </a:solidFill>
                  <a:latin typeface="微软雅黑 Light" panose="020B0502040204020203" pitchFamily="34" charset="-122"/>
                  <a:ea typeface="微软雅黑 Light" panose="020B0502040204020203" pitchFamily="34" charset="-122"/>
                </a:endParaRPr>
              </a:p>
            </p:txBody>
          </p:sp>
          <p:grpSp>
            <p:nvGrpSpPr>
              <p:cNvPr id="83" name="组合 41"/>
              <p:cNvGrpSpPr/>
              <p:nvPr/>
            </p:nvGrpSpPr>
            <p:grpSpPr>
              <a:xfrm>
                <a:off x="3241207" y="4327342"/>
                <a:ext cx="366085" cy="301752"/>
                <a:chOff x="5146675" y="766763"/>
                <a:chExt cx="1590676" cy="1338263"/>
              </a:xfrm>
              <a:solidFill>
                <a:schemeClr val="bg1"/>
              </a:solidFill>
            </p:grpSpPr>
            <p:sp>
              <p:nvSpPr>
                <p:cNvPr id="84" name="Oval 18"/>
                <p:cNvSpPr>
                  <a:spLocks noChangeArrowheads="1"/>
                </p:cNvSpPr>
                <p:nvPr/>
              </p:nvSpPr>
              <p:spPr bwMode="auto">
                <a:xfrm>
                  <a:off x="5675313" y="766763"/>
                  <a:ext cx="533400" cy="534988"/>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85" name="Freeform 19"/>
                <p:cNvSpPr/>
                <p:nvPr/>
              </p:nvSpPr>
              <p:spPr bwMode="auto">
                <a:xfrm>
                  <a:off x="5511800" y="1344613"/>
                  <a:ext cx="860425" cy="760413"/>
                </a:xfrm>
                <a:custGeom>
                  <a:avLst/>
                  <a:gdLst>
                    <a:gd name="T0" fmla="*/ 201 w 301"/>
                    <a:gd name="T1" fmla="*/ 0 h 266"/>
                    <a:gd name="T2" fmla="*/ 151 w 301"/>
                    <a:gd name="T3" fmla="*/ 67 h 266"/>
                    <a:gd name="T4" fmla="*/ 101 w 301"/>
                    <a:gd name="T5" fmla="*/ 0 h 266"/>
                    <a:gd name="T6" fmla="*/ 0 w 301"/>
                    <a:gd name="T7" fmla="*/ 144 h 266"/>
                    <a:gd name="T8" fmla="*/ 0 w 301"/>
                    <a:gd name="T9" fmla="*/ 235 h 266"/>
                    <a:gd name="T10" fmla="*/ 0 w 301"/>
                    <a:gd name="T11" fmla="*/ 235 h 266"/>
                    <a:gd name="T12" fmla="*/ 151 w 301"/>
                    <a:gd name="T13" fmla="*/ 266 h 266"/>
                    <a:gd name="T14" fmla="*/ 301 w 301"/>
                    <a:gd name="T15" fmla="*/ 235 h 266"/>
                    <a:gd name="T16" fmla="*/ 301 w 301"/>
                    <a:gd name="T17" fmla="*/ 235 h 266"/>
                    <a:gd name="T18" fmla="*/ 301 w 301"/>
                    <a:gd name="T19" fmla="*/ 144 h 266"/>
                    <a:gd name="T20" fmla="*/ 201 w 301"/>
                    <a:gd name="T21"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1" h="266">
                      <a:moveTo>
                        <a:pt x="201" y="0"/>
                      </a:moveTo>
                      <a:cubicBezTo>
                        <a:pt x="151" y="67"/>
                        <a:pt x="151" y="67"/>
                        <a:pt x="151" y="67"/>
                      </a:cubicBezTo>
                      <a:cubicBezTo>
                        <a:pt x="101" y="0"/>
                        <a:pt x="101" y="0"/>
                        <a:pt x="101" y="0"/>
                      </a:cubicBezTo>
                      <a:cubicBezTo>
                        <a:pt x="42" y="21"/>
                        <a:pt x="0" y="78"/>
                        <a:pt x="0" y="144"/>
                      </a:cubicBezTo>
                      <a:cubicBezTo>
                        <a:pt x="0" y="235"/>
                        <a:pt x="0" y="235"/>
                        <a:pt x="0" y="235"/>
                      </a:cubicBezTo>
                      <a:cubicBezTo>
                        <a:pt x="0" y="235"/>
                        <a:pt x="0" y="235"/>
                        <a:pt x="0" y="235"/>
                      </a:cubicBezTo>
                      <a:cubicBezTo>
                        <a:pt x="3" y="252"/>
                        <a:pt x="69" y="266"/>
                        <a:pt x="151" y="266"/>
                      </a:cubicBezTo>
                      <a:cubicBezTo>
                        <a:pt x="232" y="266"/>
                        <a:pt x="298" y="252"/>
                        <a:pt x="301" y="235"/>
                      </a:cubicBezTo>
                      <a:cubicBezTo>
                        <a:pt x="301" y="235"/>
                        <a:pt x="301" y="235"/>
                        <a:pt x="301" y="235"/>
                      </a:cubicBezTo>
                      <a:cubicBezTo>
                        <a:pt x="301" y="144"/>
                        <a:pt x="301" y="144"/>
                        <a:pt x="301" y="144"/>
                      </a:cubicBezTo>
                      <a:cubicBezTo>
                        <a:pt x="301" y="78"/>
                        <a:pt x="259" y="21"/>
                        <a:pt x="20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86" name="Freeform 20"/>
                <p:cNvSpPr/>
                <p:nvPr/>
              </p:nvSpPr>
              <p:spPr bwMode="auto">
                <a:xfrm>
                  <a:off x="5900738" y="1319213"/>
                  <a:ext cx="85725" cy="50800"/>
                </a:xfrm>
                <a:custGeom>
                  <a:avLst/>
                  <a:gdLst>
                    <a:gd name="T0" fmla="*/ 30 w 30"/>
                    <a:gd name="T1" fmla="*/ 1 h 18"/>
                    <a:gd name="T2" fmla="*/ 15 w 30"/>
                    <a:gd name="T3" fmla="*/ 0 h 18"/>
                    <a:gd name="T4" fmla="*/ 1 w 30"/>
                    <a:gd name="T5" fmla="*/ 1 h 18"/>
                    <a:gd name="T6" fmla="*/ 7 w 30"/>
                    <a:gd name="T7" fmla="*/ 18 h 18"/>
                    <a:gd name="T8" fmla="*/ 24 w 30"/>
                    <a:gd name="T9" fmla="*/ 18 h 18"/>
                    <a:gd name="T10" fmla="*/ 30 w 30"/>
                    <a:gd name="T11" fmla="*/ 1 h 18"/>
                  </a:gdLst>
                  <a:ahLst/>
                  <a:cxnLst>
                    <a:cxn ang="0">
                      <a:pos x="T0" y="T1"/>
                    </a:cxn>
                    <a:cxn ang="0">
                      <a:pos x="T2" y="T3"/>
                    </a:cxn>
                    <a:cxn ang="0">
                      <a:pos x="T4" y="T5"/>
                    </a:cxn>
                    <a:cxn ang="0">
                      <a:pos x="T6" y="T7"/>
                    </a:cxn>
                    <a:cxn ang="0">
                      <a:pos x="T8" y="T9"/>
                    </a:cxn>
                    <a:cxn ang="0">
                      <a:pos x="T10" y="T11"/>
                    </a:cxn>
                  </a:cxnLst>
                  <a:rect l="0" t="0" r="r" b="b"/>
                  <a:pathLst>
                    <a:path w="30" h="18">
                      <a:moveTo>
                        <a:pt x="30" y="1"/>
                      </a:moveTo>
                      <a:cubicBezTo>
                        <a:pt x="25" y="0"/>
                        <a:pt x="20" y="0"/>
                        <a:pt x="15" y="0"/>
                      </a:cubicBezTo>
                      <a:cubicBezTo>
                        <a:pt x="10" y="0"/>
                        <a:pt x="6" y="0"/>
                        <a:pt x="1" y="1"/>
                      </a:cubicBezTo>
                      <a:cubicBezTo>
                        <a:pt x="1" y="1"/>
                        <a:pt x="0" y="11"/>
                        <a:pt x="7" y="18"/>
                      </a:cubicBezTo>
                      <a:cubicBezTo>
                        <a:pt x="7" y="18"/>
                        <a:pt x="18" y="18"/>
                        <a:pt x="24" y="18"/>
                      </a:cubicBezTo>
                      <a:cubicBezTo>
                        <a:pt x="24" y="18"/>
                        <a:pt x="30" y="12"/>
                        <a:pt x="30"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87" name="Freeform 21"/>
                <p:cNvSpPr/>
                <p:nvPr/>
              </p:nvSpPr>
              <p:spPr bwMode="auto">
                <a:xfrm>
                  <a:off x="5894388" y="1377951"/>
                  <a:ext cx="95250" cy="130175"/>
                </a:xfrm>
                <a:custGeom>
                  <a:avLst/>
                  <a:gdLst>
                    <a:gd name="T0" fmla="*/ 15 w 60"/>
                    <a:gd name="T1" fmla="*/ 0 h 82"/>
                    <a:gd name="T2" fmla="*/ 47 w 60"/>
                    <a:gd name="T3" fmla="*/ 0 h 82"/>
                    <a:gd name="T4" fmla="*/ 60 w 60"/>
                    <a:gd name="T5" fmla="*/ 47 h 82"/>
                    <a:gd name="T6" fmla="*/ 31 w 60"/>
                    <a:gd name="T7" fmla="*/ 82 h 82"/>
                    <a:gd name="T8" fmla="*/ 0 w 60"/>
                    <a:gd name="T9" fmla="*/ 47 h 82"/>
                    <a:gd name="T10" fmla="*/ 15 w 60"/>
                    <a:gd name="T11" fmla="*/ 0 h 82"/>
                  </a:gdLst>
                  <a:ahLst/>
                  <a:cxnLst>
                    <a:cxn ang="0">
                      <a:pos x="T0" y="T1"/>
                    </a:cxn>
                    <a:cxn ang="0">
                      <a:pos x="T2" y="T3"/>
                    </a:cxn>
                    <a:cxn ang="0">
                      <a:pos x="T4" y="T5"/>
                    </a:cxn>
                    <a:cxn ang="0">
                      <a:pos x="T6" y="T7"/>
                    </a:cxn>
                    <a:cxn ang="0">
                      <a:pos x="T8" y="T9"/>
                    </a:cxn>
                    <a:cxn ang="0">
                      <a:pos x="T10" y="T11"/>
                    </a:cxn>
                  </a:cxnLst>
                  <a:rect l="0" t="0" r="r" b="b"/>
                  <a:pathLst>
                    <a:path w="60" h="82">
                      <a:moveTo>
                        <a:pt x="15" y="0"/>
                      </a:moveTo>
                      <a:lnTo>
                        <a:pt x="47" y="0"/>
                      </a:lnTo>
                      <a:lnTo>
                        <a:pt x="60" y="47"/>
                      </a:lnTo>
                      <a:lnTo>
                        <a:pt x="31" y="82"/>
                      </a:lnTo>
                      <a:lnTo>
                        <a:pt x="0" y="47"/>
                      </a:lnTo>
                      <a:lnTo>
                        <a:pt x="1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88" name="Freeform 22"/>
                <p:cNvSpPr/>
                <p:nvPr/>
              </p:nvSpPr>
              <p:spPr bwMode="auto">
                <a:xfrm>
                  <a:off x="5432425" y="1427163"/>
                  <a:ext cx="71438" cy="96838"/>
                </a:xfrm>
                <a:custGeom>
                  <a:avLst/>
                  <a:gdLst>
                    <a:gd name="T0" fmla="*/ 23 w 45"/>
                    <a:gd name="T1" fmla="*/ 61 h 61"/>
                    <a:gd name="T2" fmla="*/ 45 w 45"/>
                    <a:gd name="T3" fmla="*/ 34 h 61"/>
                    <a:gd name="T4" fmla="*/ 34 w 45"/>
                    <a:gd name="T5" fmla="*/ 0 h 61"/>
                    <a:gd name="T6" fmla="*/ 11 w 45"/>
                    <a:gd name="T7" fmla="*/ 0 h 61"/>
                    <a:gd name="T8" fmla="*/ 0 w 45"/>
                    <a:gd name="T9" fmla="*/ 34 h 61"/>
                    <a:gd name="T10" fmla="*/ 23 w 45"/>
                    <a:gd name="T11" fmla="*/ 61 h 61"/>
                  </a:gdLst>
                  <a:ahLst/>
                  <a:cxnLst>
                    <a:cxn ang="0">
                      <a:pos x="T0" y="T1"/>
                    </a:cxn>
                    <a:cxn ang="0">
                      <a:pos x="T2" y="T3"/>
                    </a:cxn>
                    <a:cxn ang="0">
                      <a:pos x="T4" y="T5"/>
                    </a:cxn>
                    <a:cxn ang="0">
                      <a:pos x="T6" y="T7"/>
                    </a:cxn>
                    <a:cxn ang="0">
                      <a:pos x="T8" y="T9"/>
                    </a:cxn>
                    <a:cxn ang="0">
                      <a:pos x="T10" y="T11"/>
                    </a:cxn>
                  </a:cxnLst>
                  <a:rect l="0" t="0" r="r" b="b"/>
                  <a:pathLst>
                    <a:path w="45" h="61">
                      <a:moveTo>
                        <a:pt x="23" y="61"/>
                      </a:moveTo>
                      <a:lnTo>
                        <a:pt x="45" y="34"/>
                      </a:lnTo>
                      <a:lnTo>
                        <a:pt x="34" y="0"/>
                      </a:lnTo>
                      <a:lnTo>
                        <a:pt x="11" y="0"/>
                      </a:lnTo>
                      <a:lnTo>
                        <a:pt x="0" y="34"/>
                      </a:lnTo>
                      <a:lnTo>
                        <a:pt x="23"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89" name="Freeform 23"/>
                <p:cNvSpPr/>
                <p:nvPr/>
              </p:nvSpPr>
              <p:spPr bwMode="auto">
                <a:xfrm>
                  <a:off x="5146675" y="1401763"/>
                  <a:ext cx="465138" cy="568325"/>
                </a:xfrm>
                <a:custGeom>
                  <a:avLst/>
                  <a:gdLst>
                    <a:gd name="T0" fmla="*/ 150 w 163"/>
                    <a:gd name="T1" fmla="*/ 0 h 199"/>
                    <a:gd name="T2" fmla="*/ 113 w 163"/>
                    <a:gd name="T3" fmla="*/ 50 h 199"/>
                    <a:gd name="T4" fmla="*/ 75 w 163"/>
                    <a:gd name="T5" fmla="*/ 0 h 199"/>
                    <a:gd name="T6" fmla="*/ 0 w 163"/>
                    <a:gd name="T7" fmla="*/ 108 h 199"/>
                    <a:gd name="T8" fmla="*/ 0 w 163"/>
                    <a:gd name="T9" fmla="*/ 176 h 199"/>
                    <a:gd name="T10" fmla="*/ 0 w 163"/>
                    <a:gd name="T11" fmla="*/ 176 h 199"/>
                    <a:gd name="T12" fmla="*/ 113 w 163"/>
                    <a:gd name="T13" fmla="*/ 199 h 199"/>
                    <a:gd name="T14" fmla="*/ 114 w 163"/>
                    <a:gd name="T15" fmla="*/ 199 h 199"/>
                    <a:gd name="T16" fmla="*/ 114 w 163"/>
                    <a:gd name="T17" fmla="*/ 124 h 199"/>
                    <a:gd name="T18" fmla="*/ 163 w 163"/>
                    <a:gd name="T19" fmla="*/ 6 h 199"/>
                    <a:gd name="T20" fmla="*/ 150 w 16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99">
                      <a:moveTo>
                        <a:pt x="150" y="0"/>
                      </a:moveTo>
                      <a:cubicBezTo>
                        <a:pt x="113" y="50"/>
                        <a:pt x="113" y="50"/>
                        <a:pt x="113" y="50"/>
                      </a:cubicBezTo>
                      <a:cubicBezTo>
                        <a:pt x="75" y="0"/>
                        <a:pt x="75" y="0"/>
                        <a:pt x="75" y="0"/>
                      </a:cubicBezTo>
                      <a:cubicBezTo>
                        <a:pt x="31" y="16"/>
                        <a:pt x="0" y="58"/>
                        <a:pt x="0" y="108"/>
                      </a:cubicBezTo>
                      <a:cubicBezTo>
                        <a:pt x="0" y="176"/>
                        <a:pt x="0" y="176"/>
                        <a:pt x="0" y="176"/>
                      </a:cubicBezTo>
                      <a:cubicBezTo>
                        <a:pt x="0" y="176"/>
                        <a:pt x="0" y="176"/>
                        <a:pt x="0" y="176"/>
                      </a:cubicBezTo>
                      <a:cubicBezTo>
                        <a:pt x="2" y="189"/>
                        <a:pt x="52" y="199"/>
                        <a:pt x="113" y="199"/>
                      </a:cubicBezTo>
                      <a:cubicBezTo>
                        <a:pt x="113" y="199"/>
                        <a:pt x="114" y="199"/>
                        <a:pt x="114" y="199"/>
                      </a:cubicBezTo>
                      <a:cubicBezTo>
                        <a:pt x="114" y="124"/>
                        <a:pt x="114" y="124"/>
                        <a:pt x="114" y="124"/>
                      </a:cubicBezTo>
                      <a:cubicBezTo>
                        <a:pt x="114" y="78"/>
                        <a:pt x="133" y="36"/>
                        <a:pt x="163" y="6"/>
                      </a:cubicBezTo>
                      <a:cubicBezTo>
                        <a:pt x="159" y="3"/>
                        <a:pt x="155" y="2"/>
                        <a:pt x="15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0" name="Freeform 24"/>
                <p:cNvSpPr/>
                <p:nvPr/>
              </p:nvSpPr>
              <p:spPr bwMode="auto">
                <a:xfrm>
                  <a:off x="5438775" y="1381126"/>
                  <a:ext cx="61913" cy="41275"/>
                </a:xfrm>
                <a:custGeom>
                  <a:avLst/>
                  <a:gdLst>
                    <a:gd name="T0" fmla="*/ 18 w 22"/>
                    <a:gd name="T1" fmla="*/ 14 h 14"/>
                    <a:gd name="T2" fmla="*/ 22 w 22"/>
                    <a:gd name="T3" fmla="*/ 1 h 14"/>
                    <a:gd name="T4" fmla="*/ 11 w 22"/>
                    <a:gd name="T5" fmla="*/ 0 h 14"/>
                    <a:gd name="T6" fmla="*/ 0 w 22"/>
                    <a:gd name="T7" fmla="*/ 1 h 14"/>
                    <a:gd name="T8" fmla="*/ 5 w 22"/>
                    <a:gd name="T9" fmla="*/ 14 h 14"/>
                    <a:gd name="T10" fmla="*/ 18 w 22"/>
                    <a:gd name="T11" fmla="*/ 14 h 14"/>
                  </a:gdLst>
                  <a:ahLst/>
                  <a:cxnLst>
                    <a:cxn ang="0">
                      <a:pos x="T0" y="T1"/>
                    </a:cxn>
                    <a:cxn ang="0">
                      <a:pos x="T2" y="T3"/>
                    </a:cxn>
                    <a:cxn ang="0">
                      <a:pos x="T4" y="T5"/>
                    </a:cxn>
                    <a:cxn ang="0">
                      <a:pos x="T6" y="T7"/>
                    </a:cxn>
                    <a:cxn ang="0">
                      <a:pos x="T8" y="T9"/>
                    </a:cxn>
                    <a:cxn ang="0">
                      <a:pos x="T10" y="T11"/>
                    </a:cxn>
                  </a:cxnLst>
                  <a:rect l="0" t="0" r="r" b="b"/>
                  <a:pathLst>
                    <a:path w="22" h="14">
                      <a:moveTo>
                        <a:pt x="18" y="14"/>
                      </a:moveTo>
                      <a:cubicBezTo>
                        <a:pt x="18" y="14"/>
                        <a:pt x="22" y="9"/>
                        <a:pt x="22" y="1"/>
                      </a:cubicBezTo>
                      <a:cubicBezTo>
                        <a:pt x="18" y="0"/>
                        <a:pt x="15" y="0"/>
                        <a:pt x="11" y="0"/>
                      </a:cubicBezTo>
                      <a:cubicBezTo>
                        <a:pt x="7" y="0"/>
                        <a:pt x="4" y="0"/>
                        <a:pt x="0" y="1"/>
                      </a:cubicBezTo>
                      <a:cubicBezTo>
                        <a:pt x="0" y="1"/>
                        <a:pt x="0" y="8"/>
                        <a:pt x="5" y="14"/>
                      </a:cubicBezTo>
                      <a:cubicBezTo>
                        <a:pt x="5" y="14"/>
                        <a:pt x="13" y="14"/>
                        <a:pt x="18"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1" name="Oval 25"/>
                <p:cNvSpPr>
                  <a:spLocks noChangeArrowheads="1"/>
                </p:cNvSpPr>
                <p:nvPr/>
              </p:nvSpPr>
              <p:spPr bwMode="auto">
                <a:xfrm>
                  <a:off x="5267325" y="966788"/>
                  <a:ext cx="401638" cy="40322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2" name="Freeform 26"/>
                <p:cNvSpPr/>
                <p:nvPr/>
              </p:nvSpPr>
              <p:spPr bwMode="auto">
                <a:xfrm>
                  <a:off x="6386513" y="1381126"/>
                  <a:ext cx="61913" cy="41275"/>
                </a:xfrm>
                <a:custGeom>
                  <a:avLst/>
                  <a:gdLst>
                    <a:gd name="T0" fmla="*/ 17 w 22"/>
                    <a:gd name="T1" fmla="*/ 14 h 14"/>
                    <a:gd name="T2" fmla="*/ 22 w 22"/>
                    <a:gd name="T3" fmla="*/ 1 h 14"/>
                    <a:gd name="T4" fmla="*/ 11 w 22"/>
                    <a:gd name="T5" fmla="*/ 0 h 14"/>
                    <a:gd name="T6" fmla="*/ 0 w 22"/>
                    <a:gd name="T7" fmla="*/ 1 h 14"/>
                    <a:gd name="T8" fmla="*/ 5 w 22"/>
                    <a:gd name="T9" fmla="*/ 14 h 14"/>
                    <a:gd name="T10" fmla="*/ 17 w 22"/>
                    <a:gd name="T11" fmla="*/ 14 h 14"/>
                  </a:gdLst>
                  <a:ahLst/>
                  <a:cxnLst>
                    <a:cxn ang="0">
                      <a:pos x="T0" y="T1"/>
                    </a:cxn>
                    <a:cxn ang="0">
                      <a:pos x="T2" y="T3"/>
                    </a:cxn>
                    <a:cxn ang="0">
                      <a:pos x="T4" y="T5"/>
                    </a:cxn>
                    <a:cxn ang="0">
                      <a:pos x="T6" y="T7"/>
                    </a:cxn>
                    <a:cxn ang="0">
                      <a:pos x="T8" y="T9"/>
                    </a:cxn>
                    <a:cxn ang="0">
                      <a:pos x="T10" y="T11"/>
                    </a:cxn>
                  </a:cxnLst>
                  <a:rect l="0" t="0" r="r" b="b"/>
                  <a:pathLst>
                    <a:path w="22" h="14">
                      <a:moveTo>
                        <a:pt x="17" y="14"/>
                      </a:moveTo>
                      <a:cubicBezTo>
                        <a:pt x="17" y="14"/>
                        <a:pt x="22" y="9"/>
                        <a:pt x="22" y="1"/>
                      </a:cubicBezTo>
                      <a:cubicBezTo>
                        <a:pt x="18" y="0"/>
                        <a:pt x="15" y="0"/>
                        <a:pt x="11" y="0"/>
                      </a:cubicBezTo>
                      <a:cubicBezTo>
                        <a:pt x="7" y="0"/>
                        <a:pt x="4" y="0"/>
                        <a:pt x="0" y="1"/>
                      </a:cubicBezTo>
                      <a:cubicBezTo>
                        <a:pt x="0" y="1"/>
                        <a:pt x="0" y="8"/>
                        <a:pt x="5" y="14"/>
                      </a:cubicBezTo>
                      <a:cubicBezTo>
                        <a:pt x="5" y="14"/>
                        <a:pt x="13" y="14"/>
                        <a:pt x="17"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3" name="Freeform 27"/>
                <p:cNvSpPr/>
                <p:nvPr/>
              </p:nvSpPr>
              <p:spPr bwMode="auto">
                <a:xfrm>
                  <a:off x="6380163" y="1427163"/>
                  <a:ext cx="71438" cy="96838"/>
                </a:xfrm>
                <a:custGeom>
                  <a:avLst/>
                  <a:gdLst>
                    <a:gd name="T0" fmla="*/ 24 w 45"/>
                    <a:gd name="T1" fmla="*/ 61 h 61"/>
                    <a:gd name="T2" fmla="*/ 45 w 45"/>
                    <a:gd name="T3" fmla="*/ 34 h 61"/>
                    <a:gd name="T4" fmla="*/ 34 w 45"/>
                    <a:gd name="T5" fmla="*/ 0 h 61"/>
                    <a:gd name="T6" fmla="*/ 11 w 45"/>
                    <a:gd name="T7" fmla="*/ 0 h 61"/>
                    <a:gd name="T8" fmla="*/ 0 w 45"/>
                    <a:gd name="T9" fmla="*/ 34 h 61"/>
                    <a:gd name="T10" fmla="*/ 24 w 45"/>
                    <a:gd name="T11" fmla="*/ 61 h 61"/>
                  </a:gdLst>
                  <a:ahLst/>
                  <a:cxnLst>
                    <a:cxn ang="0">
                      <a:pos x="T0" y="T1"/>
                    </a:cxn>
                    <a:cxn ang="0">
                      <a:pos x="T2" y="T3"/>
                    </a:cxn>
                    <a:cxn ang="0">
                      <a:pos x="T4" y="T5"/>
                    </a:cxn>
                    <a:cxn ang="0">
                      <a:pos x="T6" y="T7"/>
                    </a:cxn>
                    <a:cxn ang="0">
                      <a:pos x="T8" y="T9"/>
                    </a:cxn>
                    <a:cxn ang="0">
                      <a:pos x="T10" y="T11"/>
                    </a:cxn>
                  </a:cxnLst>
                  <a:rect l="0" t="0" r="r" b="b"/>
                  <a:pathLst>
                    <a:path w="45" h="61">
                      <a:moveTo>
                        <a:pt x="24" y="61"/>
                      </a:moveTo>
                      <a:lnTo>
                        <a:pt x="45" y="34"/>
                      </a:lnTo>
                      <a:lnTo>
                        <a:pt x="34" y="0"/>
                      </a:lnTo>
                      <a:lnTo>
                        <a:pt x="11" y="0"/>
                      </a:lnTo>
                      <a:lnTo>
                        <a:pt x="0" y="34"/>
                      </a:lnTo>
                      <a:lnTo>
                        <a:pt x="24"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4" name="Oval 28"/>
                <p:cNvSpPr>
                  <a:spLocks noChangeArrowheads="1"/>
                </p:cNvSpPr>
                <p:nvPr/>
              </p:nvSpPr>
              <p:spPr bwMode="auto">
                <a:xfrm>
                  <a:off x="6215063" y="966788"/>
                  <a:ext cx="403225" cy="40322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95" name="Freeform 29"/>
                <p:cNvSpPr/>
                <p:nvPr/>
              </p:nvSpPr>
              <p:spPr bwMode="auto">
                <a:xfrm>
                  <a:off x="6272213" y="1401763"/>
                  <a:ext cx="465138" cy="568325"/>
                </a:xfrm>
                <a:custGeom>
                  <a:avLst/>
                  <a:gdLst>
                    <a:gd name="T0" fmla="*/ 88 w 163"/>
                    <a:gd name="T1" fmla="*/ 0 h 199"/>
                    <a:gd name="T2" fmla="*/ 51 w 163"/>
                    <a:gd name="T3" fmla="*/ 50 h 199"/>
                    <a:gd name="T4" fmla="*/ 13 w 163"/>
                    <a:gd name="T5" fmla="*/ 0 h 199"/>
                    <a:gd name="T6" fmla="*/ 0 w 163"/>
                    <a:gd name="T7" fmla="*/ 6 h 199"/>
                    <a:gd name="T8" fmla="*/ 49 w 163"/>
                    <a:gd name="T9" fmla="*/ 124 h 199"/>
                    <a:gd name="T10" fmla="*/ 49 w 163"/>
                    <a:gd name="T11" fmla="*/ 199 h 199"/>
                    <a:gd name="T12" fmla="*/ 51 w 163"/>
                    <a:gd name="T13" fmla="*/ 199 h 199"/>
                    <a:gd name="T14" fmla="*/ 163 w 163"/>
                    <a:gd name="T15" fmla="*/ 176 h 199"/>
                    <a:gd name="T16" fmla="*/ 163 w 163"/>
                    <a:gd name="T17" fmla="*/ 176 h 199"/>
                    <a:gd name="T18" fmla="*/ 163 w 163"/>
                    <a:gd name="T19" fmla="*/ 108 h 199"/>
                    <a:gd name="T20" fmla="*/ 88 w 16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99">
                      <a:moveTo>
                        <a:pt x="88" y="0"/>
                      </a:moveTo>
                      <a:cubicBezTo>
                        <a:pt x="51" y="50"/>
                        <a:pt x="51" y="50"/>
                        <a:pt x="51" y="50"/>
                      </a:cubicBezTo>
                      <a:cubicBezTo>
                        <a:pt x="13" y="0"/>
                        <a:pt x="13" y="0"/>
                        <a:pt x="13" y="0"/>
                      </a:cubicBezTo>
                      <a:cubicBezTo>
                        <a:pt x="9" y="2"/>
                        <a:pt x="4" y="3"/>
                        <a:pt x="0" y="6"/>
                      </a:cubicBezTo>
                      <a:cubicBezTo>
                        <a:pt x="30" y="36"/>
                        <a:pt x="49" y="78"/>
                        <a:pt x="49" y="124"/>
                      </a:cubicBezTo>
                      <a:cubicBezTo>
                        <a:pt x="49" y="199"/>
                        <a:pt x="49" y="199"/>
                        <a:pt x="49" y="199"/>
                      </a:cubicBezTo>
                      <a:cubicBezTo>
                        <a:pt x="50" y="199"/>
                        <a:pt x="50" y="199"/>
                        <a:pt x="51" y="199"/>
                      </a:cubicBezTo>
                      <a:cubicBezTo>
                        <a:pt x="112" y="199"/>
                        <a:pt x="161" y="189"/>
                        <a:pt x="163" y="176"/>
                      </a:cubicBezTo>
                      <a:cubicBezTo>
                        <a:pt x="163" y="176"/>
                        <a:pt x="163" y="176"/>
                        <a:pt x="163" y="176"/>
                      </a:cubicBezTo>
                      <a:cubicBezTo>
                        <a:pt x="163" y="108"/>
                        <a:pt x="163" y="108"/>
                        <a:pt x="163" y="108"/>
                      </a:cubicBezTo>
                      <a:cubicBezTo>
                        <a:pt x="163" y="58"/>
                        <a:pt x="132" y="16"/>
                        <a:pt x="8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grpSp>
          <p:nvGrpSpPr>
            <p:cNvPr id="52" name="Group 110"/>
            <p:cNvGrpSpPr/>
            <p:nvPr/>
          </p:nvGrpSpPr>
          <p:grpSpPr>
            <a:xfrm>
              <a:off x="2953611" y="3349505"/>
              <a:ext cx="3123870" cy="3092137"/>
              <a:chOff x="2953611" y="3349505"/>
              <a:chExt cx="3123870" cy="3092137"/>
            </a:xfrm>
          </p:grpSpPr>
          <p:sp>
            <p:nvSpPr>
              <p:cNvPr id="76" name="空心弧 5"/>
              <p:cNvSpPr/>
              <p:nvPr/>
            </p:nvSpPr>
            <p:spPr>
              <a:xfrm rot="16200000">
                <a:off x="2969477" y="3333639"/>
                <a:ext cx="3092137" cy="3123870"/>
              </a:xfrm>
              <a:prstGeom prst="blockArc">
                <a:avLst>
                  <a:gd name="adj1" fmla="val 18701236"/>
                  <a:gd name="adj2" fmla="val 0"/>
                  <a:gd name="adj3" fmla="val 2500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tx1"/>
                  </a:solidFill>
                  <a:latin typeface="微软雅黑 Light" panose="020B0502040204020203" pitchFamily="34" charset="-122"/>
                  <a:ea typeface="微软雅黑 Light" panose="020B0502040204020203" pitchFamily="34" charset="-122"/>
                </a:endParaRPr>
              </a:p>
            </p:txBody>
          </p:sp>
          <p:grpSp>
            <p:nvGrpSpPr>
              <p:cNvPr id="77" name="组合 55"/>
              <p:cNvGrpSpPr/>
              <p:nvPr/>
            </p:nvGrpSpPr>
            <p:grpSpPr>
              <a:xfrm>
                <a:off x="3878384" y="3722355"/>
                <a:ext cx="309455" cy="281349"/>
                <a:chOff x="5278438" y="2973388"/>
                <a:chExt cx="1344613" cy="1247775"/>
              </a:xfrm>
              <a:solidFill>
                <a:schemeClr val="bg1"/>
              </a:solidFill>
            </p:grpSpPr>
            <p:sp>
              <p:nvSpPr>
                <p:cNvPr id="78" name="Freeform 67"/>
                <p:cNvSpPr>
                  <a:spLocks noEditPoints="1"/>
                </p:cNvSpPr>
                <p:nvPr/>
              </p:nvSpPr>
              <p:spPr bwMode="auto">
                <a:xfrm>
                  <a:off x="5821363" y="2973388"/>
                  <a:ext cx="801688" cy="806450"/>
                </a:xfrm>
                <a:custGeom>
                  <a:avLst/>
                  <a:gdLst>
                    <a:gd name="T0" fmla="*/ 256 w 281"/>
                    <a:gd name="T1" fmla="*/ 26 h 282"/>
                    <a:gd name="T2" fmla="*/ 163 w 281"/>
                    <a:gd name="T3" fmla="*/ 26 h 282"/>
                    <a:gd name="T4" fmla="*/ 0 w 281"/>
                    <a:gd name="T5" fmla="*/ 190 h 282"/>
                    <a:gd name="T6" fmla="*/ 92 w 281"/>
                    <a:gd name="T7" fmla="*/ 282 h 282"/>
                    <a:gd name="T8" fmla="*/ 256 w 281"/>
                    <a:gd name="T9" fmla="*/ 119 h 282"/>
                    <a:gd name="T10" fmla="*/ 256 w 281"/>
                    <a:gd name="T11" fmla="*/ 26 h 282"/>
                    <a:gd name="T12" fmla="*/ 55 w 281"/>
                    <a:gd name="T13" fmla="*/ 192 h 282"/>
                    <a:gd name="T14" fmla="*/ 44 w 281"/>
                    <a:gd name="T15" fmla="*/ 181 h 282"/>
                    <a:gd name="T16" fmla="*/ 183 w 281"/>
                    <a:gd name="T17" fmla="*/ 42 h 282"/>
                    <a:gd name="T18" fmla="*/ 194 w 281"/>
                    <a:gd name="T19" fmla="*/ 42 h 282"/>
                    <a:gd name="T20" fmla="*/ 194 w 281"/>
                    <a:gd name="T21" fmla="*/ 53 h 282"/>
                    <a:gd name="T22" fmla="*/ 55 w 281"/>
                    <a:gd name="T23" fmla="*/ 192 h 282"/>
                    <a:gd name="T24" fmla="*/ 78 w 281"/>
                    <a:gd name="T25" fmla="*/ 215 h 282"/>
                    <a:gd name="T26" fmla="*/ 67 w 281"/>
                    <a:gd name="T27" fmla="*/ 204 h 282"/>
                    <a:gd name="T28" fmla="*/ 217 w 281"/>
                    <a:gd name="T29" fmla="*/ 54 h 282"/>
                    <a:gd name="T30" fmla="*/ 228 w 281"/>
                    <a:gd name="T31" fmla="*/ 54 h 282"/>
                    <a:gd name="T32" fmla="*/ 228 w 281"/>
                    <a:gd name="T33" fmla="*/ 65 h 282"/>
                    <a:gd name="T34" fmla="*/ 78 w 281"/>
                    <a:gd name="T35" fmla="*/ 215 h 282"/>
                    <a:gd name="T36" fmla="*/ 101 w 281"/>
                    <a:gd name="T37" fmla="*/ 238 h 282"/>
                    <a:gd name="T38" fmla="*/ 90 w 281"/>
                    <a:gd name="T39" fmla="*/ 227 h 282"/>
                    <a:gd name="T40" fmla="*/ 229 w 281"/>
                    <a:gd name="T41" fmla="*/ 88 h 282"/>
                    <a:gd name="T42" fmla="*/ 240 w 281"/>
                    <a:gd name="T43" fmla="*/ 88 h 282"/>
                    <a:gd name="T44" fmla="*/ 240 w 281"/>
                    <a:gd name="T45" fmla="*/ 99 h 282"/>
                    <a:gd name="T46" fmla="*/ 101 w 281"/>
                    <a:gd name="T47" fmla="*/ 238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1" h="282">
                      <a:moveTo>
                        <a:pt x="256" y="26"/>
                      </a:moveTo>
                      <a:cubicBezTo>
                        <a:pt x="230" y="0"/>
                        <a:pt x="189" y="0"/>
                        <a:pt x="163" y="26"/>
                      </a:cubicBezTo>
                      <a:cubicBezTo>
                        <a:pt x="0" y="190"/>
                        <a:pt x="0" y="190"/>
                        <a:pt x="0" y="190"/>
                      </a:cubicBezTo>
                      <a:cubicBezTo>
                        <a:pt x="92" y="282"/>
                        <a:pt x="92" y="282"/>
                        <a:pt x="92" y="282"/>
                      </a:cubicBezTo>
                      <a:cubicBezTo>
                        <a:pt x="256" y="119"/>
                        <a:pt x="256" y="119"/>
                        <a:pt x="256" y="119"/>
                      </a:cubicBezTo>
                      <a:cubicBezTo>
                        <a:pt x="281" y="93"/>
                        <a:pt x="281" y="52"/>
                        <a:pt x="256" y="26"/>
                      </a:cubicBezTo>
                      <a:close/>
                      <a:moveTo>
                        <a:pt x="55" y="192"/>
                      </a:moveTo>
                      <a:cubicBezTo>
                        <a:pt x="44" y="181"/>
                        <a:pt x="44" y="181"/>
                        <a:pt x="44" y="181"/>
                      </a:cubicBezTo>
                      <a:cubicBezTo>
                        <a:pt x="183" y="42"/>
                        <a:pt x="183" y="42"/>
                        <a:pt x="183" y="42"/>
                      </a:cubicBezTo>
                      <a:cubicBezTo>
                        <a:pt x="186" y="39"/>
                        <a:pt x="191" y="39"/>
                        <a:pt x="194" y="42"/>
                      </a:cubicBezTo>
                      <a:cubicBezTo>
                        <a:pt x="197" y="45"/>
                        <a:pt x="197" y="50"/>
                        <a:pt x="194" y="53"/>
                      </a:cubicBezTo>
                      <a:lnTo>
                        <a:pt x="55" y="192"/>
                      </a:lnTo>
                      <a:close/>
                      <a:moveTo>
                        <a:pt x="78" y="215"/>
                      </a:moveTo>
                      <a:cubicBezTo>
                        <a:pt x="67" y="204"/>
                        <a:pt x="67" y="204"/>
                        <a:pt x="67" y="204"/>
                      </a:cubicBezTo>
                      <a:cubicBezTo>
                        <a:pt x="217" y="54"/>
                        <a:pt x="217" y="54"/>
                        <a:pt x="217" y="54"/>
                      </a:cubicBezTo>
                      <a:cubicBezTo>
                        <a:pt x="220" y="51"/>
                        <a:pt x="225" y="51"/>
                        <a:pt x="228" y="54"/>
                      </a:cubicBezTo>
                      <a:cubicBezTo>
                        <a:pt x="231" y="57"/>
                        <a:pt x="231" y="62"/>
                        <a:pt x="228" y="65"/>
                      </a:cubicBezTo>
                      <a:lnTo>
                        <a:pt x="78" y="215"/>
                      </a:lnTo>
                      <a:close/>
                      <a:moveTo>
                        <a:pt x="101" y="238"/>
                      </a:moveTo>
                      <a:cubicBezTo>
                        <a:pt x="90" y="227"/>
                        <a:pt x="90" y="227"/>
                        <a:pt x="90" y="227"/>
                      </a:cubicBezTo>
                      <a:cubicBezTo>
                        <a:pt x="229" y="88"/>
                        <a:pt x="229" y="88"/>
                        <a:pt x="229" y="88"/>
                      </a:cubicBezTo>
                      <a:cubicBezTo>
                        <a:pt x="232" y="85"/>
                        <a:pt x="237" y="85"/>
                        <a:pt x="240" y="88"/>
                      </a:cubicBezTo>
                      <a:cubicBezTo>
                        <a:pt x="243" y="91"/>
                        <a:pt x="243" y="96"/>
                        <a:pt x="240" y="99"/>
                      </a:cubicBezTo>
                      <a:lnTo>
                        <a:pt x="101" y="23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79" name="Freeform 68"/>
                <p:cNvSpPr/>
                <p:nvPr/>
              </p:nvSpPr>
              <p:spPr bwMode="auto">
                <a:xfrm>
                  <a:off x="5375275" y="3662363"/>
                  <a:ext cx="554038" cy="558800"/>
                </a:xfrm>
                <a:custGeom>
                  <a:avLst/>
                  <a:gdLst>
                    <a:gd name="T0" fmla="*/ 227 w 349"/>
                    <a:gd name="T1" fmla="*/ 209 h 352"/>
                    <a:gd name="T2" fmla="*/ 210 w 349"/>
                    <a:gd name="T3" fmla="*/ 193 h 352"/>
                    <a:gd name="T4" fmla="*/ 349 w 349"/>
                    <a:gd name="T5" fmla="*/ 54 h 352"/>
                    <a:gd name="T6" fmla="*/ 295 w 349"/>
                    <a:gd name="T7" fmla="*/ 0 h 352"/>
                    <a:gd name="T8" fmla="*/ 156 w 349"/>
                    <a:gd name="T9" fmla="*/ 139 h 352"/>
                    <a:gd name="T10" fmla="*/ 142 w 349"/>
                    <a:gd name="T11" fmla="*/ 125 h 352"/>
                    <a:gd name="T12" fmla="*/ 110 w 349"/>
                    <a:gd name="T13" fmla="*/ 141 h 352"/>
                    <a:gd name="T14" fmla="*/ 0 w 349"/>
                    <a:gd name="T15" fmla="*/ 317 h 352"/>
                    <a:gd name="T16" fmla="*/ 32 w 349"/>
                    <a:gd name="T17" fmla="*/ 352 h 352"/>
                    <a:gd name="T18" fmla="*/ 207 w 349"/>
                    <a:gd name="T19" fmla="*/ 242 h 352"/>
                    <a:gd name="T20" fmla="*/ 227 w 349"/>
                    <a:gd name="T21" fmla="*/ 20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9" h="352">
                      <a:moveTo>
                        <a:pt x="227" y="209"/>
                      </a:moveTo>
                      <a:lnTo>
                        <a:pt x="210" y="193"/>
                      </a:lnTo>
                      <a:lnTo>
                        <a:pt x="349" y="54"/>
                      </a:lnTo>
                      <a:lnTo>
                        <a:pt x="295" y="0"/>
                      </a:lnTo>
                      <a:lnTo>
                        <a:pt x="156" y="139"/>
                      </a:lnTo>
                      <a:lnTo>
                        <a:pt x="142" y="125"/>
                      </a:lnTo>
                      <a:lnTo>
                        <a:pt x="110" y="141"/>
                      </a:lnTo>
                      <a:lnTo>
                        <a:pt x="0" y="317"/>
                      </a:lnTo>
                      <a:lnTo>
                        <a:pt x="32" y="352"/>
                      </a:lnTo>
                      <a:lnTo>
                        <a:pt x="207" y="242"/>
                      </a:lnTo>
                      <a:lnTo>
                        <a:pt x="227" y="20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80" name="Freeform 69"/>
                <p:cNvSpPr/>
                <p:nvPr/>
              </p:nvSpPr>
              <p:spPr bwMode="auto">
                <a:xfrm>
                  <a:off x="5278438" y="2986088"/>
                  <a:ext cx="590550" cy="590550"/>
                </a:xfrm>
                <a:custGeom>
                  <a:avLst/>
                  <a:gdLst>
                    <a:gd name="T0" fmla="*/ 104 w 207"/>
                    <a:gd name="T1" fmla="*/ 0 h 207"/>
                    <a:gd name="T2" fmla="*/ 78 w 207"/>
                    <a:gd name="T3" fmla="*/ 3 h 207"/>
                    <a:gd name="T4" fmla="*/ 81 w 207"/>
                    <a:gd name="T5" fmla="*/ 5 h 207"/>
                    <a:gd name="T6" fmla="*/ 118 w 207"/>
                    <a:gd name="T7" fmla="*/ 43 h 207"/>
                    <a:gd name="T8" fmla="*/ 118 w 207"/>
                    <a:gd name="T9" fmla="*/ 112 h 207"/>
                    <a:gd name="T10" fmla="*/ 49 w 207"/>
                    <a:gd name="T11" fmla="*/ 112 h 207"/>
                    <a:gd name="T12" fmla="*/ 12 w 207"/>
                    <a:gd name="T13" fmla="*/ 74 h 207"/>
                    <a:gd name="T14" fmla="*/ 7 w 207"/>
                    <a:gd name="T15" fmla="*/ 68 h 207"/>
                    <a:gd name="T16" fmla="*/ 0 w 207"/>
                    <a:gd name="T17" fmla="*/ 103 h 207"/>
                    <a:gd name="T18" fmla="*/ 104 w 207"/>
                    <a:gd name="T19" fmla="*/ 207 h 207"/>
                    <a:gd name="T20" fmla="*/ 207 w 207"/>
                    <a:gd name="T21" fmla="*/ 103 h 207"/>
                    <a:gd name="T22" fmla="*/ 104 w 207"/>
                    <a:gd name="T23"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207">
                      <a:moveTo>
                        <a:pt x="104" y="0"/>
                      </a:moveTo>
                      <a:cubicBezTo>
                        <a:pt x="95" y="0"/>
                        <a:pt x="86" y="1"/>
                        <a:pt x="78" y="3"/>
                      </a:cubicBezTo>
                      <a:cubicBezTo>
                        <a:pt x="79" y="4"/>
                        <a:pt x="80" y="5"/>
                        <a:pt x="81" y="5"/>
                      </a:cubicBezTo>
                      <a:cubicBezTo>
                        <a:pt x="118" y="43"/>
                        <a:pt x="118" y="43"/>
                        <a:pt x="118" y="43"/>
                      </a:cubicBezTo>
                      <a:cubicBezTo>
                        <a:pt x="137" y="62"/>
                        <a:pt x="137" y="93"/>
                        <a:pt x="118" y="112"/>
                      </a:cubicBezTo>
                      <a:cubicBezTo>
                        <a:pt x="99" y="131"/>
                        <a:pt x="68" y="131"/>
                        <a:pt x="49" y="112"/>
                      </a:cubicBezTo>
                      <a:cubicBezTo>
                        <a:pt x="12" y="74"/>
                        <a:pt x="12" y="74"/>
                        <a:pt x="12" y="74"/>
                      </a:cubicBezTo>
                      <a:cubicBezTo>
                        <a:pt x="10" y="72"/>
                        <a:pt x="8" y="70"/>
                        <a:pt x="7" y="68"/>
                      </a:cubicBezTo>
                      <a:cubicBezTo>
                        <a:pt x="3" y="79"/>
                        <a:pt x="0" y="91"/>
                        <a:pt x="0" y="103"/>
                      </a:cubicBezTo>
                      <a:cubicBezTo>
                        <a:pt x="0" y="161"/>
                        <a:pt x="47" y="207"/>
                        <a:pt x="104" y="207"/>
                      </a:cubicBezTo>
                      <a:cubicBezTo>
                        <a:pt x="161" y="207"/>
                        <a:pt x="207" y="161"/>
                        <a:pt x="207" y="103"/>
                      </a:cubicBezTo>
                      <a:cubicBezTo>
                        <a:pt x="207" y="46"/>
                        <a:pt x="161" y="0"/>
                        <a:pt x="10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81" name="Freeform 70"/>
                <p:cNvSpPr>
                  <a:spLocks noEditPoints="1"/>
                </p:cNvSpPr>
                <p:nvPr/>
              </p:nvSpPr>
              <p:spPr bwMode="auto">
                <a:xfrm>
                  <a:off x="6008688" y="3686176"/>
                  <a:ext cx="531813" cy="531813"/>
                </a:xfrm>
                <a:custGeom>
                  <a:avLst/>
                  <a:gdLst>
                    <a:gd name="T0" fmla="*/ 164 w 186"/>
                    <a:gd name="T1" fmla="*/ 164 h 186"/>
                    <a:gd name="T2" fmla="*/ 164 w 186"/>
                    <a:gd name="T3" fmla="*/ 83 h 186"/>
                    <a:gd name="T4" fmla="*/ 81 w 186"/>
                    <a:gd name="T5" fmla="*/ 0 h 186"/>
                    <a:gd name="T6" fmla="*/ 0 w 186"/>
                    <a:gd name="T7" fmla="*/ 81 h 186"/>
                    <a:gd name="T8" fmla="*/ 82 w 186"/>
                    <a:gd name="T9" fmla="*/ 164 h 186"/>
                    <a:gd name="T10" fmla="*/ 164 w 186"/>
                    <a:gd name="T11" fmla="*/ 164 h 186"/>
                    <a:gd name="T12" fmla="*/ 109 w 186"/>
                    <a:gd name="T13" fmla="*/ 109 h 186"/>
                    <a:gd name="T14" fmla="*/ 142 w 186"/>
                    <a:gd name="T15" fmla="*/ 109 h 186"/>
                    <a:gd name="T16" fmla="*/ 142 w 186"/>
                    <a:gd name="T17" fmla="*/ 143 h 186"/>
                    <a:gd name="T18" fmla="*/ 109 w 186"/>
                    <a:gd name="T19" fmla="*/ 143 h 186"/>
                    <a:gd name="T20" fmla="*/ 109 w 186"/>
                    <a:gd name="T21" fmla="*/ 10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6" h="186">
                      <a:moveTo>
                        <a:pt x="164" y="164"/>
                      </a:moveTo>
                      <a:cubicBezTo>
                        <a:pt x="186" y="142"/>
                        <a:pt x="186" y="105"/>
                        <a:pt x="164" y="83"/>
                      </a:cubicBezTo>
                      <a:cubicBezTo>
                        <a:pt x="81" y="0"/>
                        <a:pt x="81" y="0"/>
                        <a:pt x="81" y="0"/>
                      </a:cubicBezTo>
                      <a:cubicBezTo>
                        <a:pt x="0" y="81"/>
                        <a:pt x="0" y="81"/>
                        <a:pt x="0" y="81"/>
                      </a:cubicBezTo>
                      <a:cubicBezTo>
                        <a:pt x="82" y="164"/>
                        <a:pt x="82" y="164"/>
                        <a:pt x="82" y="164"/>
                      </a:cubicBezTo>
                      <a:cubicBezTo>
                        <a:pt x="105" y="186"/>
                        <a:pt x="141" y="186"/>
                        <a:pt x="164" y="164"/>
                      </a:cubicBezTo>
                      <a:close/>
                      <a:moveTo>
                        <a:pt x="109" y="109"/>
                      </a:moveTo>
                      <a:cubicBezTo>
                        <a:pt x="118" y="100"/>
                        <a:pt x="133" y="100"/>
                        <a:pt x="142" y="109"/>
                      </a:cubicBezTo>
                      <a:cubicBezTo>
                        <a:pt x="152" y="118"/>
                        <a:pt x="152" y="133"/>
                        <a:pt x="142" y="143"/>
                      </a:cubicBezTo>
                      <a:cubicBezTo>
                        <a:pt x="133" y="152"/>
                        <a:pt x="118" y="152"/>
                        <a:pt x="109" y="143"/>
                      </a:cubicBezTo>
                      <a:cubicBezTo>
                        <a:pt x="99" y="133"/>
                        <a:pt x="99" y="118"/>
                        <a:pt x="109" y="10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grpSp>
        </p:grpSp>
        <p:grpSp>
          <p:nvGrpSpPr>
            <p:cNvPr id="53" name="Group 111"/>
            <p:cNvGrpSpPr/>
            <p:nvPr/>
          </p:nvGrpSpPr>
          <p:grpSpPr>
            <a:xfrm>
              <a:off x="2953610" y="3349506"/>
              <a:ext cx="3123870" cy="3092137"/>
              <a:chOff x="2953610" y="3349506"/>
              <a:chExt cx="3123870" cy="3092137"/>
            </a:xfrm>
          </p:grpSpPr>
          <p:sp>
            <p:nvSpPr>
              <p:cNvPr id="65" name="空心弧 4"/>
              <p:cNvSpPr/>
              <p:nvPr/>
            </p:nvSpPr>
            <p:spPr>
              <a:xfrm rot="19070819">
                <a:off x="2953610" y="3349506"/>
                <a:ext cx="3123870" cy="3092137"/>
              </a:xfrm>
              <a:prstGeom prst="blockArc">
                <a:avLst>
                  <a:gd name="adj1" fmla="val 18792979"/>
                  <a:gd name="adj2" fmla="val 0"/>
                  <a:gd name="adj3" fmla="val 25000"/>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tx1"/>
                  </a:solidFill>
                  <a:latin typeface="微软雅黑 Light" panose="020B0502040204020203" pitchFamily="34" charset="-122"/>
                  <a:ea typeface="微软雅黑 Light" panose="020B0502040204020203" pitchFamily="34" charset="-122"/>
                </a:endParaRPr>
              </a:p>
            </p:txBody>
          </p:sp>
          <p:grpSp>
            <p:nvGrpSpPr>
              <p:cNvPr id="66" name="组合 60"/>
              <p:cNvGrpSpPr/>
              <p:nvPr/>
            </p:nvGrpSpPr>
            <p:grpSpPr>
              <a:xfrm>
                <a:off x="4881163" y="3654428"/>
                <a:ext cx="271828" cy="348560"/>
                <a:chOff x="2951163" y="2495550"/>
                <a:chExt cx="1208088" cy="1581150"/>
              </a:xfrm>
              <a:solidFill>
                <a:schemeClr val="bg1"/>
              </a:solidFill>
            </p:grpSpPr>
            <p:sp>
              <p:nvSpPr>
                <p:cNvPr id="67" name="Freeform 29"/>
                <p:cNvSpPr/>
                <p:nvPr/>
              </p:nvSpPr>
              <p:spPr bwMode="auto">
                <a:xfrm>
                  <a:off x="2978150" y="2911475"/>
                  <a:ext cx="230188" cy="306388"/>
                </a:xfrm>
                <a:custGeom>
                  <a:avLst/>
                  <a:gdLst>
                    <a:gd name="T0" fmla="*/ 69 w 79"/>
                    <a:gd name="T1" fmla="*/ 40 h 105"/>
                    <a:gd name="T2" fmla="*/ 70 w 79"/>
                    <a:gd name="T3" fmla="*/ 3 h 105"/>
                    <a:gd name="T4" fmla="*/ 52 w 79"/>
                    <a:gd name="T5" fmla="*/ 0 h 105"/>
                    <a:gd name="T6" fmla="*/ 0 w 79"/>
                    <a:gd name="T7" fmla="*/ 52 h 105"/>
                    <a:gd name="T8" fmla="*/ 52 w 79"/>
                    <a:gd name="T9" fmla="*/ 105 h 105"/>
                    <a:gd name="T10" fmla="*/ 79 w 79"/>
                    <a:gd name="T11" fmla="*/ 97 h 105"/>
                    <a:gd name="T12" fmla="*/ 69 w 79"/>
                    <a:gd name="T13" fmla="*/ 40 h 105"/>
                  </a:gdLst>
                  <a:ahLst/>
                  <a:cxnLst>
                    <a:cxn ang="0">
                      <a:pos x="T0" y="T1"/>
                    </a:cxn>
                    <a:cxn ang="0">
                      <a:pos x="T2" y="T3"/>
                    </a:cxn>
                    <a:cxn ang="0">
                      <a:pos x="T4" y="T5"/>
                    </a:cxn>
                    <a:cxn ang="0">
                      <a:pos x="T6" y="T7"/>
                    </a:cxn>
                    <a:cxn ang="0">
                      <a:pos x="T8" y="T9"/>
                    </a:cxn>
                    <a:cxn ang="0">
                      <a:pos x="T10" y="T11"/>
                    </a:cxn>
                    <a:cxn ang="0">
                      <a:pos x="T12" y="T13"/>
                    </a:cxn>
                  </a:cxnLst>
                  <a:rect l="0" t="0" r="r" b="b"/>
                  <a:pathLst>
                    <a:path w="79" h="105">
                      <a:moveTo>
                        <a:pt x="69" y="40"/>
                      </a:moveTo>
                      <a:cubicBezTo>
                        <a:pt x="69" y="25"/>
                        <a:pt x="62" y="15"/>
                        <a:pt x="70" y="3"/>
                      </a:cubicBezTo>
                      <a:cubicBezTo>
                        <a:pt x="65" y="1"/>
                        <a:pt x="59" y="0"/>
                        <a:pt x="52" y="0"/>
                      </a:cubicBezTo>
                      <a:cubicBezTo>
                        <a:pt x="23" y="0"/>
                        <a:pt x="0" y="24"/>
                        <a:pt x="0" y="52"/>
                      </a:cubicBezTo>
                      <a:cubicBezTo>
                        <a:pt x="0" y="81"/>
                        <a:pt x="23" y="105"/>
                        <a:pt x="52" y="105"/>
                      </a:cubicBezTo>
                      <a:cubicBezTo>
                        <a:pt x="62" y="105"/>
                        <a:pt x="71" y="102"/>
                        <a:pt x="79" y="97"/>
                      </a:cubicBezTo>
                      <a:cubicBezTo>
                        <a:pt x="75" y="84"/>
                        <a:pt x="69" y="60"/>
                        <a:pt x="69"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8" name="Freeform 30"/>
                <p:cNvSpPr/>
                <p:nvPr/>
              </p:nvSpPr>
              <p:spPr bwMode="auto">
                <a:xfrm>
                  <a:off x="3900488" y="2911475"/>
                  <a:ext cx="228600" cy="306388"/>
                </a:xfrm>
                <a:custGeom>
                  <a:avLst/>
                  <a:gdLst>
                    <a:gd name="T0" fmla="*/ 10 w 79"/>
                    <a:gd name="T1" fmla="*/ 40 h 105"/>
                    <a:gd name="T2" fmla="*/ 9 w 79"/>
                    <a:gd name="T3" fmla="*/ 3 h 105"/>
                    <a:gd name="T4" fmla="*/ 27 w 79"/>
                    <a:gd name="T5" fmla="*/ 0 h 105"/>
                    <a:gd name="T6" fmla="*/ 79 w 79"/>
                    <a:gd name="T7" fmla="*/ 52 h 105"/>
                    <a:gd name="T8" fmla="*/ 27 w 79"/>
                    <a:gd name="T9" fmla="*/ 105 h 105"/>
                    <a:gd name="T10" fmla="*/ 0 w 79"/>
                    <a:gd name="T11" fmla="*/ 97 h 105"/>
                    <a:gd name="T12" fmla="*/ 10 w 79"/>
                    <a:gd name="T13" fmla="*/ 40 h 105"/>
                  </a:gdLst>
                  <a:ahLst/>
                  <a:cxnLst>
                    <a:cxn ang="0">
                      <a:pos x="T0" y="T1"/>
                    </a:cxn>
                    <a:cxn ang="0">
                      <a:pos x="T2" y="T3"/>
                    </a:cxn>
                    <a:cxn ang="0">
                      <a:pos x="T4" y="T5"/>
                    </a:cxn>
                    <a:cxn ang="0">
                      <a:pos x="T6" y="T7"/>
                    </a:cxn>
                    <a:cxn ang="0">
                      <a:pos x="T8" y="T9"/>
                    </a:cxn>
                    <a:cxn ang="0">
                      <a:pos x="T10" y="T11"/>
                    </a:cxn>
                    <a:cxn ang="0">
                      <a:pos x="T12" y="T13"/>
                    </a:cxn>
                  </a:cxnLst>
                  <a:rect l="0" t="0" r="r" b="b"/>
                  <a:pathLst>
                    <a:path w="79" h="105">
                      <a:moveTo>
                        <a:pt x="10" y="40"/>
                      </a:moveTo>
                      <a:cubicBezTo>
                        <a:pt x="10" y="25"/>
                        <a:pt x="17" y="15"/>
                        <a:pt x="9" y="3"/>
                      </a:cubicBezTo>
                      <a:cubicBezTo>
                        <a:pt x="15" y="1"/>
                        <a:pt x="21" y="0"/>
                        <a:pt x="27" y="0"/>
                      </a:cubicBezTo>
                      <a:cubicBezTo>
                        <a:pt x="56" y="0"/>
                        <a:pt x="79" y="24"/>
                        <a:pt x="79" y="52"/>
                      </a:cubicBezTo>
                      <a:cubicBezTo>
                        <a:pt x="79" y="81"/>
                        <a:pt x="56" y="105"/>
                        <a:pt x="27" y="105"/>
                      </a:cubicBezTo>
                      <a:cubicBezTo>
                        <a:pt x="17" y="105"/>
                        <a:pt x="8" y="102"/>
                        <a:pt x="0" y="97"/>
                      </a:cubicBezTo>
                      <a:cubicBezTo>
                        <a:pt x="4" y="84"/>
                        <a:pt x="10" y="60"/>
                        <a:pt x="10"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9" name="Freeform 31"/>
                <p:cNvSpPr/>
                <p:nvPr/>
              </p:nvSpPr>
              <p:spPr bwMode="auto">
                <a:xfrm>
                  <a:off x="3481388" y="3570288"/>
                  <a:ext cx="147638" cy="328613"/>
                </a:xfrm>
                <a:custGeom>
                  <a:avLst/>
                  <a:gdLst>
                    <a:gd name="T0" fmla="*/ 25 w 93"/>
                    <a:gd name="T1" fmla="*/ 0 h 207"/>
                    <a:gd name="T2" fmla="*/ 0 w 93"/>
                    <a:gd name="T3" fmla="*/ 145 h 207"/>
                    <a:gd name="T4" fmla="*/ 47 w 93"/>
                    <a:gd name="T5" fmla="*/ 207 h 207"/>
                    <a:gd name="T6" fmla="*/ 93 w 93"/>
                    <a:gd name="T7" fmla="*/ 143 h 207"/>
                    <a:gd name="T8" fmla="*/ 68 w 93"/>
                    <a:gd name="T9" fmla="*/ 0 h 207"/>
                    <a:gd name="T10" fmla="*/ 25 w 93"/>
                    <a:gd name="T11" fmla="*/ 0 h 207"/>
                  </a:gdLst>
                  <a:ahLst/>
                  <a:cxnLst>
                    <a:cxn ang="0">
                      <a:pos x="T0" y="T1"/>
                    </a:cxn>
                    <a:cxn ang="0">
                      <a:pos x="T2" y="T3"/>
                    </a:cxn>
                    <a:cxn ang="0">
                      <a:pos x="T4" y="T5"/>
                    </a:cxn>
                    <a:cxn ang="0">
                      <a:pos x="T6" y="T7"/>
                    </a:cxn>
                    <a:cxn ang="0">
                      <a:pos x="T8" y="T9"/>
                    </a:cxn>
                    <a:cxn ang="0">
                      <a:pos x="T10" y="T11"/>
                    </a:cxn>
                  </a:cxnLst>
                  <a:rect l="0" t="0" r="r" b="b"/>
                  <a:pathLst>
                    <a:path w="93" h="207">
                      <a:moveTo>
                        <a:pt x="25" y="0"/>
                      </a:moveTo>
                      <a:lnTo>
                        <a:pt x="0" y="145"/>
                      </a:lnTo>
                      <a:lnTo>
                        <a:pt x="47" y="207"/>
                      </a:lnTo>
                      <a:lnTo>
                        <a:pt x="93" y="143"/>
                      </a:lnTo>
                      <a:lnTo>
                        <a:pt x="68" y="0"/>
                      </a:lnTo>
                      <a:lnTo>
                        <a:pt x="2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0" name="Freeform 32"/>
                <p:cNvSpPr/>
                <p:nvPr/>
              </p:nvSpPr>
              <p:spPr bwMode="auto">
                <a:xfrm>
                  <a:off x="3471863" y="3433763"/>
                  <a:ext cx="166688" cy="115888"/>
                </a:xfrm>
                <a:custGeom>
                  <a:avLst/>
                  <a:gdLst>
                    <a:gd name="T0" fmla="*/ 21 w 57"/>
                    <a:gd name="T1" fmla="*/ 7 h 40"/>
                    <a:gd name="T2" fmla="*/ 0 w 57"/>
                    <a:gd name="T3" fmla="*/ 5 h 40"/>
                    <a:gd name="T4" fmla="*/ 0 w 57"/>
                    <a:gd name="T5" fmla="*/ 14 h 40"/>
                    <a:gd name="T6" fmla="*/ 1 w 57"/>
                    <a:gd name="T7" fmla="*/ 13 h 40"/>
                    <a:gd name="T8" fmla="*/ 18 w 57"/>
                    <a:gd name="T9" fmla="*/ 40 h 40"/>
                    <a:gd name="T10" fmla="*/ 40 w 57"/>
                    <a:gd name="T11" fmla="*/ 40 h 40"/>
                    <a:gd name="T12" fmla="*/ 56 w 57"/>
                    <a:gd name="T13" fmla="*/ 15 h 40"/>
                    <a:gd name="T14" fmla="*/ 57 w 57"/>
                    <a:gd name="T15" fmla="*/ 0 h 40"/>
                    <a:gd name="T16" fmla="*/ 21 w 57"/>
                    <a:gd name="T17" fmla="*/ 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40">
                      <a:moveTo>
                        <a:pt x="21" y="7"/>
                      </a:moveTo>
                      <a:cubicBezTo>
                        <a:pt x="14" y="7"/>
                        <a:pt x="7" y="7"/>
                        <a:pt x="0" y="5"/>
                      </a:cubicBezTo>
                      <a:cubicBezTo>
                        <a:pt x="0" y="8"/>
                        <a:pt x="0" y="11"/>
                        <a:pt x="0" y="14"/>
                      </a:cubicBezTo>
                      <a:cubicBezTo>
                        <a:pt x="0" y="13"/>
                        <a:pt x="1" y="13"/>
                        <a:pt x="1" y="13"/>
                      </a:cubicBezTo>
                      <a:cubicBezTo>
                        <a:pt x="18" y="40"/>
                        <a:pt x="18" y="40"/>
                        <a:pt x="18" y="40"/>
                      </a:cubicBezTo>
                      <a:cubicBezTo>
                        <a:pt x="40" y="40"/>
                        <a:pt x="40" y="40"/>
                        <a:pt x="40" y="40"/>
                      </a:cubicBezTo>
                      <a:cubicBezTo>
                        <a:pt x="56" y="15"/>
                        <a:pt x="56" y="15"/>
                        <a:pt x="56" y="15"/>
                      </a:cubicBezTo>
                      <a:cubicBezTo>
                        <a:pt x="56" y="10"/>
                        <a:pt x="56" y="5"/>
                        <a:pt x="57" y="0"/>
                      </a:cubicBezTo>
                      <a:cubicBezTo>
                        <a:pt x="46" y="5"/>
                        <a:pt x="34" y="7"/>
                        <a:pt x="21" y="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1" name="Freeform 33"/>
                <p:cNvSpPr>
                  <a:spLocks noEditPoints="1"/>
                </p:cNvSpPr>
                <p:nvPr/>
              </p:nvSpPr>
              <p:spPr bwMode="auto">
                <a:xfrm>
                  <a:off x="3140075" y="2582863"/>
                  <a:ext cx="827088" cy="827088"/>
                </a:xfrm>
                <a:custGeom>
                  <a:avLst/>
                  <a:gdLst>
                    <a:gd name="T0" fmla="*/ 0 w 284"/>
                    <a:gd name="T1" fmla="*/ 142 h 284"/>
                    <a:gd name="T2" fmla="*/ 142 w 284"/>
                    <a:gd name="T3" fmla="*/ 0 h 284"/>
                    <a:gd name="T4" fmla="*/ 142 w 284"/>
                    <a:gd name="T5" fmla="*/ 0 h 284"/>
                    <a:gd name="T6" fmla="*/ 284 w 284"/>
                    <a:gd name="T7" fmla="*/ 142 h 284"/>
                    <a:gd name="T8" fmla="*/ 284 w 284"/>
                    <a:gd name="T9" fmla="*/ 142 h 284"/>
                    <a:gd name="T10" fmla="*/ 142 w 284"/>
                    <a:gd name="T11" fmla="*/ 284 h 284"/>
                    <a:gd name="T12" fmla="*/ 142 w 284"/>
                    <a:gd name="T13" fmla="*/ 284 h 284"/>
                    <a:gd name="T14" fmla="*/ 0 w 284"/>
                    <a:gd name="T15" fmla="*/ 142 h 284"/>
                    <a:gd name="T16" fmla="*/ 25 w 284"/>
                    <a:gd name="T17" fmla="*/ 142 h 284"/>
                    <a:gd name="T18" fmla="*/ 142 w 284"/>
                    <a:gd name="T19" fmla="*/ 260 h 284"/>
                    <a:gd name="T20" fmla="*/ 142 w 284"/>
                    <a:gd name="T21" fmla="*/ 260 h 284"/>
                    <a:gd name="T22" fmla="*/ 260 w 284"/>
                    <a:gd name="T23" fmla="*/ 142 h 284"/>
                    <a:gd name="T24" fmla="*/ 260 w 284"/>
                    <a:gd name="T25" fmla="*/ 142 h 284"/>
                    <a:gd name="T26" fmla="*/ 142 w 284"/>
                    <a:gd name="T27" fmla="*/ 24 h 284"/>
                    <a:gd name="T28" fmla="*/ 142 w 284"/>
                    <a:gd name="T29" fmla="*/ 24 h 284"/>
                    <a:gd name="T30" fmla="*/ 25 w 284"/>
                    <a:gd name="T31" fmla="*/ 142 h 284"/>
                    <a:gd name="T32" fmla="*/ 25 w 284"/>
                    <a:gd name="T33" fmla="*/ 14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4" h="284">
                      <a:moveTo>
                        <a:pt x="0" y="142"/>
                      </a:moveTo>
                      <a:cubicBezTo>
                        <a:pt x="0" y="63"/>
                        <a:pt x="64" y="0"/>
                        <a:pt x="142" y="0"/>
                      </a:cubicBezTo>
                      <a:cubicBezTo>
                        <a:pt x="142" y="0"/>
                        <a:pt x="142" y="0"/>
                        <a:pt x="142" y="0"/>
                      </a:cubicBezTo>
                      <a:cubicBezTo>
                        <a:pt x="221" y="0"/>
                        <a:pt x="284" y="63"/>
                        <a:pt x="284" y="142"/>
                      </a:cubicBezTo>
                      <a:cubicBezTo>
                        <a:pt x="284" y="142"/>
                        <a:pt x="284" y="142"/>
                        <a:pt x="284" y="142"/>
                      </a:cubicBezTo>
                      <a:cubicBezTo>
                        <a:pt x="284" y="220"/>
                        <a:pt x="221" y="284"/>
                        <a:pt x="142" y="284"/>
                      </a:cubicBezTo>
                      <a:cubicBezTo>
                        <a:pt x="142" y="284"/>
                        <a:pt x="142" y="284"/>
                        <a:pt x="142" y="284"/>
                      </a:cubicBezTo>
                      <a:cubicBezTo>
                        <a:pt x="64" y="284"/>
                        <a:pt x="0" y="220"/>
                        <a:pt x="0" y="142"/>
                      </a:cubicBezTo>
                      <a:close/>
                      <a:moveTo>
                        <a:pt x="25" y="142"/>
                      </a:moveTo>
                      <a:cubicBezTo>
                        <a:pt x="25" y="207"/>
                        <a:pt x="77" y="259"/>
                        <a:pt x="142" y="260"/>
                      </a:cubicBezTo>
                      <a:cubicBezTo>
                        <a:pt x="142" y="260"/>
                        <a:pt x="142" y="260"/>
                        <a:pt x="142" y="260"/>
                      </a:cubicBezTo>
                      <a:cubicBezTo>
                        <a:pt x="207" y="259"/>
                        <a:pt x="260" y="207"/>
                        <a:pt x="260" y="142"/>
                      </a:cubicBezTo>
                      <a:cubicBezTo>
                        <a:pt x="260" y="142"/>
                        <a:pt x="260" y="142"/>
                        <a:pt x="260" y="142"/>
                      </a:cubicBezTo>
                      <a:cubicBezTo>
                        <a:pt x="260" y="77"/>
                        <a:pt x="207" y="24"/>
                        <a:pt x="142" y="24"/>
                      </a:cubicBezTo>
                      <a:cubicBezTo>
                        <a:pt x="142" y="24"/>
                        <a:pt x="142" y="24"/>
                        <a:pt x="142" y="24"/>
                      </a:cubicBezTo>
                      <a:cubicBezTo>
                        <a:pt x="77" y="24"/>
                        <a:pt x="25" y="77"/>
                        <a:pt x="25" y="142"/>
                      </a:cubicBezTo>
                      <a:cubicBezTo>
                        <a:pt x="25" y="142"/>
                        <a:pt x="25" y="142"/>
                        <a:pt x="25" y="14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2" name="Freeform 34"/>
                <p:cNvSpPr/>
                <p:nvPr/>
              </p:nvSpPr>
              <p:spPr bwMode="auto">
                <a:xfrm>
                  <a:off x="3068638" y="2495550"/>
                  <a:ext cx="971550" cy="454025"/>
                </a:xfrm>
                <a:custGeom>
                  <a:avLst/>
                  <a:gdLst>
                    <a:gd name="T0" fmla="*/ 0 w 334"/>
                    <a:gd name="T1" fmla="*/ 155 h 156"/>
                    <a:gd name="T2" fmla="*/ 167 w 334"/>
                    <a:gd name="T3" fmla="*/ 0 h 156"/>
                    <a:gd name="T4" fmla="*/ 167 w 334"/>
                    <a:gd name="T5" fmla="*/ 0 h 156"/>
                    <a:gd name="T6" fmla="*/ 334 w 334"/>
                    <a:gd name="T7" fmla="*/ 155 h 156"/>
                    <a:gd name="T8" fmla="*/ 334 w 334"/>
                    <a:gd name="T9" fmla="*/ 155 h 156"/>
                    <a:gd name="T10" fmla="*/ 322 w 334"/>
                    <a:gd name="T11" fmla="*/ 155 h 156"/>
                    <a:gd name="T12" fmla="*/ 167 w 334"/>
                    <a:gd name="T13" fmla="*/ 12 h 156"/>
                    <a:gd name="T14" fmla="*/ 167 w 334"/>
                    <a:gd name="T15" fmla="*/ 12 h 156"/>
                    <a:gd name="T16" fmla="*/ 12 w 334"/>
                    <a:gd name="T17" fmla="*/ 156 h 156"/>
                    <a:gd name="T18" fmla="*/ 12 w 334"/>
                    <a:gd name="T19" fmla="*/ 156 h 156"/>
                    <a:gd name="T20" fmla="*/ 0 w 334"/>
                    <a:gd name="T21" fmla="*/ 155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4" h="156">
                      <a:moveTo>
                        <a:pt x="0" y="155"/>
                      </a:moveTo>
                      <a:cubicBezTo>
                        <a:pt x="7" y="68"/>
                        <a:pt x="79" y="0"/>
                        <a:pt x="167" y="0"/>
                      </a:cubicBezTo>
                      <a:cubicBezTo>
                        <a:pt x="167" y="0"/>
                        <a:pt x="167" y="0"/>
                        <a:pt x="167" y="0"/>
                      </a:cubicBezTo>
                      <a:cubicBezTo>
                        <a:pt x="255" y="0"/>
                        <a:pt x="328" y="68"/>
                        <a:pt x="334" y="155"/>
                      </a:cubicBezTo>
                      <a:cubicBezTo>
                        <a:pt x="334" y="155"/>
                        <a:pt x="334" y="155"/>
                        <a:pt x="334" y="155"/>
                      </a:cubicBezTo>
                      <a:cubicBezTo>
                        <a:pt x="322" y="155"/>
                        <a:pt x="322" y="155"/>
                        <a:pt x="322" y="155"/>
                      </a:cubicBezTo>
                      <a:cubicBezTo>
                        <a:pt x="316" y="75"/>
                        <a:pt x="249" y="12"/>
                        <a:pt x="167" y="12"/>
                      </a:cubicBezTo>
                      <a:cubicBezTo>
                        <a:pt x="167" y="12"/>
                        <a:pt x="167" y="12"/>
                        <a:pt x="167" y="12"/>
                      </a:cubicBezTo>
                      <a:cubicBezTo>
                        <a:pt x="85" y="12"/>
                        <a:pt x="18" y="75"/>
                        <a:pt x="12" y="156"/>
                      </a:cubicBezTo>
                      <a:cubicBezTo>
                        <a:pt x="12" y="156"/>
                        <a:pt x="12" y="156"/>
                        <a:pt x="12" y="156"/>
                      </a:cubicBezTo>
                      <a:cubicBezTo>
                        <a:pt x="0" y="155"/>
                        <a:pt x="0" y="155"/>
                        <a:pt x="0" y="1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3" name="Freeform 35"/>
                <p:cNvSpPr/>
                <p:nvPr/>
              </p:nvSpPr>
              <p:spPr bwMode="auto">
                <a:xfrm>
                  <a:off x="2951163" y="3378200"/>
                  <a:ext cx="1208088" cy="698500"/>
                </a:xfrm>
                <a:custGeom>
                  <a:avLst/>
                  <a:gdLst>
                    <a:gd name="T0" fmla="*/ 382 w 415"/>
                    <a:gd name="T1" fmla="*/ 223 h 240"/>
                    <a:gd name="T2" fmla="*/ 326 w 415"/>
                    <a:gd name="T3" fmla="*/ 80 h 240"/>
                    <a:gd name="T4" fmla="*/ 326 w 415"/>
                    <a:gd name="T5" fmla="*/ 80 h 240"/>
                    <a:gd name="T6" fmla="*/ 207 w 415"/>
                    <a:gd name="T7" fmla="*/ 33 h 240"/>
                    <a:gd name="T8" fmla="*/ 207 w 415"/>
                    <a:gd name="T9" fmla="*/ 33 h 240"/>
                    <a:gd name="T10" fmla="*/ 161 w 415"/>
                    <a:gd name="T11" fmla="*/ 39 h 240"/>
                    <a:gd name="T12" fmla="*/ 161 w 415"/>
                    <a:gd name="T13" fmla="*/ 39 h 240"/>
                    <a:gd name="T14" fmla="*/ 60 w 415"/>
                    <a:gd name="T15" fmla="*/ 114 h 240"/>
                    <a:gd name="T16" fmla="*/ 60 w 415"/>
                    <a:gd name="T17" fmla="*/ 114 h 240"/>
                    <a:gd name="T18" fmla="*/ 33 w 415"/>
                    <a:gd name="T19" fmla="*/ 223 h 240"/>
                    <a:gd name="T20" fmla="*/ 33 w 415"/>
                    <a:gd name="T21" fmla="*/ 223 h 240"/>
                    <a:gd name="T22" fmla="*/ 16 w 415"/>
                    <a:gd name="T23" fmla="*/ 240 h 240"/>
                    <a:gd name="T24" fmla="*/ 16 w 415"/>
                    <a:gd name="T25" fmla="*/ 240 h 240"/>
                    <a:gd name="T26" fmla="*/ 0 w 415"/>
                    <a:gd name="T27" fmla="*/ 223 h 240"/>
                    <a:gd name="T28" fmla="*/ 0 w 415"/>
                    <a:gd name="T29" fmla="*/ 223 h 240"/>
                    <a:gd name="T30" fmla="*/ 32 w 415"/>
                    <a:gd name="T31" fmla="*/ 97 h 240"/>
                    <a:gd name="T32" fmla="*/ 32 w 415"/>
                    <a:gd name="T33" fmla="*/ 97 h 240"/>
                    <a:gd name="T34" fmla="*/ 152 w 415"/>
                    <a:gd name="T35" fmla="*/ 8 h 240"/>
                    <a:gd name="T36" fmla="*/ 152 w 415"/>
                    <a:gd name="T37" fmla="*/ 8 h 240"/>
                    <a:gd name="T38" fmla="*/ 207 w 415"/>
                    <a:gd name="T39" fmla="*/ 0 h 240"/>
                    <a:gd name="T40" fmla="*/ 207 w 415"/>
                    <a:gd name="T41" fmla="*/ 0 h 240"/>
                    <a:gd name="T42" fmla="*/ 349 w 415"/>
                    <a:gd name="T43" fmla="*/ 56 h 240"/>
                    <a:gd name="T44" fmla="*/ 349 w 415"/>
                    <a:gd name="T45" fmla="*/ 56 h 240"/>
                    <a:gd name="T46" fmla="*/ 414 w 415"/>
                    <a:gd name="T47" fmla="*/ 223 h 240"/>
                    <a:gd name="T48" fmla="*/ 414 w 415"/>
                    <a:gd name="T49" fmla="*/ 223 h 240"/>
                    <a:gd name="T50" fmla="*/ 398 w 415"/>
                    <a:gd name="T51" fmla="*/ 240 h 240"/>
                    <a:gd name="T52" fmla="*/ 398 w 415"/>
                    <a:gd name="T53" fmla="*/ 240 h 240"/>
                    <a:gd name="T54" fmla="*/ 382 w 415"/>
                    <a:gd name="T55" fmla="*/ 22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15" h="240">
                      <a:moveTo>
                        <a:pt x="382" y="223"/>
                      </a:moveTo>
                      <a:cubicBezTo>
                        <a:pt x="382" y="167"/>
                        <a:pt x="367" y="118"/>
                        <a:pt x="326" y="80"/>
                      </a:cubicBezTo>
                      <a:cubicBezTo>
                        <a:pt x="326" y="80"/>
                        <a:pt x="326" y="80"/>
                        <a:pt x="326" y="80"/>
                      </a:cubicBezTo>
                      <a:cubicBezTo>
                        <a:pt x="294" y="49"/>
                        <a:pt x="250" y="33"/>
                        <a:pt x="207" y="33"/>
                      </a:cubicBezTo>
                      <a:cubicBezTo>
                        <a:pt x="207" y="33"/>
                        <a:pt x="207" y="33"/>
                        <a:pt x="207" y="33"/>
                      </a:cubicBezTo>
                      <a:cubicBezTo>
                        <a:pt x="191" y="33"/>
                        <a:pt x="176" y="35"/>
                        <a:pt x="161" y="39"/>
                      </a:cubicBezTo>
                      <a:cubicBezTo>
                        <a:pt x="161" y="39"/>
                        <a:pt x="161" y="39"/>
                        <a:pt x="161" y="39"/>
                      </a:cubicBezTo>
                      <a:cubicBezTo>
                        <a:pt x="119" y="51"/>
                        <a:pt x="83" y="78"/>
                        <a:pt x="60" y="114"/>
                      </a:cubicBezTo>
                      <a:cubicBezTo>
                        <a:pt x="60" y="114"/>
                        <a:pt x="60" y="114"/>
                        <a:pt x="60" y="114"/>
                      </a:cubicBezTo>
                      <a:cubicBezTo>
                        <a:pt x="39" y="147"/>
                        <a:pt x="33" y="183"/>
                        <a:pt x="33" y="223"/>
                      </a:cubicBezTo>
                      <a:cubicBezTo>
                        <a:pt x="33" y="223"/>
                        <a:pt x="33" y="223"/>
                        <a:pt x="33" y="223"/>
                      </a:cubicBezTo>
                      <a:cubicBezTo>
                        <a:pt x="33" y="232"/>
                        <a:pt x="25" y="240"/>
                        <a:pt x="16" y="240"/>
                      </a:cubicBezTo>
                      <a:cubicBezTo>
                        <a:pt x="16" y="240"/>
                        <a:pt x="16" y="240"/>
                        <a:pt x="16" y="240"/>
                      </a:cubicBezTo>
                      <a:cubicBezTo>
                        <a:pt x="7" y="240"/>
                        <a:pt x="0" y="232"/>
                        <a:pt x="0" y="223"/>
                      </a:cubicBezTo>
                      <a:cubicBezTo>
                        <a:pt x="0" y="223"/>
                        <a:pt x="0" y="223"/>
                        <a:pt x="0" y="223"/>
                      </a:cubicBezTo>
                      <a:cubicBezTo>
                        <a:pt x="0" y="180"/>
                        <a:pt x="7" y="136"/>
                        <a:pt x="32" y="97"/>
                      </a:cubicBezTo>
                      <a:cubicBezTo>
                        <a:pt x="32" y="97"/>
                        <a:pt x="32" y="97"/>
                        <a:pt x="32" y="97"/>
                      </a:cubicBezTo>
                      <a:cubicBezTo>
                        <a:pt x="59" y="53"/>
                        <a:pt x="102" y="21"/>
                        <a:pt x="152" y="8"/>
                      </a:cubicBezTo>
                      <a:cubicBezTo>
                        <a:pt x="152" y="8"/>
                        <a:pt x="152" y="8"/>
                        <a:pt x="152" y="8"/>
                      </a:cubicBezTo>
                      <a:cubicBezTo>
                        <a:pt x="170" y="3"/>
                        <a:pt x="188" y="0"/>
                        <a:pt x="207" y="0"/>
                      </a:cubicBezTo>
                      <a:cubicBezTo>
                        <a:pt x="207" y="0"/>
                        <a:pt x="207" y="0"/>
                        <a:pt x="207" y="0"/>
                      </a:cubicBezTo>
                      <a:cubicBezTo>
                        <a:pt x="259" y="0"/>
                        <a:pt x="310" y="20"/>
                        <a:pt x="349" y="56"/>
                      </a:cubicBezTo>
                      <a:cubicBezTo>
                        <a:pt x="349" y="56"/>
                        <a:pt x="349" y="56"/>
                        <a:pt x="349" y="56"/>
                      </a:cubicBezTo>
                      <a:cubicBezTo>
                        <a:pt x="397" y="101"/>
                        <a:pt x="415" y="161"/>
                        <a:pt x="414" y="223"/>
                      </a:cubicBezTo>
                      <a:cubicBezTo>
                        <a:pt x="414" y="223"/>
                        <a:pt x="414" y="223"/>
                        <a:pt x="414" y="223"/>
                      </a:cubicBezTo>
                      <a:cubicBezTo>
                        <a:pt x="414" y="232"/>
                        <a:pt x="407" y="240"/>
                        <a:pt x="398" y="240"/>
                      </a:cubicBezTo>
                      <a:cubicBezTo>
                        <a:pt x="398" y="240"/>
                        <a:pt x="398" y="240"/>
                        <a:pt x="398" y="240"/>
                      </a:cubicBezTo>
                      <a:cubicBezTo>
                        <a:pt x="389" y="240"/>
                        <a:pt x="382" y="232"/>
                        <a:pt x="382" y="2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4" name="Freeform 36"/>
                <p:cNvSpPr/>
                <p:nvPr/>
              </p:nvSpPr>
              <p:spPr bwMode="auto">
                <a:xfrm>
                  <a:off x="3446463" y="3189288"/>
                  <a:ext cx="165100" cy="88900"/>
                </a:xfrm>
                <a:custGeom>
                  <a:avLst/>
                  <a:gdLst>
                    <a:gd name="T0" fmla="*/ 57 w 57"/>
                    <a:gd name="T1" fmla="*/ 15 h 31"/>
                    <a:gd name="T2" fmla="*/ 41 w 57"/>
                    <a:gd name="T3" fmla="*/ 31 h 31"/>
                    <a:gd name="T4" fmla="*/ 16 w 57"/>
                    <a:gd name="T5" fmla="*/ 31 h 31"/>
                    <a:gd name="T6" fmla="*/ 0 w 57"/>
                    <a:gd name="T7" fmla="*/ 15 h 31"/>
                    <a:gd name="T8" fmla="*/ 0 w 57"/>
                    <a:gd name="T9" fmla="*/ 15 h 31"/>
                    <a:gd name="T10" fmla="*/ 16 w 57"/>
                    <a:gd name="T11" fmla="*/ 0 h 31"/>
                    <a:gd name="T12" fmla="*/ 41 w 57"/>
                    <a:gd name="T13" fmla="*/ 0 h 31"/>
                    <a:gd name="T14" fmla="*/ 57 w 57"/>
                    <a:gd name="T15" fmla="*/ 15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31">
                      <a:moveTo>
                        <a:pt x="57" y="15"/>
                      </a:moveTo>
                      <a:cubicBezTo>
                        <a:pt x="57" y="24"/>
                        <a:pt x="50" y="31"/>
                        <a:pt x="41" y="31"/>
                      </a:cubicBezTo>
                      <a:cubicBezTo>
                        <a:pt x="16" y="31"/>
                        <a:pt x="16" y="31"/>
                        <a:pt x="16" y="31"/>
                      </a:cubicBezTo>
                      <a:cubicBezTo>
                        <a:pt x="7" y="31"/>
                        <a:pt x="0" y="24"/>
                        <a:pt x="0" y="15"/>
                      </a:cubicBezTo>
                      <a:cubicBezTo>
                        <a:pt x="0" y="15"/>
                        <a:pt x="0" y="15"/>
                        <a:pt x="0" y="15"/>
                      </a:cubicBezTo>
                      <a:cubicBezTo>
                        <a:pt x="0" y="7"/>
                        <a:pt x="7" y="0"/>
                        <a:pt x="16" y="0"/>
                      </a:cubicBezTo>
                      <a:cubicBezTo>
                        <a:pt x="41" y="0"/>
                        <a:pt x="41" y="0"/>
                        <a:pt x="41" y="0"/>
                      </a:cubicBezTo>
                      <a:cubicBezTo>
                        <a:pt x="50" y="0"/>
                        <a:pt x="57" y="7"/>
                        <a:pt x="57" y="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5" name="Freeform 37"/>
                <p:cNvSpPr/>
                <p:nvPr/>
              </p:nvSpPr>
              <p:spPr bwMode="auto">
                <a:xfrm>
                  <a:off x="3117850" y="3168650"/>
                  <a:ext cx="349250" cy="92075"/>
                </a:xfrm>
                <a:custGeom>
                  <a:avLst/>
                  <a:gdLst>
                    <a:gd name="T0" fmla="*/ 34 w 120"/>
                    <a:gd name="T1" fmla="*/ 32 h 32"/>
                    <a:gd name="T2" fmla="*/ 0 w 120"/>
                    <a:gd name="T3" fmla="*/ 2 h 32"/>
                    <a:gd name="T4" fmla="*/ 0 w 120"/>
                    <a:gd name="T5" fmla="*/ 2 h 32"/>
                    <a:gd name="T6" fmla="*/ 12 w 120"/>
                    <a:gd name="T7" fmla="*/ 0 h 32"/>
                    <a:gd name="T8" fmla="*/ 34 w 120"/>
                    <a:gd name="T9" fmla="*/ 20 h 32"/>
                    <a:gd name="T10" fmla="*/ 34 w 120"/>
                    <a:gd name="T11" fmla="*/ 20 h 32"/>
                    <a:gd name="T12" fmla="*/ 120 w 120"/>
                    <a:gd name="T13" fmla="*/ 20 h 32"/>
                    <a:gd name="T14" fmla="*/ 120 w 120"/>
                    <a:gd name="T15" fmla="*/ 20 h 32"/>
                    <a:gd name="T16" fmla="*/ 120 w 120"/>
                    <a:gd name="T17" fmla="*/ 32 h 32"/>
                    <a:gd name="T18" fmla="*/ 34 w 120"/>
                    <a:gd name="T1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32">
                      <a:moveTo>
                        <a:pt x="34" y="32"/>
                      </a:moveTo>
                      <a:cubicBezTo>
                        <a:pt x="16" y="32"/>
                        <a:pt x="2" y="19"/>
                        <a:pt x="0" y="2"/>
                      </a:cubicBezTo>
                      <a:cubicBezTo>
                        <a:pt x="0" y="2"/>
                        <a:pt x="0" y="2"/>
                        <a:pt x="0" y="2"/>
                      </a:cubicBezTo>
                      <a:cubicBezTo>
                        <a:pt x="12" y="0"/>
                        <a:pt x="12" y="0"/>
                        <a:pt x="12" y="0"/>
                      </a:cubicBezTo>
                      <a:cubicBezTo>
                        <a:pt x="13" y="11"/>
                        <a:pt x="22" y="20"/>
                        <a:pt x="34" y="20"/>
                      </a:cubicBezTo>
                      <a:cubicBezTo>
                        <a:pt x="34" y="20"/>
                        <a:pt x="34" y="20"/>
                        <a:pt x="34" y="20"/>
                      </a:cubicBezTo>
                      <a:cubicBezTo>
                        <a:pt x="120" y="20"/>
                        <a:pt x="120" y="20"/>
                        <a:pt x="120" y="20"/>
                      </a:cubicBezTo>
                      <a:cubicBezTo>
                        <a:pt x="120" y="20"/>
                        <a:pt x="120" y="20"/>
                        <a:pt x="120" y="20"/>
                      </a:cubicBezTo>
                      <a:cubicBezTo>
                        <a:pt x="120" y="32"/>
                        <a:pt x="120" y="32"/>
                        <a:pt x="120" y="32"/>
                      </a:cubicBezTo>
                      <a:cubicBezTo>
                        <a:pt x="34" y="32"/>
                        <a:pt x="34" y="32"/>
                        <a:pt x="34"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grpSp>
          <p:nvGrpSpPr>
            <p:cNvPr id="54" name="Group 112"/>
            <p:cNvGrpSpPr/>
            <p:nvPr/>
          </p:nvGrpSpPr>
          <p:grpSpPr>
            <a:xfrm>
              <a:off x="2953610" y="3349506"/>
              <a:ext cx="3123870" cy="3092137"/>
              <a:chOff x="2953610" y="3349506"/>
              <a:chExt cx="3123870" cy="3092137"/>
            </a:xfrm>
          </p:grpSpPr>
          <p:sp>
            <p:nvSpPr>
              <p:cNvPr id="55" name="空心弧 3"/>
              <p:cNvSpPr/>
              <p:nvPr/>
            </p:nvSpPr>
            <p:spPr>
              <a:xfrm>
                <a:off x="2953610" y="3349506"/>
                <a:ext cx="3123870" cy="3092137"/>
              </a:xfrm>
              <a:prstGeom prst="blockArc">
                <a:avLst>
                  <a:gd name="adj1" fmla="val 19121810"/>
                  <a:gd name="adj2" fmla="val 0"/>
                  <a:gd name="adj3" fmla="val 2500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solidFill>
                    <a:schemeClr val="tx1"/>
                  </a:solidFill>
                  <a:latin typeface="微软雅黑 Light" panose="020B0502040204020203" pitchFamily="34" charset="-122"/>
                  <a:ea typeface="微软雅黑 Light" panose="020B0502040204020203" pitchFamily="34" charset="-122"/>
                </a:endParaRPr>
              </a:p>
            </p:txBody>
          </p:sp>
          <p:grpSp>
            <p:nvGrpSpPr>
              <p:cNvPr id="56" name="组合 75"/>
              <p:cNvGrpSpPr/>
              <p:nvPr/>
            </p:nvGrpSpPr>
            <p:grpSpPr>
              <a:xfrm>
                <a:off x="5448768" y="4312063"/>
                <a:ext cx="337639" cy="371790"/>
                <a:chOff x="279401" y="2698750"/>
                <a:chExt cx="1473200" cy="1655763"/>
              </a:xfrm>
              <a:solidFill>
                <a:schemeClr val="bg1"/>
              </a:solidFill>
            </p:grpSpPr>
            <p:sp>
              <p:nvSpPr>
                <p:cNvPr id="57" name="Freeform 45"/>
                <p:cNvSpPr>
                  <a:spLocks noEditPoints="1"/>
                </p:cNvSpPr>
                <p:nvPr/>
              </p:nvSpPr>
              <p:spPr bwMode="auto">
                <a:xfrm>
                  <a:off x="279401" y="2884488"/>
                  <a:ext cx="1473200" cy="1470025"/>
                </a:xfrm>
                <a:custGeom>
                  <a:avLst/>
                  <a:gdLst>
                    <a:gd name="T0" fmla="*/ 250 w 501"/>
                    <a:gd name="T1" fmla="*/ 0 h 501"/>
                    <a:gd name="T2" fmla="*/ 0 w 501"/>
                    <a:gd name="T3" fmla="*/ 251 h 501"/>
                    <a:gd name="T4" fmla="*/ 250 w 501"/>
                    <a:gd name="T5" fmla="*/ 501 h 501"/>
                    <a:gd name="T6" fmla="*/ 501 w 501"/>
                    <a:gd name="T7" fmla="*/ 251 h 501"/>
                    <a:gd name="T8" fmla="*/ 250 w 501"/>
                    <a:gd name="T9" fmla="*/ 0 h 501"/>
                    <a:gd name="T10" fmla="*/ 455 w 501"/>
                    <a:gd name="T11" fmla="*/ 267 h 501"/>
                    <a:gd name="T12" fmla="*/ 446 w 501"/>
                    <a:gd name="T13" fmla="*/ 267 h 501"/>
                    <a:gd name="T14" fmla="*/ 389 w 501"/>
                    <a:gd name="T15" fmla="*/ 390 h 501"/>
                    <a:gd name="T16" fmla="*/ 267 w 501"/>
                    <a:gd name="T17" fmla="*/ 447 h 501"/>
                    <a:gd name="T18" fmla="*/ 267 w 501"/>
                    <a:gd name="T19" fmla="*/ 455 h 501"/>
                    <a:gd name="T20" fmla="*/ 250 w 501"/>
                    <a:gd name="T21" fmla="*/ 471 h 501"/>
                    <a:gd name="T22" fmla="*/ 234 w 501"/>
                    <a:gd name="T23" fmla="*/ 455 h 501"/>
                    <a:gd name="T24" fmla="*/ 234 w 501"/>
                    <a:gd name="T25" fmla="*/ 447 h 501"/>
                    <a:gd name="T26" fmla="*/ 111 w 501"/>
                    <a:gd name="T27" fmla="*/ 390 h 501"/>
                    <a:gd name="T28" fmla="*/ 54 w 501"/>
                    <a:gd name="T29" fmla="*/ 267 h 501"/>
                    <a:gd name="T30" fmla="*/ 46 w 501"/>
                    <a:gd name="T31" fmla="*/ 267 h 501"/>
                    <a:gd name="T32" fmla="*/ 30 w 501"/>
                    <a:gd name="T33" fmla="*/ 251 h 501"/>
                    <a:gd name="T34" fmla="*/ 46 w 501"/>
                    <a:gd name="T35" fmla="*/ 234 h 501"/>
                    <a:gd name="T36" fmla="*/ 54 w 501"/>
                    <a:gd name="T37" fmla="*/ 234 h 501"/>
                    <a:gd name="T38" fmla="*/ 111 w 501"/>
                    <a:gd name="T39" fmla="*/ 111 h 501"/>
                    <a:gd name="T40" fmla="*/ 234 w 501"/>
                    <a:gd name="T41" fmla="*/ 54 h 501"/>
                    <a:gd name="T42" fmla="*/ 234 w 501"/>
                    <a:gd name="T43" fmla="*/ 46 h 501"/>
                    <a:gd name="T44" fmla="*/ 250 w 501"/>
                    <a:gd name="T45" fmla="*/ 30 h 501"/>
                    <a:gd name="T46" fmla="*/ 267 w 501"/>
                    <a:gd name="T47" fmla="*/ 46 h 501"/>
                    <a:gd name="T48" fmla="*/ 267 w 501"/>
                    <a:gd name="T49" fmla="*/ 54 h 501"/>
                    <a:gd name="T50" fmla="*/ 389 w 501"/>
                    <a:gd name="T51" fmla="*/ 111 h 501"/>
                    <a:gd name="T52" fmla="*/ 446 w 501"/>
                    <a:gd name="T53" fmla="*/ 234 h 501"/>
                    <a:gd name="T54" fmla="*/ 455 w 501"/>
                    <a:gd name="T55" fmla="*/ 234 h 501"/>
                    <a:gd name="T56" fmla="*/ 471 w 501"/>
                    <a:gd name="T57" fmla="*/ 251 h 501"/>
                    <a:gd name="T58" fmla="*/ 455 w 501"/>
                    <a:gd name="T59" fmla="*/ 267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1" h="501">
                      <a:moveTo>
                        <a:pt x="250" y="0"/>
                      </a:moveTo>
                      <a:cubicBezTo>
                        <a:pt x="112" y="0"/>
                        <a:pt x="0" y="112"/>
                        <a:pt x="0" y="251"/>
                      </a:cubicBezTo>
                      <a:cubicBezTo>
                        <a:pt x="0" y="389"/>
                        <a:pt x="112" y="501"/>
                        <a:pt x="250" y="501"/>
                      </a:cubicBezTo>
                      <a:cubicBezTo>
                        <a:pt x="389" y="501"/>
                        <a:pt x="501" y="389"/>
                        <a:pt x="501" y="251"/>
                      </a:cubicBezTo>
                      <a:cubicBezTo>
                        <a:pt x="501" y="112"/>
                        <a:pt x="389" y="0"/>
                        <a:pt x="250" y="0"/>
                      </a:cubicBezTo>
                      <a:close/>
                      <a:moveTo>
                        <a:pt x="455" y="267"/>
                      </a:moveTo>
                      <a:cubicBezTo>
                        <a:pt x="446" y="267"/>
                        <a:pt x="446" y="267"/>
                        <a:pt x="446" y="267"/>
                      </a:cubicBezTo>
                      <a:cubicBezTo>
                        <a:pt x="442" y="315"/>
                        <a:pt x="421" y="358"/>
                        <a:pt x="389" y="390"/>
                      </a:cubicBezTo>
                      <a:cubicBezTo>
                        <a:pt x="357" y="422"/>
                        <a:pt x="315" y="443"/>
                        <a:pt x="267" y="447"/>
                      </a:cubicBezTo>
                      <a:cubicBezTo>
                        <a:pt x="267" y="455"/>
                        <a:pt x="267" y="455"/>
                        <a:pt x="267" y="455"/>
                      </a:cubicBezTo>
                      <a:cubicBezTo>
                        <a:pt x="267" y="464"/>
                        <a:pt x="259" y="471"/>
                        <a:pt x="250" y="471"/>
                      </a:cubicBezTo>
                      <a:cubicBezTo>
                        <a:pt x="241" y="471"/>
                        <a:pt x="234" y="464"/>
                        <a:pt x="234" y="455"/>
                      </a:cubicBezTo>
                      <a:cubicBezTo>
                        <a:pt x="234" y="447"/>
                        <a:pt x="234" y="447"/>
                        <a:pt x="234" y="447"/>
                      </a:cubicBezTo>
                      <a:cubicBezTo>
                        <a:pt x="186" y="443"/>
                        <a:pt x="143" y="422"/>
                        <a:pt x="111" y="390"/>
                      </a:cubicBezTo>
                      <a:cubicBezTo>
                        <a:pt x="79" y="358"/>
                        <a:pt x="58" y="315"/>
                        <a:pt x="54" y="267"/>
                      </a:cubicBezTo>
                      <a:cubicBezTo>
                        <a:pt x="46" y="267"/>
                        <a:pt x="46" y="267"/>
                        <a:pt x="46" y="267"/>
                      </a:cubicBezTo>
                      <a:cubicBezTo>
                        <a:pt x="37" y="267"/>
                        <a:pt x="30" y="260"/>
                        <a:pt x="30" y="251"/>
                      </a:cubicBezTo>
                      <a:cubicBezTo>
                        <a:pt x="30" y="241"/>
                        <a:pt x="37" y="234"/>
                        <a:pt x="46" y="234"/>
                      </a:cubicBezTo>
                      <a:cubicBezTo>
                        <a:pt x="54" y="234"/>
                        <a:pt x="54" y="234"/>
                        <a:pt x="54" y="234"/>
                      </a:cubicBezTo>
                      <a:cubicBezTo>
                        <a:pt x="58" y="186"/>
                        <a:pt x="79" y="143"/>
                        <a:pt x="111" y="111"/>
                      </a:cubicBezTo>
                      <a:cubicBezTo>
                        <a:pt x="143" y="79"/>
                        <a:pt x="186" y="58"/>
                        <a:pt x="234" y="54"/>
                      </a:cubicBezTo>
                      <a:cubicBezTo>
                        <a:pt x="234" y="46"/>
                        <a:pt x="234" y="46"/>
                        <a:pt x="234" y="46"/>
                      </a:cubicBezTo>
                      <a:cubicBezTo>
                        <a:pt x="234" y="37"/>
                        <a:pt x="241" y="30"/>
                        <a:pt x="250" y="30"/>
                      </a:cubicBezTo>
                      <a:cubicBezTo>
                        <a:pt x="259" y="30"/>
                        <a:pt x="267" y="37"/>
                        <a:pt x="267" y="46"/>
                      </a:cubicBezTo>
                      <a:cubicBezTo>
                        <a:pt x="267" y="54"/>
                        <a:pt x="267" y="54"/>
                        <a:pt x="267" y="54"/>
                      </a:cubicBezTo>
                      <a:cubicBezTo>
                        <a:pt x="315" y="58"/>
                        <a:pt x="357" y="79"/>
                        <a:pt x="389" y="111"/>
                      </a:cubicBezTo>
                      <a:cubicBezTo>
                        <a:pt x="421" y="143"/>
                        <a:pt x="442" y="186"/>
                        <a:pt x="446" y="234"/>
                      </a:cubicBezTo>
                      <a:cubicBezTo>
                        <a:pt x="455" y="234"/>
                        <a:pt x="455" y="234"/>
                        <a:pt x="455" y="234"/>
                      </a:cubicBezTo>
                      <a:cubicBezTo>
                        <a:pt x="464" y="234"/>
                        <a:pt x="471" y="241"/>
                        <a:pt x="471" y="251"/>
                      </a:cubicBezTo>
                      <a:cubicBezTo>
                        <a:pt x="471" y="260"/>
                        <a:pt x="464" y="267"/>
                        <a:pt x="455" y="26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58" name="Freeform 46"/>
                <p:cNvSpPr/>
                <p:nvPr/>
              </p:nvSpPr>
              <p:spPr bwMode="auto">
                <a:xfrm>
                  <a:off x="966788" y="3043238"/>
                  <a:ext cx="96838" cy="117475"/>
                </a:xfrm>
                <a:custGeom>
                  <a:avLst/>
                  <a:gdLst>
                    <a:gd name="T0" fmla="*/ 16 w 33"/>
                    <a:gd name="T1" fmla="*/ 40 h 40"/>
                    <a:gd name="T2" fmla="*/ 33 w 33"/>
                    <a:gd name="T3" fmla="*/ 24 h 40"/>
                    <a:gd name="T4" fmla="*/ 33 w 33"/>
                    <a:gd name="T5" fmla="*/ 0 h 40"/>
                    <a:gd name="T6" fmla="*/ 16 w 33"/>
                    <a:gd name="T7" fmla="*/ 0 h 40"/>
                    <a:gd name="T8" fmla="*/ 0 w 33"/>
                    <a:gd name="T9" fmla="*/ 0 h 40"/>
                    <a:gd name="T10" fmla="*/ 0 w 33"/>
                    <a:gd name="T11" fmla="*/ 24 h 40"/>
                    <a:gd name="T12" fmla="*/ 16 w 33"/>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3" h="40">
                      <a:moveTo>
                        <a:pt x="16" y="40"/>
                      </a:moveTo>
                      <a:cubicBezTo>
                        <a:pt x="25" y="40"/>
                        <a:pt x="33" y="33"/>
                        <a:pt x="33" y="24"/>
                      </a:cubicBezTo>
                      <a:cubicBezTo>
                        <a:pt x="33" y="0"/>
                        <a:pt x="33" y="0"/>
                        <a:pt x="33" y="0"/>
                      </a:cubicBezTo>
                      <a:cubicBezTo>
                        <a:pt x="27" y="0"/>
                        <a:pt x="22" y="0"/>
                        <a:pt x="16" y="0"/>
                      </a:cubicBezTo>
                      <a:cubicBezTo>
                        <a:pt x="11" y="0"/>
                        <a:pt x="5" y="0"/>
                        <a:pt x="0" y="0"/>
                      </a:cubicBezTo>
                      <a:cubicBezTo>
                        <a:pt x="0" y="24"/>
                        <a:pt x="0" y="24"/>
                        <a:pt x="0" y="24"/>
                      </a:cubicBezTo>
                      <a:cubicBezTo>
                        <a:pt x="0" y="33"/>
                        <a:pt x="7" y="40"/>
                        <a:pt x="16"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59" name="Freeform 47"/>
                <p:cNvSpPr/>
                <p:nvPr/>
              </p:nvSpPr>
              <p:spPr bwMode="auto">
                <a:xfrm>
                  <a:off x="966788" y="4079875"/>
                  <a:ext cx="96838" cy="115888"/>
                </a:xfrm>
                <a:custGeom>
                  <a:avLst/>
                  <a:gdLst>
                    <a:gd name="T0" fmla="*/ 16 w 33"/>
                    <a:gd name="T1" fmla="*/ 0 h 40"/>
                    <a:gd name="T2" fmla="*/ 0 w 33"/>
                    <a:gd name="T3" fmla="*/ 17 h 40"/>
                    <a:gd name="T4" fmla="*/ 0 w 33"/>
                    <a:gd name="T5" fmla="*/ 40 h 40"/>
                    <a:gd name="T6" fmla="*/ 16 w 33"/>
                    <a:gd name="T7" fmla="*/ 40 h 40"/>
                    <a:gd name="T8" fmla="*/ 33 w 33"/>
                    <a:gd name="T9" fmla="*/ 40 h 40"/>
                    <a:gd name="T10" fmla="*/ 33 w 33"/>
                    <a:gd name="T11" fmla="*/ 17 h 40"/>
                    <a:gd name="T12" fmla="*/ 16 w 33"/>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33" h="40">
                      <a:moveTo>
                        <a:pt x="16" y="0"/>
                      </a:moveTo>
                      <a:cubicBezTo>
                        <a:pt x="7" y="0"/>
                        <a:pt x="0" y="7"/>
                        <a:pt x="0" y="17"/>
                      </a:cubicBezTo>
                      <a:cubicBezTo>
                        <a:pt x="0" y="40"/>
                        <a:pt x="0" y="40"/>
                        <a:pt x="0" y="40"/>
                      </a:cubicBezTo>
                      <a:cubicBezTo>
                        <a:pt x="5" y="40"/>
                        <a:pt x="11" y="40"/>
                        <a:pt x="16" y="40"/>
                      </a:cubicBezTo>
                      <a:cubicBezTo>
                        <a:pt x="22" y="40"/>
                        <a:pt x="27" y="40"/>
                        <a:pt x="33" y="40"/>
                      </a:cubicBezTo>
                      <a:cubicBezTo>
                        <a:pt x="33" y="17"/>
                        <a:pt x="33" y="17"/>
                        <a:pt x="33" y="17"/>
                      </a:cubicBezTo>
                      <a:cubicBezTo>
                        <a:pt x="33" y="7"/>
                        <a:pt x="25" y="0"/>
                        <a:pt x="1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0" name="Freeform 48"/>
                <p:cNvSpPr/>
                <p:nvPr/>
              </p:nvSpPr>
              <p:spPr bwMode="auto">
                <a:xfrm>
                  <a:off x="434976" y="3571875"/>
                  <a:ext cx="120650" cy="96838"/>
                </a:xfrm>
                <a:custGeom>
                  <a:avLst/>
                  <a:gdLst>
                    <a:gd name="T0" fmla="*/ 41 w 41"/>
                    <a:gd name="T1" fmla="*/ 17 h 33"/>
                    <a:gd name="T2" fmla="*/ 24 w 41"/>
                    <a:gd name="T3" fmla="*/ 0 h 33"/>
                    <a:gd name="T4" fmla="*/ 1 w 41"/>
                    <a:gd name="T5" fmla="*/ 0 h 33"/>
                    <a:gd name="T6" fmla="*/ 0 w 41"/>
                    <a:gd name="T7" fmla="*/ 17 h 33"/>
                    <a:gd name="T8" fmla="*/ 1 w 41"/>
                    <a:gd name="T9" fmla="*/ 33 h 33"/>
                    <a:gd name="T10" fmla="*/ 24 w 41"/>
                    <a:gd name="T11" fmla="*/ 33 h 33"/>
                    <a:gd name="T12" fmla="*/ 41 w 41"/>
                    <a:gd name="T13" fmla="*/ 17 h 33"/>
                  </a:gdLst>
                  <a:ahLst/>
                  <a:cxnLst>
                    <a:cxn ang="0">
                      <a:pos x="T0" y="T1"/>
                    </a:cxn>
                    <a:cxn ang="0">
                      <a:pos x="T2" y="T3"/>
                    </a:cxn>
                    <a:cxn ang="0">
                      <a:pos x="T4" y="T5"/>
                    </a:cxn>
                    <a:cxn ang="0">
                      <a:pos x="T6" y="T7"/>
                    </a:cxn>
                    <a:cxn ang="0">
                      <a:pos x="T8" y="T9"/>
                    </a:cxn>
                    <a:cxn ang="0">
                      <a:pos x="T10" y="T11"/>
                    </a:cxn>
                    <a:cxn ang="0">
                      <a:pos x="T12" y="T13"/>
                    </a:cxn>
                  </a:cxnLst>
                  <a:rect l="0" t="0" r="r" b="b"/>
                  <a:pathLst>
                    <a:path w="41" h="33">
                      <a:moveTo>
                        <a:pt x="41" y="17"/>
                      </a:moveTo>
                      <a:cubicBezTo>
                        <a:pt x="41" y="7"/>
                        <a:pt x="33" y="0"/>
                        <a:pt x="24" y="0"/>
                      </a:cubicBezTo>
                      <a:cubicBezTo>
                        <a:pt x="1" y="0"/>
                        <a:pt x="1" y="0"/>
                        <a:pt x="1" y="0"/>
                      </a:cubicBezTo>
                      <a:cubicBezTo>
                        <a:pt x="1" y="6"/>
                        <a:pt x="0" y="11"/>
                        <a:pt x="0" y="17"/>
                      </a:cubicBezTo>
                      <a:cubicBezTo>
                        <a:pt x="0" y="22"/>
                        <a:pt x="1" y="28"/>
                        <a:pt x="1" y="33"/>
                      </a:cubicBezTo>
                      <a:cubicBezTo>
                        <a:pt x="24" y="33"/>
                        <a:pt x="24" y="33"/>
                        <a:pt x="24" y="33"/>
                      </a:cubicBezTo>
                      <a:cubicBezTo>
                        <a:pt x="33" y="33"/>
                        <a:pt x="41" y="26"/>
                        <a:pt x="41"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1" name="Freeform 49"/>
                <p:cNvSpPr/>
                <p:nvPr/>
              </p:nvSpPr>
              <p:spPr bwMode="auto">
                <a:xfrm>
                  <a:off x="1474788" y="3571875"/>
                  <a:ext cx="119063" cy="96838"/>
                </a:xfrm>
                <a:custGeom>
                  <a:avLst/>
                  <a:gdLst>
                    <a:gd name="T0" fmla="*/ 39 w 40"/>
                    <a:gd name="T1" fmla="*/ 0 h 33"/>
                    <a:gd name="T2" fmla="*/ 16 w 40"/>
                    <a:gd name="T3" fmla="*/ 0 h 33"/>
                    <a:gd name="T4" fmla="*/ 0 w 40"/>
                    <a:gd name="T5" fmla="*/ 17 h 33"/>
                    <a:gd name="T6" fmla="*/ 16 w 40"/>
                    <a:gd name="T7" fmla="*/ 33 h 33"/>
                    <a:gd name="T8" fmla="*/ 39 w 40"/>
                    <a:gd name="T9" fmla="*/ 33 h 33"/>
                    <a:gd name="T10" fmla="*/ 40 w 40"/>
                    <a:gd name="T11" fmla="*/ 17 h 33"/>
                    <a:gd name="T12" fmla="*/ 39 w 40"/>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40" h="33">
                      <a:moveTo>
                        <a:pt x="39" y="0"/>
                      </a:moveTo>
                      <a:cubicBezTo>
                        <a:pt x="16" y="0"/>
                        <a:pt x="16" y="0"/>
                        <a:pt x="16" y="0"/>
                      </a:cubicBezTo>
                      <a:cubicBezTo>
                        <a:pt x="7" y="0"/>
                        <a:pt x="0" y="7"/>
                        <a:pt x="0" y="17"/>
                      </a:cubicBezTo>
                      <a:cubicBezTo>
                        <a:pt x="0" y="26"/>
                        <a:pt x="7" y="33"/>
                        <a:pt x="16" y="33"/>
                      </a:cubicBezTo>
                      <a:cubicBezTo>
                        <a:pt x="39" y="33"/>
                        <a:pt x="39" y="33"/>
                        <a:pt x="39" y="33"/>
                      </a:cubicBezTo>
                      <a:cubicBezTo>
                        <a:pt x="40" y="28"/>
                        <a:pt x="40" y="22"/>
                        <a:pt x="40" y="17"/>
                      </a:cubicBezTo>
                      <a:cubicBezTo>
                        <a:pt x="40" y="11"/>
                        <a:pt x="40" y="6"/>
                        <a:pt x="39"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2" name="Oval 50"/>
                <p:cNvSpPr>
                  <a:spLocks noChangeArrowheads="1"/>
                </p:cNvSpPr>
                <p:nvPr/>
              </p:nvSpPr>
              <p:spPr bwMode="auto">
                <a:xfrm>
                  <a:off x="925513" y="3532188"/>
                  <a:ext cx="176213" cy="17462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3" name="Freeform 51"/>
                <p:cNvSpPr>
                  <a:spLocks noEditPoints="1"/>
                </p:cNvSpPr>
                <p:nvPr/>
              </p:nvSpPr>
              <p:spPr bwMode="auto">
                <a:xfrm>
                  <a:off x="652463" y="3254375"/>
                  <a:ext cx="723900" cy="730250"/>
                </a:xfrm>
                <a:custGeom>
                  <a:avLst/>
                  <a:gdLst>
                    <a:gd name="T0" fmla="*/ 106 w 246"/>
                    <a:gd name="T1" fmla="*/ 86 h 249"/>
                    <a:gd name="T2" fmla="*/ 109 w 246"/>
                    <a:gd name="T3" fmla="*/ 89 h 249"/>
                    <a:gd name="T4" fmla="*/ 123 w 246"/>
                    <a:gd name="T5" fmla="*/ 86 h 249"/>
                    <a:gd name="T6" fmla="*/ 162 w 246"/>
                    <a:gd name="T7" fmla="*/ 125 h 249"/>
                    <a:gd name="T8" fmla="*/ 159 w 246"/>
                    <a:gd name="T9" fmla="*/ 139 h 249"/>
                    <a:gd name="T10" fmla="*/ 162 w 246"/>
                    <a:gd name="T11" fmla="*/ 142 h 249"/>
                    <a:gd name="T12" fmla="*/ 246 w 246"/>
                    <a:gd name="T13" fmla="*/ 0 h 249"/>
                    <a:gd name="T14" fmla="*/ 106 w 246"/>
                    <a:gd name="T15" fmla="*/ 86 h 249"/>
                    <a:gd name="T16" fmla="*/ 123 w 246"/>
                    <a:gd name="T17" fmla="*/ 163 h 249"/>
                    <a:gd name="T18" fmla="*/ 84 w 246"/>
                    <a:gd name="T19" fmla="*/ 125 h 249"/>
                    <a:gd name="T20" fmla="*/ 87 w 246"/>
                    <a:gd name="T21" fmla="*/ 110 h 249"/>
                    <a:gd name="T22" fmla="*/ 85 w 246"/>
                    <a:gd name="T23" fmla="*/ 107 h 249"/>
                    <a:gd name="T24" fmla="*/ 0 w 246"/>
                    <a:gd name="T25" fmla="*/ 249 h 249"/>
                    <a:gd name="T26" fmla="*/ 140 w 246"/>
                    <a:gd name="T27" fmla="*/ 163 h 249"/>
                    <a:gd name="T28" fmla="*/ 138 w 246"/>
                    <a:gd name="T29" fmla="*/ 160 h 249"/>
                    <a:gd name="T30" fmla="*/ 123 w 246"/>
                    <a:gd name="T31" fmla="*/ 16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6" h="249">
                      <a:moveTo>
                        <a:pt x="106" y="86"/>
                      </a:moveTo>
                      <a:cubicBezTo>
                        <a:pt x="109" y="89"/>
                        <a:pt x="109" y="89"/>
                        <a:pt x="109" y="89"/>
                      </a:cubicBezTo>
                      <a:cubicBezTo>
                        <a:pt x="113" y="87"/>
                        <a:pt x="118" y="86"/>
                        <a:pt x="123" y="86"/>
                      </a:cubicBezTo>
                      <a:cubicBezTo>
                        <a:pt x="145" y="86"/>
                        <a:pt x="162" y="103"/>
                        <a:pt x="162" y="125"/>
                      </a:cubicBezTo>
                      <a:cubicBezTo>
                        <a:pt x="162" y="130"/>
                        <a:pt x="161" y="135"/>
                        <a:pt x="159" y="139"/>
                      </a:cubicBezTo>
                      <a:cubicBezTo>
                        <a:pt x="162" y="142"/>
                        <a:pt x="162" y="142"/>
                        <a:pt x="162" y="142"/>
                      </a:cubicBezTo>
                      <a:cubicBezTo>
                        <a:pt x="246" y="0"/>
                        <a:pt x="246" y="0"/>
                        <a:pt x="246" y="0"/>
                      </a:cubicBezTo>
                      <a:lnTo>
                        <a:pt x="106" y="86"/>
                      </a:lnTo>
                      <a:close/>
                      <a:moveTo>
                        <a:pt x="123" y="163"/>
                      </a:moveTo>
                      <a:cubicBezTo>
                        <a:pt x="102" y="163"/>
                        <a:pt x="84" y="146"/>
                        <a:pt x="84" y="125"/>
                      </a:cubicBezTo>
                      <a:cubicBezTo>
                        <a:pt x="84" y="119"/>
                        <a:pt x="86" y="114"/>
                        <a:pt x="87" y="110"/>
                      </a:cubicBezTo>
                      <a:cubicBezTo>
                        <a:pt x="85" y="107"/>
                        <a:pt x="85" y="107"/>
                        <a:pt x="85" y="107"/>
                      </a:cubicBezTo>
                      <a:cubicBezTo>
                        <a:pt x="0" y="249"/>
                        <a:pt x="0" y="249"/>
                        <a:pt x="0" y="249"/>
                      </a:cubicBezTo>
                      <a:cubicBezTo>
                        <a:pt x="140" y="163"/>
                        <a:pt x="140" y="163"/>
                        <a:pt x="140" y="163"/>
                      </a:cubicBezTo>
                      <a:cubicBezTo>
                        <a:pt x="138" y="160"/>
                        <a:pt x="138" y="160"/>
                        <a:pt x="138" y="160"/>
                      </a:cubicBezTo>
                      <a:cubicBezTo>
                        <a:pt x="133" y="162"/>
                        <a:pt x="128" y="163"/>
                        <a:pt x="123" y="16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4" name="Freeform 52"/>
                <p:cNvSpPr/>
                <p:nvPr/>
              </p:nvSpPr>
              <p:spPr bwMode="auto">
                <a:xfrm>
                  <a:off x="935038" y="2698750"/>
                  <a:ext cx="158750" cy="158750"/>
                </a:xfrm>
                <a:custGeom>
                  <a:avLst/>
                  <a:gdLst>
                    <a:gd name="T0" fmla="*/ 27 w 54"/>
                    <a:gd name="T1" fmla="*/ 0 h 54"/>
                    <a:gd name="T2" fmla="*/ 0 w 54"/>
                    <a:gd name="T3" fmla="*/ 27 h 54"/>
                    <a:gd name="T4" fmla="*/ 0 w 54"/>
                    <a:gd name="T5" fmla="*/ 54 h 54"/>
                    <a:gd name="T6" fmla="*/ 29 w 54"/>
                    <a:gd name="T7" fmla="*/ 52 h 54"/>
                    <a:gd name="T8" fmla="*/ 29 w 54"/>
                    <a:gd name="T9" fmla="*/ 52 h 54"/>
                    <a:gd name="T10" fmla="*/ 54 w 54"/>
                    <a:gd name="T11" fmla="*/ 53 h 54"/>
                    <a:gd name="T12" fmla="*/ 54 w 54"/>
                    <a:gd name="T13" fmla="*/ 27 h 54"/>
                    <a:gd name="T14" fmla="*/ 27 w 54"/>
                    <a:gd name="T15" fmla="*/ 0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4">
                      <a:moveTo>
                        <a:pt x="27" y="0"/>
                      </a:moveTo>
                      <a:cubicBezTo>
                        <a:pt x="12" y="0"/>
                        <a:pt x="0" y="12"/>
                        <a:pt x="0" y="27"/>
                      </a:cubicBezTo>
                      <a:cubicBezTo>
                        <a:pt x="0" y="54"/>
                        <a:pt x="0" y="54"/>
                        <a:pt x="0" y="54"/>
                      </a:cubicBezTo>
                      <a:cubicBezTo>
                        <a:pt x="10" y="53"/>
                        <a:pt x="19" y="52"/>
                        <a:pt x="29" y="52"/>
                      </a:cubicBezTo>
                      <a:cubicBezTo>
                        <a:pt x="29" y="52"/>
                        <a:pt x="29" y="52"/>
                        <a:pt x="29" y="52"/>
                      </a:cubicBezTo>
                      <a:cubicBezTo>
                        <a:pt x="38" y="52"/>
                        <a:pt x="46" y="52"/>
                        <a:pt x="54" y="53"/>
                      </a:cubicBezTo>
                      <a:cubicBezTo>
                        <a:pt x="54" y="27"/>
                        <a:pt x="54" y="27"/>
                        <a:pt x="54" y="27"/>
                      </a:cubicBezTo>
                      <a:cubicBezTo>
                        <a:pt x="54" y="12"/>
                        <a:pt x="42" y="0"/>
                        <a:pt x="2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grpSp>
      <p:sp>
        <p:nvSpPr>
          <p:cNvPr id="96" name="平行四边形 95"/>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7" name="平行四边形 96"/>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 name="平行四边形 97"/>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9" name="平行四边形 98"/>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00" name="直接连接符 99"/>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1"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102" name="Group 7"/>
          <p:cNvGrpSpPr/>
          <p:nvPr/>
        </p:nvGrpSpPr>
        <p:grpSpPr bwMode="auto">
          <a:xfrm>
            <a:off x="180202" y="181952"/>
            <a:ext cx="216018" cy="113981"/>
            <a:chOff x="0" y="0"/>
            <a:chExt cx="1041399" cy="549275"/>
          </a:xfrm>
          <a:solidFill>
            <a:srgbClr val="133E73"/>
          </a:solidFill>
        </p:grpSpPr>
        <p:sp>
          <p:nvSpPr>
            <p:cNvPr id="103"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4"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5"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106"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2"/>
                                        </p:tgtEl>
                                        <p:attrNameLst>
                                          <p:attrName>style.visibility</p:attrName>
                                        </p:attrNameLst>
                                      </p:cBhvr>
                                      <p:to>
                                        <p:strVal val="visible"/>
                                      </p:to>
                                    </p:set>
                                    <p:anim calcmode="lin" valueType="num">
                                      <p:cBhvr additive="base">
                                        <p:cTn id="7" dur="500" fill="hold"/>
                                        <p:tgtEl>
                                          <p:spTgt spid="102"/>
                                        </p:tgtEl>
                                        <p:attrNameLst>
                                          <p:attrName>ppt_x</p:attrName>
                                        </p:attrNameLst>
                                      </p:cBhvr>
                                      <p:tavLst>
                                        <p:tav tm="0">
                                          <p:val>
                                            <p:strVal val="0-#ppt_w/2"/>
                                          </p:val>
                                        </p:tav>
                                        <p:tav tm="100000">
                                          <p:val>
                                            <p:strVal val="#ppt_x"/>
                                          </p:val>
                                        </p:tav>
                                      </p:tavLst>
                                    </p:anim>
                                    <p:anim calcmode="lin" valueType="num">
                                      <p:cBhvr additive="base">
                                        <p:cTn id="8" dur="500" fill="hold"/>
                                        <p:tgtEl>
                                          <p:spTgt spid="10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01"/>
                                        </p:tgtEl>
                                        <p:attrNameLst>
                                          <p:attrName>style.visibility</p:attrName>
                                        </p:attrNameLst>
                                      </p:cBhvr>
                                      <p:to>
                                        <p:strVal val="visible"/>
                                      </p:to>
                                    </p:set>
                                    <p:anim calcmode="lin" valueType="num">
                                      <p:cBhvr>
                                        <p:cTn id="12" dur="500" fill="hold"/>
                                        <p:tgtEl>
                                          <p:spTgt spid="101"/>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01"/>
                                        </p:tgtEl>
                                        <p:attrNameLst>
                                          <p:attrName>ppt_y</p:attrName>
                                        </p:attrNameLst>
                                      </p:cBhvr>
                                      <p:tavLst>
                                        <p:tav tm="0">
                                          <p:val>
                                            <p:strVal val="#ppt_y"/>
                                          </p:val>
                                        </p:tav>
                                        <p:tav tm="100000">
                                          <p:val>
                                            <p:strVal val="#ppt_y"/>
                                          </p:val>
                                        </p:tav>
                                      </p:tavLst>
                                    </p:anim>
                                    <p:anim calcmode="lin" valueType="num">
                                      <p:cBhvr>
                                        <p:cTn id="14" dur="500" fill="hold"/>
                                        <p:tgtEl>
                                          <p:spTgt spid="101"/>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01"/>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01"/>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98"/>
                                        </p:tgtEl>
                                        <p:attrNameLst>
                                          <p:attrName>fillcolor</p:attrName>
                                        </p:attrNameLst>
                                      </p:cBhvr>
                                      <p:to>
                                        <a:srgbClr val="00AEEF"/>
                                      </p:to>
                                    </p:animClr>
                                    <p:set>
                                      <p:cBhvr>
                                        <p:cTn id="20" dur="300" fill="hold"/>
                                        <p:tgtEl>
                                          <p:spTgt spid="98"/>
                                        </p:tgtEl>
                                        <p:attrNameLst>
                                          <p:attrName>fill.type</p:attrName>
                                        </p:attrNameLst>
                                      </p:cBhvr>
                                      <p:to>
                                        <p:strVal val="solid"/>
                                      </p:to>
                                    </p:set>
                                    <p:set>
                                      <p:cBhvr>
                                        <p:cTn id="21" dur="300" fill="hold"/>
                                        <p:tgtEl>
                                          <p:spTgt spid="98"/>
                                        </p:tgtEl>
                                        <p:attrNameLst>
                                          <p:attrName>fill.on</p:attrName>
                                        </p:attrNameLst>
                                      </p:cBhvr>
                                      <p:to>
                                        <p:strVal val="true"/>
                                      </p:to>
                                    </p:set>
                                  </p:childTnLst>
                                </p:cTn>
                              </p:par>
                            </p:childTnLst>
                          </p:cTn>
                        </p:par>
                        <p:par>
                          <p:cTn id="22" fill="hold">
                            <p:stCondLst>
                              <p:cond delay="1799"/>
                            </p:stCondLst>
                            <p:childTnLst>
                              <p:par>
                                <p:cTn id="23" presetID="17" presetClass="entr" presetSubtype="10" fill="hold" nodeType="afterEffect">
                                  <p:stCondLst>
                                    <p:cond delay="0"/>
                                  </p:stCondLst>
                                  <p:childTnLst>
                                    <p:set>
                                      <p:cBhvr>
                                        <p:cTn id="24" dur="1" fill="hold">
                                          <p:stCondLst>
                                            <p:cond delay="0"/>
                                          </p:stCondLst>
                                        </p:cTn>
                                        <p:tgtEl>
                                          <p:spTgt spid="50"/>
                                        </p:tgtEl>
                                        <p:attrNameLst>
                                          <p:attrName>style.visibility</p:attrName>
                                        </p:attrNameLst>
                                      </p:cBhvr>
                                      <p:to>
                                        <p:strVal val="visible"/>
                                      </p:to>
                                    </p:set>
                                    <p:anim calcmode="lin" valueType="num">
                                      <p:cBhvr>
                                        <p:cTn id="25" dur="500" fill="hold"/>
                                        <p:tgtEl>
                                          <p:spTgt spid="50"/>
                                        </p:tgtEl>
                                        <p:attrNameLst>
                                          <p:attrName>ppt_w</p:attrName>
                                        </p:attrNameLst>
                                      </p:cBhvr>
                                      <p:tavLst>
                                        <p:tav tm="0">
                                          <p:val>
                                            <p:fltVal val="0"/>
                                          </p:val>
                                        </p:tav>
                                        <p:tav tm="100000">
                                          <p:val>
                                            <p:strVal val="#ppt_w"/>
                                          </p:val>
                                        </p:tav>
                                      </p:tavLst>
                                    </p:anim>
                                    <p:anim calcmode="lin" valueType="num">
                                      <p:cBhvr>
                                        <p:cTn id="26" dur="500" fill="hold"/>
                                        <p:tgtEl>
                                          <p:spTgt spid="50"/>
                                        </p:tgtEl>
                                        <p:attrNameLst>
                                          <p:attrName>ppt_h</p:attrName>
                                        </p:attrNameLst>
                                      </p:cBhvr>
                                      <p:tavLst>
                                        <p:tav tm="0">
                                          <p:val>
                                            <p:strVal val="#ppt_h"/>
                                          </p:val>
                                        </p:tav>
                                        <p:tav tm="100000">
                                          <p:val>
                                            <p:strVal val="#ppt_h"/>
                                          </p:val>
                                        </p:tav>
                                      </p:tavLst>
                                    </p:anim>
                                  </p:childTnLst>
                                </p:cTn>
                              </p:par>
                            </p:childTnLst>
                          </p:cTn>
                        </p:par>
                        <p:par>
                          <p:cTn id="27" fill="hold">
                            <p:stCondLst>
                              <p:cond delay="2299"/>
                            </p:stCondLst>
                            <p:childTnLst>
                              <p:par>
                                <p:cTn id="28" presetID="23" presetClass="entr" presetSubtype="16" fill="hold" grpId="0" nodeType="afterEffect">
                                  <p:stCondLst>
                                    <p:cond delay="0"/>
                                  </p:stCondLst>
                                  <p:childTnLst>
                                    <p:set>
                                      <p:cBhvr>
                                        <p:cTn id="29" dur="1" fill="hold">
                                          <p:stCondLst>
                                            <p:cond delay="0"/>
                                          </p:stCondLst>
                                        </p:cTn>
                                        <p:tgtEl>
                                          <p:spTgt spid="29"/>
                                        </p:tgtEl>
                                        <p:attrNameLst>
                                          <p:attrName>style.visibility</p:attrName>
                                        </p:attrNameLst>
                                      </p:cBhvr>
                                      <p:to>
                                        <p:strVal val="visible"/>
                                      </p:to>
                                    </p:set>
                                    <p:anim calcmode="lin" valueType="num">
                                      <p:cBhvr>
                                        <p:cTn id="30" dur="500" fill="hold"/>
                                        <p:tgtEl>
                                          <p:spTgt spid="29"/>
                                        </p:tgtEl>
                                        <p:attrNameLst>
                                          <p:attrName>ppt_w</p:attrName>
                                        </p:attrNameLst>
                                      </p:cBhvr>
                                      <p:tavLst>
                                        <p:tav tm="0">
                                          <p:val>
                                            <p:fltVal val="0"/>
                                          </p:val>
                                        </p:tav>
                                        <p:tav tm="100000">
                                          <p:val>
                                            <p:strVal val="#ppt_w"/>
                                          </p:val>
                                        </p:tav>
                                      </p:tavLst>
                                    </p:anim>
                                    <p:anim calcmode="lin" valueType="num">
                                      <p:cBhvr>
                                        <p:cTn id="31" dur="500" fill="hold"/>
                                        <p:tgtEl>
                                          <p:spTgt spid="29"/>
                                        </p:tgtEl>
                                        <p:attrNameLst>
                                          <p:attrName>ppt_h</p:attrName>
                                        </p:attrNameLst>
                                      </p:cBhvr>
                                      <p:tavLst>
                                        <p:tav tm="0">
                                          <p:val>
                                            <p:fltVal val="0"/>
                                          </p:val>
                                        </p:tav>
                                        <p:tav tm="100000">
                                          <p:val>
                                            <p:strVal val="#ppt_h"/>
                                          </p:val>
                                        </p:tav>
                                      </p:tavLst>
                                    </p:anim>
                                  </p:childTnLst>
                                </p:cTn>
                              </p:par>
                            </p:childTnLst>
                          </p:cTn>
                        </p:par>
                        <p:par>
                          <p:cTn id="32" fill="hold">
                            <p:stCondLst>
                              <p:cond delay="2799"/>
                            </p:stCondLst>
                            <p:childTnLst>
                              <p:par>
                                <p:cTn id="33" presetID="29" presetClass="entr" presetSubtype="0" fill="hold" nodeType="afterEffect">
                                  <p:stCondLst>
                                    <p:cond delay="0"/>
                                  </p:stCondLst>
                                  <p:childTnLst>
                                    <p:set>
                                      <p:cBhvr>
                                        <p:cTn id="34" dur="1" fill="hold">
                                          <p:stCondLst>
                                            <p:cond delay="0"/>
                                          </p:stCondLst>
                                        </p:cTn>
                                        <p:tgtEl>
                                          <p:spTgt spid="30"/>
                                        </p:tgtEl>
                                        <p:attrNameLst>
                                          <p:attrName>style.visibility</p:attrName>
                                        </p:attrNameLst>
                                      </p:cBhvr>
                                      <p:to>
                                        <p:strVal val="visible"/>
                                      </p:to>
                                    </p:set>
                                    <p:anim calcmode="lin" valueType="num">
                                      <p:cBhvr>
                                        <p:cTn id="35" dur="1000" fill="hold"/>
                                        <p:tgtEl>
                                          <p:spTgt spid="30"/>
                                        </p:tgtEl>
                                        <p:attrNameLst>
                                          <p:attrName>ppt_x</p:attrName>
                                        </p:attrNameLst>
                                      </p:cBhvr>
                                      <p:tavLst>
                                        <p:tav tm="0">
                                          <p:val>
                                            <p:strVal val="#ppt_x-.2"/>
                                          </p:val>
                                        </p:tav>
                                        <p:tav tm="100000">
                                          <p:val>
                                            <p:strVal val="#ppt_x"/>
                                          </p:val>
                                        </p:tav>
                                      </p:tavLst>
                                    </p:anim>
                                    <p:anim calcmode="lin" valueType="num">
                                      <p:cBhvr>
                                        <p:cTn id="36" dur="1000" fill="hold"/>
                                        <p:tgtEl>
                                          <p:spTgt spid="30"/>
                                        </p:tgtEl>
                                        <p:attrNameLst>
                                          <p:attrName>ppt_y</p:attrName>
                                        </p:attrNameLst>
                                      </p:cBhvr>
                                      <p:tavLst>
                                        <p:tav tm="0">
                                          <p:val>
                                            <p:strVal val="#ppt_y"/>
                                          </p:val>
                                        </p:tav>
                                        <p:tav tm="100000">
                                          <p:val>
                                            <p:strVal val="#ppt_y"/>
                                          </p:val>
                                        </p:tav>
                                      </p:tavLst>
                                    </p:anim>
                                    <p:animEffect transition="in" filter="wipe(right)" prLst="gradientSize: 0.1">
                                      <p:cBhvr>
                                        <p:cTn id="37" dur="1000"/>
                                        <p:tgtEl>
                                          <p:spTgt spid="30"/>
                                        </p:tgtEl>
                                      </p:cBhvr>
                                    </p:animEffect>
                                  </p:childTnLst>
                                </p:cTn>
                              </p:par>
                            </p:childTnLst>
                          </p:cTn>
                        </p:par>
                        <p:par>
                          <p:cTn id="38" fill="hold">
                            <p:stCondLst>
                              <p:cond delay="3799"/>
                            </p:stCondLst>
                            <p:childTnLst>
                              <p:par>
                                <p:cTn id="39" presetID="29" presetClass="entr" presetSubtype="0" fill="hold" nodeType="afterEffect">
                                  <p:stCondLst>
                                    <p:cond delay="0"/>
                                  </p:stCondLst>
                                  <p:childTnLst>
                                    <p:set>
                                      <p:cBhvr>
                                        <p:cTn id="40" dur="1" fill="hold">
                                          <p:stCondLst>
                                            <p:cond delay="0"/>
                                          </p:stCondLst>
                                        </p:cTn>
                                        <p:tgtEl>
                                          <p:spTgt spid="35"/>
                                        </p:tgtEl>
                                        <p:attrNameLst>
                                          <p:attrName>style.visibility</p:attrName>
                                        </p:attrNameLst>
                                      </p:cBhvr>
                                      <p:to>
                                        <p:strVal val="visible"/>
                                      </p:to>
                                    </p:set>
                                    <p:anim calcmode="lin" valueType="num">
                                      <p:cBhvr>
                                        <p:cTn id="41" dur="1000" fill="hold"/>
                                        <p:tgtEl>
                                          <p:spTgt spid="35"/>
                                        </p:tgtEl>
                                        <p:attrNameLst>
                                          <p:attrName>ppt_x</p:attrName>
                                        </p:attrNameLst>
                                      </p:cBhvr>
                                      <p:tavLst>
                                        <p:tav tm="0">
                                          <p:val>
                                            <p:strVal val="#ppt_x-.2"/>
                                          </p:val>
                                        </p:tav>
                                        <p:tav tm="100000">
                                          <p:val>
                                            <p:strVal val="#ppt_x"/>
                                          </p:val>
                                        </p:tav>
                                      </p:tavLst>
                                    </p:anim>
                                    <p:anim calcmode="lin" valueType="num">
                                      <p:cBhvr>
                                        <p:cTn id="42" dur="1000" fill="hold"/>
                                        <p:tgtEl>
                                          <p:spTgt spid="35"/>
                                        </p:tgtEl>
                                        <p:attrNameLst>
                                          <p:attrName>ppt_y</p:attrName>
                                        </p:attrNameLst>
                                      </p:cBhvr>
                                      <p:tavLst>
                                        <p:tav tm="0">
                                          <p:val>
                                            <p:strVal val="#ppt_y"/>
                                          </p:val>
                                        </p:tav>
                                        <p:tav tm="100000">
                                          <p:val>
                                            <p:strVal val="#ppt_y"/>
                                          </p:val>
                                        </p:tav>
                                      </p:tavLst>
                                    </p:anim>
                                    <p:animEffect transition="in" filter="wipe(right)" prLst="gradientSize: 0.1">
                                      <p:cBhvr>
                                        <p:cTn id="43" dur="1000"/>
                                        <p:tgtEl>
                                          <p:spTgt spid="35"/>
                                        </p:tgtEl>
                                      </p:cBhvr>
                                    </p:animEffect>
                                  </p:childTnLst>
                                </p:cTn>
                              </p:par>
                            </p:childTnLst>
                          </p:cTn>
                        </p:par>
                      </p:childTnLst>
                    </p:cTn>
                  </p:par>
                  <p:par>
                    <p:cTn id="44" fill="hold">
                      <p:stCondLst>
                        <p:cond delay="indefinite"/>
                      </p:stCondLst>
                      <p:childTnLst>
                        <p:par>
                          <p:cTn id="45" fill="hold">
                            <p:stCondLst>
                              <p:cond delay="0"/>
                            </p:stCondLst>
                            <p:childTnLst>
                              <p:par>
                                <p:cTn id="46" presetID="1" presetClass="mediacall" presetSubtype="0" fill="hold" nodeType="clickEffect">
                                  <p:stCondLst>
                                    <p:cond delay="0"/>
                                  </p:stCondLst>
                                  <p:childTnLst>
                                    <p:cmd type="call" cmd="playFrom(0.0)">
                                      <p:cBhvr>
                                        <p:cTn id="47" dur="705" fill="hold"/>
                                        <p:tgtEl>
                                          <p:spTgt spid="106"/>
                                        </p:tgtEl>
                                      </p:cBhvr>
                                    </p:cmd>
                                  </p:childTnLst>
                                </p:cTn>
                              </p:par>
                            </p:childTnLst>
                          </p:cTn>
                        </p:par>
                        <p:par>
                          <p:cTn id="48" fill="hold">
                            <p:stCondLst>
                              <p:cond delay="1000"/>
                            </p:stCondLst>
                            <p:childTnLst>
                              <p:par>
                                <p:cTn id="49" presetID="29" presetClass="entr" presetSubtype="0" fill="hold" nodeType="afterEffect">
                                  <p:stCondLst>
                                    <p:cond delay="0"/>
                                  </p:stCondLst>
                                  <p:childTnLst>
                                    <p:set>
                                      <p:cBhvr>
                                        <p:cTn id="50" dur="1" fill="hold">
                                          <p:stCondLst>
                                            <p:cond delay="0"/>
                                          </p:stCondLst>
                                        </p:cTn>
                                        <p:tgtEl>
                                          <p:spTgt spid="40"/>
                                        </p:tgtEl>
                                        <p:attrNameLst>
                                          <p:attrName>style.visibility</p:attrName>
                                        </p:attrNameLst>
                                      </p:cBhvr>
                                      <p:to>
                                        <p:strVal val="visible"/>
                                      </p:to>
                                    </p:set>
                                    <p:anim calcmode="lin" valueType="num">
                                      <p:cBhvr>
                                        <p:cTn id="51" dur="1000" fill="hold"/>
                                        <p:tgtEl>
                                          <p:spTgt spid="40"/>
                                        </p:tgtEl>
                                        <p:attrNameLst>
                                          <p:attrName>ppt_x</p:attrName>
                                        </p:attrNameLst>
                                      </p:cBhvr>
                                      <p:tavLst>
                                        <p:tav tm="0">
                                          <p:val>
                                            <p:strVal val="#ppt_x-.2"/>
                                          </p:val>
                                        </p:tav>
                                        <p:tav tm="100000">
                                          <p:val>
                                            <p:strVal val="#ppt_x"/>
                                          </p:val>
                                        </p:tav>
                                      </p:tavLst>
                                    </p:anim>
                                    <p:anim calcmode="lin" valueType="num">
                                      <p:cBhvr>
                                        <p:cTn id="52" dur="1000" fill="hold"/>
                                        <p:tgtEl>
                                          <p:spTgt spid="40"/>
                                        </p:tgtEl>
                                        <p:attrNameLst>
                                          <p:attrName>ppt_y</p:attrName>
                                        </p:attrNameLst>
                                      </p:cBhvr>
                                      <p:tavLst>
                                        <p:tav tm="0">
                                          <p:val>
                                            <p:strVal val="#ppt_y"/>
                                          </p:val>
                                        </p:tav>
                                        <p:tav tm="100000">
                                          <p:val>
                                            <p:strVal val="#ppt_y"/>
                                          </p:val>
                                        </p:tav>
                                      </p:tavLst>
                                    </p:anim>
                                    <p:animEffect transition="in" filter="wipe(right)" prLst="gradientSize: 0.1">
                                      <p:cBhvr>
                                        <p:cTn id="53" dur="1000"/>
                                        <p:tgtEl>
                                          <p:spTgt spid="40"/>
                                        </p:tgtEl>
                                      </p:cBhvr>
                                    </p:animEffect>
                                  </p:childTnLst>
                                </p:cTn>
                              </p:par>
                            </p:childTnLst>
                          </p:cTn>
                        </p:par>
                        <p:par>
                          <p:cTn id="54" fill="hold">
                            <p:stCondLst>
                              <p:cond delay="2000"/>
                            </p:stCondLst>
                            <p:childTnLst>
                              <p:par>
                                <p:cTn id="55" presetID="29" presetClass="entr" presetSubtype="0" fill="hold" nodeType="afterEffect">
                                  <p:stCondLst>
                                    <p:cond delay="0"/>
                                  </p:stCondLst>
                                  <p:childTnLst>
                                    <p:set>
                                      <p:cBhvr>
                                        <p:cTn id="56" dur="1" fill="hold">
                                          <p:stCondLst>
                                            <p:cond delay="0"/>
                                          </p:stCondLst>
                                        </p:cTn>
                                        <p:tgtEl>
                                          <p:spTgt spid="45"/>
                                        </p:tgtEl>
                                        <p:attrNameLst>
                                          <p:attrName>style.visibility</p:attrName>
                                        </p:attrNameLst>
                                      </p:cBhvr>
                                      <p:to>
                                        <p:strVal val="visible"/>
                                      </p:to>
                                    </p:set>
                                    <p:anim calcmode="lin" valueType="num">
                                      <p:cBhvr>
                                        <p:cTn id="57" dur="1000" fill="hold"/>
                                        <p:tgtEl>
                                          <p:spTgt spid="45"/>
                                        </p:tgtEl>
                                        <p:attrNameLst>
                                          <p:attrName>ppt_x</p:attrName>
                                        </p:attrNameLst>
                                      </p:cBhvr>
                                      <p:tavLst>
                                        <p:tav tm="0">
                                          <p:val>
                                            <p:strVal val="#ppt_x-.2"/>
                                          </p:val>
                                        </p:tav>
                                        <p:tav tm="100000">
                                          <p:val>
                                            <p:strVal val="#ppt_x"/>
                                          </p:val>
                                        </p:tav>
                                      </p:tavLst>
                                    </p:anim>
                                    <p:anim calcmode="lin" valueType="num">
                                      <p:cBhvr>
                                        <p:cTn id="58" dur="1000" fill="hold"/>
                                        <p:tgtEl>
                                          <p:spTgt spid="45"/>
                                        </p:tgtEl>
                                        <p:attrNameLst>
                                          <p:attrName>ppt_y</p:attrName>
                                        </p:attrNameLst>
                                      </p:cBhvr>
                                      <p:tavLst>
                                        <p:tav tm="0">
                                          <p:val>
                                            <p:strVal val="#ppt_y"/>
                                          </p:val>
                                        </p:tav>
                                        <p:tav tm="100000">
                                          <p:val>
                                            <p:strVal val="#ppt_y"/>
                                          </p:val>
                                        </p:tav>
                                      </p:tavLst>
                                    </p:anim>
                                    <p:animEffect transition="in" filter="wipe(right)" prLst="gradientSize: 0.1">
                                      <p:cBhvr>
                                        <p:cTn id="59" dur="1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60" fill="hold" display="0">
                  <p:stCondLst>
                    <p:cond delay="indefinite"/>
                  </p:stCondLst>
                  <p:endCondLst>
                    <p:cond evt="onStopAudio" delay="0">
                      <p:tgtEl>
                        <p:sldTgt/>
                      </p:tgtEl>
                    </p:cond>
                  </p:endCondLst>
                </p:cTn>
                <p:tgtEl>
                  <p:spTgt spid="106"/>
                </p:tgtEl>
              </p:cMediaNode>
            </p:audio>
          </p:childTnLst>
        </p:cTn>
      </p:par>
    </p:tnLst>
    <p:bldLst>
      <p:bldP spid="29" grpId="0"/>
      <p:bldP spid="98" grpId="0" animBg="1"/>
      <p:bldP spid="101"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6" name="TextBox 10"/>
          <p:cNvSpPr txBox="1"/>
          <p:nvPr/>
        </p:nvSpPr>
        <p:spPr>
          <a:xfrm>
            <a:off x="1188194" y="3005020"/>
            <a:ext cx="2569934" cy="523220"/>
          </a:xfrm>
          <a:prstGeom prst="rect">
            <a:avLst/>
          </a:prstGeom>
          <a:noFill/>
        </p:spPr>
        <p:txBody>
          <a:bodyPr wrap="none" rtlCol="0">
            <a:spAutoFit/>
          </a:bodyPr>
          <a:lstStyle/>
          <a:p>
            <a:r>
              <a:rPr lang="zh-CN" altLang="en-US" sz="2800" spc="300" dirty="0">
                <a:solidFill>
                  <a:srgbClr val="0070C0"/>
                </a:solidFill>
                <a:latin typeface="黑体" panose="02010609060101010101" pitchFamily="2" charset="-122"/>
                <a:ea typeface="黑体" panose="02010609060101010101" pitchFamily="2" charset="-122"/>
              </a:rPr>
              <a:t>单击添加标题</a:t>
            </a:r>
          </a:p>
        </p:txBody>
      </p:sp>
      <p:sp>
        <p:nvSpPr>
          <p:cNvPr id="7" name="TextBox 11"/>
          <p:cNvSpPr txBox="1"/>
          <p:nvPr/>
        </p:nvSpPr>
        <p:spPr>
          <a:xfrm>
            <a:off x="1260292" y="3564725"/>
            <a:ext cx="3025187" cy="430887"/>
          </a:xfrm>
          <a:prstGeom prst="rect">
            <a:avLst/>
          </a:prstGeom>
          <a:noFill/>
        </p:spPr>
        <p:txBody>
          <a:bodyPr wrap="none" rtlCol="0">
            <a:spAutoFit/>
          </a:bodyPr>
          <a:lstStyle/>
          <a:p>
            <a:r>
              <a:rPr lang="en-US" altLang="zh-CN" sz="1100" dirty="0">
                <a:solidFill>
                  <a:schemeClr val="bg1"/>
                </a:solidFill>
                <a:latin typeface="汉仪细等线" panose="01010104010101010101" pitchFamily="2" charset="-122"/>
                <a:ea typeface="汉仪细等线" panose="01010104010101010101" pitchFamily="2" charset="-122"/>
              </a:rPr>
              <a:t>Please click enter to Please click enter add</a:t>
            </a:r>
          </a:p>
          <a:p>
            <a:r>
              <a:rPr lang="en-US" altLang="zh-CN" sz="1100" dirty="0">
                <a:solidFill>
                  <a:schemeClr val="bg1"/>
                </a:solidFill>
                <a:latin typeface="汉仪细等线" panose="01010104010101010101" pitchFamily="2" charset="-122"/>
                <a:ea typeface="汉仪细等线" panose="01010104010101010101" pitchFamily="2" charset="-122"/>
              </a:rPr>
              <a:t>text content Please click enter </a:t>
            </a:r>
            <a:endParaRPr lang="zh-CN" altLang="en-US" sz="1100" dirty="0">
              <a:solidFill>
                <a:schemeClr val="bg1"/>
              </a:solidFill>
              <a:latin typeface="汉仪细等线" panose="01010104010101010101" pitchFamily="2" charset="-122"/>
              <a:ea typeface="汉仪细等线" panose="01010104010101010101" pitchFamily="2" charset="-122"/>
            </a:endParaRPr>
          </a:p>
        </p:txBody>
      </p:sp>
      <p:sp>
        <p:nvSpPr>
          <p:cNvPr id="8"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9060101010101" pitchFamily="2" charset="-122"/>
                <a:ea typeface="黑体" panose="02010609060101010101" pitchFamily="2" charset="-122"/>
              </a:rPr>
              <a:t>04.</a:t>
            </a:r>
            <a:endParaRPr lang="zh-CN" altLang="en-US" sz="11500" spc="300" dirty="0">
              <a:solidFill>
                <a:srgbClr val="0070C0"/>
              </a:solidFill>
              <a:latin typeface="黑体" panose="02010609060101010101" pitchFamily="2" charset="-122"/>
              <a:ea typeface="黑体" panose="02010609060101010101" pitchFamily="2" charset="-122"/>
            </a:endParaRPr>
          </a:p>
        </p:txBody>
      </p: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6"/>
                                        </p:tgtEl>
                                      </p:cBhvr>
                                    </p:animEffect>
                                    <p:animScale>
                                      <p:cBhvr>
                                        <p:cTn id="21" dur="250" autoRev="1" fill="hold"/>
                                        <p:tgtEl>
                                          <p:spTgt spid="6"/>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7"/>
                                        </p:tgtEl>
                                        <p:attrNameLst>
                                          <p:attrName>style.visibility</p:attrName>
                                        </p:attrNameLst>
                                      </p:cBhvr>
                                      <p:to>
                                        <p:strVal val="visible"/>
                                      </p:to>
                                    </p:set>
                                    <p:anim calcmode="lin" valueType="num">
                                      <p:cBhvr>
                                        <p:cTn id="25" dur="2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7"/>
                                        </p:tgtEl>
                                        <p:attrNameLst>
                                          <p:attrName>ppt_y</p:attrName>
                                        </p:attrNameLst>
                                      </p:cBhvr>
                                      <p:tavLst>
                                        <p:tav tm="0">
                                          <p:val>
                                            <p:strVal val="#ppt_y"/>
                                          </p:val>
                                        </p:tav>
                                        <p:tav tm="100000">
                                          <p:val>
                                            <p:strVal val="#ppt_y"/>
                                          </p:val>
                                        </p:tav>
                                      </p:tavLst>
                                    </p:anim>
                                    <p:anim calcmode="lin" valueType="num">
                                      <p:cBhvr>
                                        <p:cTn id="27" dur="2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8" grpId="0"/>
      <p:bldP spid="8" grpId="1"/>
      <p:bldP spid="8" grpId="2"/>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9"/>
          <p:cNvSpPr txBox="1"/>
          <p:nvPr/>
        </p:nvSpPr>
        <p:spPr>
          <a:xfrm>
            <a:off x="3708496" y="648000"/>
            <a:ext cx="2557110" cy="769441"/>
          </a:xfrm>
          <a:prstGeom prst="rect">
            <a:avLst/>
          </a:prstGeom>
          <a:noFill/>
        </p:spPr>
        <p:txBody>
          <a:bodyPr wrap="none" rtlCol="0">
            <a:spAutoFit/>
          </a:bodyPr>
          <a:lstStyle/>
          <a:p>
            <a:r>
              <a:rPr lang="zh-CN" altLang="en-US" sz="4400" spc="300" dirty="0">
                <a:solidFill>
                  <a:srgbClr val="0070C0"/>
                </a:solidFill>
                <a:latin typeface="黑体" panose="02010609060101010101" pitchFamily="2" charset="-122"/>
                <a:ea typeface="黑体" panose="02010609060101010101" pitchFamily="2" charset="-122"/>
              </a:rPr>
              <a:t>目录</a:t>
            </a:r>
            <a:r>
              <a:rPr lang="en-US" altLang="zh-CN" sz="2000" spc="300" dirty="0">
                <a:solidFill>
                  <a:srgbClr val="0070C0"/>
                </a:solidFill>
                <a:latin typeface="黑体" panose="02010609060101010101" pitchFamily="2" charset="-122"/>
                <a:ea typeface="黑体" panose="02010609060101010101" pitchFamily="2" charset="-122"/>
              </a:rPr>
              <a:t>Catalog</a:t>
            </a:r>
            <a:endParaRPr lang="zh-CN" altLang="en-US" sz="4400" spc="300" dirty="0">
              <a:solidFill>
                <a:srgbClr val="0070C0"/>
              </a:solidFill>
              <a:latin typeface="黑体" panose="02010609060101010101" pitchFamily="2" charset="-122"/>
              <a:ea typeface="黑体" panose="02010609060101010101" pitchFamily="2" charset="-122"/>
            </a:endParaRPr>
          </a:p>
        </p:txBody>
      </p:sp>
      <p:sp>
        <p:nvSpPr>
          <p:cNvPr id="3" name="椭圆 2"/>
          <p:cNvSpPr/>
          <p:nvPr/>
        </p:nvSpPr>
        <p:spPr>
          <a:xfrm>
            <a:off x="1980276" y="2088120"/>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dirty="0"/>
              <a:t>1</a:t>
            </a:r>
            <a:endParaRPr lang="zh-CN" altLang="en-US" sz="3600" dirty="0"/>
          </a:p>
        </p:txBody>
      </p:sp>
      <p:sp>
        <p:nvSpPr>
          <p:cNvPr id="4" name="TextBox 10"/>
          <p:cNvSpPr txBox="1"/>
          <p:nvPr/>
        </p:nvSpPr>
        <p:spPr>
          <a:xfrm>
            <a:off x="2412330" y="2016114"/>
            <a:ext cx="1800493" cy="369332"/>
          </a:xfrm>
          <a:prstGeom prst="rect">
            <a:avLst/>
          </a:prstGeom>
          <a:noFill/>
        </p:spPr>
        <p:txBody>
          <a:bodyPr wrap="none" rtlCol="0">
            <a:spAutoFit/>
          </a:bodyPr>
          <a:lstStyle/>
          <a:p>
            <a:r>
              <a:rPr lang="zh-CN" altLang="en-US" sz="1800" spc="300" dirty="0">
                <a:solidFill>
                  <a:srgbClr val="0070C0"/>
                </a:solidFill>
                <a:latin typeface="黑体" panose="02010609060101010101" pitchFamily="2" charset="-122"/>
                <a:ea typeface="黑体" panose="02010609060101010101" pitchFamily="2" charset="-122"/>
              </a:rPr>
              <a:t>单击添加标题</a:t>
            </a:r>
          </a:p>
        </p:txBody>
      </p:sp>
      <p:sp>
        <p:nvSpPr>
          <p:cNvPr id="5" name="TextBox 11"/>
          <p:cNvSpPr txBox="1"/>
          <p:nvPr/>
        </p:nvSpPr>
        <p:spPr>
          <a:xfrm>
            <a:off x="2422749" y="2366267"/>
            <a:ext cx="2077813" cy="307777"/>
          </a:xfrm>
          <a:prstGeom prst="rect">
            <a:avLst/>
          </a:prstGeom>
          <a:noFill/>
        </p:spPr>
        <p:txBody>
          <a:bodyPr wrap="none" rtlCol="0">
            <a:spAutoFit/>
          </a:bodyPr>
          <a:lstStyle/>
          <a:p>
            <a:r>
              <a:rPr lang="en-US" altLang="zh-CN" sz="700" spc="300" dirty="0">
                <a:solidFill>
                  <a:schemeClr val="bg1"/>
                </a:solidFill>
                <a:latin typeface="汉仪细等线" panose="01010104010101010101" pitchFamily="2" charset="-122"/>
                <a:ea typeface="汉仪细等线" panose="01010104010101010101" pitchFamily="2" charset="-122"/>
              </a:rPr>
              <a:t>Please click enter to add</a:t>
            </a:r>
          </a:p>
          <a:p>
            <a:r>
              <a:rPr lang="en-US" altLang="zh-CN" sz="700" spc="300" dirty="0">
                <a:solidFill>
                  <a:schemeClr val="bg1"/>
                </a:solidFill>
                <a:latin typeface="汉仪细等线" panose="01010104010101010101" pitchFamily="2" charset="-122"/>
                <a:ea typeface="汉仪细等线" panose="01010104010101010101" pitchFamily="2" charset="-122"/>
              </a:rPr>
              <a:t> text content</a:t>
            </a:r>
            <a:endParaRPr lang="zh-CN" altLang="en-US" sz="700" spc="300" dirty="0">
              <a:solidFill>
                <a:schemeClr val="bg1"/>
              </a:solidFill>
              <a:latin typeface="汉仪细等线" panose="01010104010101010101" pitchFamily="2" charset="-122"/>
              <a:ea typeface="汉仪细等线" panose="01010104010101010101" pitchFamily="2" charset="-122"/>
            </a:endParaRPr>
          </a:p>
        </p:txBody>
      </p:sp>
      <p:sp>
        <p:nvSpPr>
          <p:cNvPr id="6" name="椭圆 5"/>
          <p:cNvSpPr/>
          <p:nvPr/>
        </p:nvSpPr>
        <p:spPr>
          <a:xfrm>
            <a:off x="5148628" y="2088120"/>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dirty="0"/>
              <a:t>2</a:t>
            </a:r>
            <a:endParaRPr lang="zh-CN" altLang="en-US" sz="3600" dirty="0"/>
          </a:p>
        </p:txBody>
      </p:sp>
      <p:sp>
        <p:nvSpPr>
          <p:cNvPr id="7" name="TextBox 13"/>
          <p:cNvSpPr txBox="1"/>
          <p:nvPr/>
        </p:nvSpPr>
        <p:spPr>
          <a:xfrm>
            <a:off x="5580682" y="2016114"/>
            <a:ext cx="1800493" cy="369332"/>
          </a:xfrm>
          <a:prstGeom prst="rect">
            <a:avLst/>
          </a:prstGeom>
          <a:noFill/>
        </p:spPr>
        <p:txBody>
          <a:bodyPr wrap="none" rtlCol="0">
            <a:spAutoFit/>
          </a:bodyPr>
          <a:lstStyle/>
          <a:p>
            <a:r>
              <a:rPr lang="zh-CN" altLang="en-US" sz="1800" spc="300" dirty="0">
                <a:solidFill>
                  <a:srgbClr val="0070C0"/>
                </a:solidFill>
                <a:latin typeface="黑体" panose="02010609060101010101" pitchFamily="2" charset="-122"/>
                <a:ea typeface="黑体" panose="02010609060101010101" pitchFamily="2" charset="-122"/>
              </a:rPr>
              <a:t>单击添加标题</a:t>
            </a:r>
          </a:p>
        </p:txBody>
      </p:sp>
      <p:sp>
        <p:nvSpPr>
          <p:cNvPr id="8" name="TextBox 14"/>
          <p:cNvSpPr txBox="1"/>
          <p:nvPr/>
        </p:nvSpPr>
        <p:spPr>
          <a:xfrm>
            <a:off x="5591101" y="2366267"/>
            <a:ext cx="2196435" cy="307777"/>
          </a:xfrm>
          <a:prstGeom prst="rect">
            <a:avLst/>
          </a:prstGeom>
          <a:noFill/>
        </p:spPr>
        <p:txBody>
          <a:bodyPr wrap="none" rtlCol="0">
            <a:spAutoFit/>
          </a:bodyPr>
          <a:lstStyle/>
          <a:p>
            <a:r>
              <a:rPr lang="en-US" altLang="zh-CN" sz="700" spc="300" dirty="0">
                <a:solidFill>
                  <a:schemeClr val="bg1"/>
                </a:solidFill>
                <a:latin typeface="汉仪细等线" panose="01010104010101010101" pitchFamily="2" charset="-122"/>
                <a:ea typeface="汉仪细等线" panose="01010104010101010101" pitchFamily="2" charset="-122"/>
              </a:rPr>
              <a:t>Please click enter to add</a:t>
            </a:r>
          </a:p>
          <a:p>
            <a:r>
              <a:rPr lang="en-US" altLang="zh-CN" sz="700" spc="300" dirty="0">
                <a:solidFill>
                  <a:schemeClr val="bg1"/>
                </a:solidFill>
                <a:latin typeface="汉仪细等线" panose="01010104010101010101" pitchFamily="2" charset="-122"/>
                <a:ea typeface="汉仪细等线" panose="01010104010101010101" pitchFamily="2" charset="-122"/>
              </a:rPr>
              <a:t>text content</a:t>
            </a:r>
            <a:endParaRPr lang="zh-CN" altLang="en-US" sz="700" spc="300" dirty="0">
              <a:solidFill>
                <a:schemeClr val="bg1"/>
              </a:solidFill>
              <a:latin typeface="汉仪细等线" panose="01010104010101010101" pitchFamily="2" charset="-122"/>
              <a:ea typeface="汉仪细等线" panose="01010104010101010101" pitchFamily="2" charset="-122"/>
            </a:endParaRPr>
          </a:p>
        </p:txBody>
      </p:sp>
      <p:sp>
        <p:nvSpPr>
          <p:cNvPr id="9" name="椭圆 8"/>
          <p:cNvSpPr/>
          <p:nvPr/>
        </p:nvSpPr>
        <p:spPr>
          <a:xfrm>
            <a:off x="1980276" y="3096204"/>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dirty="0"/>
              <a:t>3</a:t>
            </a:r>
            <a:endParaRPr lang="zh-CN" altLang="en-US" sz="3600" dirty="0"/>
          </a:p>
        </p:txBody>
      </p:sp>
      <p:sp>
        <p:nvSpPr>
          <p:cNvPr id="10" name="TextBox 16"/>
          <p:cNvSpPr txBox="1"/>
          <p:nvPr/>
        </p:nvSpPr>
        <p:spPr>
          <a:xfrm>
            <a:off x="2412330" y="3024198"/>
            <a:ext cx="1800493" cy="369332"/>
          </a:xfrm>
          <a:prstGeom prst="rect">
            <a:avLst/>
          </a:prstGeom>
          <a:noFill/>
        </p:spPr>
        <p:txBody>
          <a:bodyPr wrap="none" rtlCol="0">
            <a:spAutoFit/>
          </a:bodyPr>
          <a:lstStyle/>
          <a:p>
            <a:r>
              <a:rPr lang="zh-CN" altLang="en-US" sz="1800" spc="300" dirty="0">
                <a:solidFill>
                  <a:srgbClr val="0070C0"/>
                </a:solidFill>
                <a:latin typeface="黑体" panose="02010609060101010101" pitchFamily="2" charset="-122"/>
                <a:ea typeface="黑体" panose="02010609060101010101" pitchFamily="2" charset="-122"/>
              </a:rPr>
              <a:t>单击添加标题</a:t>
            </a:r>
          </a:p>
        </p:txBody>
      </p:sp>
      <p:sp>
        <p:nvSpPr>
          <p:cNvPr id="11" name="TextBox 17"/>
          <p:cNvSpPr txBox="1"/>
          <p:nvPr/>
        </p:nvSpPr>
        <p:spPr>
          <a:xfrm>
            <a:off x="2422749" y="3374351"/>
            <a:ext cx="2196435" cy="307777"/>
          </a:xfrm>
          <a:prstGeom prst="rect">
            <a:avLst/>
          </a:prstGeom>
          <a:noFill/>
        </p:spPr>
        <p:txBody>
          <a:bodyPr wrap="none" rtlCol="0">
            <a:spAutoFit/>
          </a:bodyPr>
          <a:lstStyle/>
          <a:p>
            <a:r>
              <a:rPr lang="en-US" altLang="zh-CN" sz="700" spc="300" dirty="0">
                <a:solidFill>
                  <a:schemeClr val="bg1"/>
                </a:solidFill>
                <a:latin typeface="汉仪细等线" panose="01010104010101010101" pitchFamily="2" charset="-122"/>
                <a:ea typeface="汉仪细等线" panose="01010104010101010101" pitchFamily="2" charset="-122"/>
              </a:rPr>
              <a:t>Please click enter to add</a:t>
            </a:r>
          </a:p>
          <a:p>
            <a:r>
              <a:rPr lang="en-US" altLang="zh-CN" sz="700" spc="300" dirty="0">
                <a:solidFill>
                  <a:schemeClr val="bg1"/>
                </a:solidFill>
                <a:latin typeface="汉仪细等线" panose="01010104010101010101" pitchFamily="2" charset="-122"/>
                <a:ea typeface="汉仪细等线" panose="01010104010101010101" pitchFamily="2" charset="-122"/>
              </a:rPr>
              <a:t>text content</a:t>
            </a:r>
            <a:endParaRPr lang="zh-CN" altLang="en-US" sz="700" spc="300" dirty="0">
              <a:solidFill>
                <a:schemeClr val="bg1"/>
              </a:solidFill>
              <a:latin typeface="汉仪细等线" panose="01010104010101010101" pitchFamily="2" charset="-122"/>
              <a:ea typeface="汉仪细等线" panose="01010104010101010101" pitchFamily="2" charset="-122"/>
            </a:endParaRPr>
          </a:p>
        </p:txBody>
      </p:sp>
      <p:sp>
        <p:nvSpPr>
          <p:cNvPr id="12" name="椭圆 11"/>
          <p:cNvSpPr/>
          <p:nvPr/>
        </p:nvSpPr>
        <p:spPr>
          <a:xfrm>
            <a:off x="5148628" y="3096204"/>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dirty="0"/>
              <a:t>4</a:t>
            </a:r>
            <a:endParaRPr lang="zh-CN" altLang="en-US" sz="3600" dirty="0"/>
          </a:p>
        </p:txBody>
      </p:sp>
      <p:sp>
        <p:nvSpPr>
          <p:cNvPr id="13" name="TextBox 19"/>
          <p:cNvSpPr txBox="1"/>
          <p:nvPr/>
        </p:nvSpPr>
        <p:spPr>
          <a:xfrm>
            <a:off x="5580682" y="3024198"/>
            <a:ext cx="1800493" cy="369332"/>
          </a:xfrm>
          <a:prstGeom prst="rect">
            <a:avLst/>
          </a:prstGeom>
          <a:noFill/>
        </p:spPr>
        <p:txBody>
          <a:bodyPr wrap="none" rtlCol="0">
            <a:spAutoFit/>
          </a:bodyPr>
          <a:lstStyle/>
          <a:p>
            <a:r>
              <a:rPr lang="zh-CN" altLang="en-US" sz="1800" spc="300" dirty="0">
                <a:solidFill>
                  <a:srgbClr val="0070C0"/>
                </a:solidFill>
                <a:latin typeface="黑体" panose="02010609060101010101" pitchFamily="2" charset="-122"/>
                <a:ea typeface="黑体" panose="02010609060101010101" pitchFamily="2" charset="-122"/>
              </a:rPr>
              <a:t>单击添加标题</a:t>
            </a:r>
          </a:p>
        </p:txBody>
      </p:sp>
      <p:sp>
        <p:nvSpPr>
          <p:cNvPr id="14" name="TextBox 20"/>
          <p:cNvSpPr txBox="1"/>
          <p:nvPr/>
        </p:nvSpPr>
        <p:spPr>
          <a:xfrm>
            <a:off x="5591101" y="3374351"/>
            <a:ext cx="2077813" cy="307777"/>
          </a:xfrm>
          <a:prstGeom prst="rect">
            <a:avLst/>
          </a:prstGeom>
          <a:noFill/>
        </p:spPr>
        <p:txBody>
          <a:bodyPr wrap="none" rtlCol="0">
            <a:spAutoFit/>
          </a:bodyPr>
          <a:lstStyle/>
          <a:p>
            <a:r>
              <a:rPr lang="en-US" altLang="zh-CN" sz="700" spc="300" dirty="0">
                <a:solidFill>
                  <a:schemeClr val="bg1"/>
                </a:solidFill>
                <a:latin typeface="汉仪细等线" panose="01010104010101010101" pitchFamily="2" charset="-122"/>
                <a:ea typeface="汉仪细等线" panose="01010104010101010101" pitchFamily="2" charset="-122"/>
              </a:rPr>
              <a:t>Please click enter to add</a:t>
            </a:r>
          </a:p>
          <a:p>
            <a:r>
              <a:rPr lang="en-US" altLang="zh-CN" sz="700" spc="300" dirty="0">
                <a:solidFill>
                  <a:schemeClr val="bg1"/>
                </a:solidFill>
                <a:latin typeface="汉仪细等线" panose="01010104010101010101" pitchFamily="2" charset="-122"/>
                <a:ea typeface="汉仪细等线" panose="01010104010101010101" pitchFamily="2" charset="-122"/>
              </a:rPr>
              <a:t> text content</a:t>
            </a:r>
            <a:endParaRPr lang="zh-CN" altLang="en-US" sz="700" spc="300" dirty="0">
              <a:solidFill>
                <a:schemeClr val="bg1"/>
              </a:solidFill>
              <a:latin typeface="汉仪细等线" panose="01010104010101010101" pitchFamily="2" charset="-122"/>
              <a:ea typeface="汉仪细等线" panose="01010104010101010101" pitchFamily="2" charset="-122"/>
            </a:endParaRPr>
          </a:p>
        </p:txBody>
      </p:sp>
      <p:pic>
        <p:nvPicPr>
          <p:cNvPr id="16" name="图片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4142049">
            <a:off x="-3710927" y="-3136785"/>
            <a:ext cx="7000252" cy="3866225"/>
          </a:xfrm>
          <a:prstGeom prst="rect">
            <a:avLst/>
          </a:prstGeom>
        </p:spPr>
      </p:pic>
      <p:pic>
        <p:nvPicPr>
          <p:cNvPr id="17" name="图片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2778" y="3240216"/>
            <a:ext cx="7000252" cy="3866225"/>
          </a:xfrm>
          <a:prstGeom prst="rect">
            <a:avLst/>
          </a:prstGeom>
        </p:spPr>
      </p:pic>
      <p:sp>
        <p:nvSpPr>
          <p:cNvPr id="18" name="椭圆 17"/>
          <p:cNvSpPr/>
          <p:nvPr/>
        </p:nvSpPr>
        <p:spPr>
          <a:xfrm>
            <a:off x="2052340" y="4032282"/>
            <a:ext cx="432024" cy="432024"/>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dirty="0"/>
              <a:t>5</a:t>
            </a:r>
            <a:endParaRPr lang="zh-CN" altLang="en-US" sz="3600" dirty="0"/>
          </a:p>
        </p:txBody>
      </p:sp>
      <p:sp>
        <p:nvSpPr>
          <p:cNvPr id="19" name="TextBox 19"/>
          <p:cNvSpPr txBox="1"/>
          <p:nvPr/>
        </p:nvSpPr>
        <p:spPr>
          <a:xfrm>
            <a:off x="2484394" y="3960276"/>
            <a:ext cx="1800493" cy="369332"/>
          </a:xfrm>
          <a:prstGeom prst="rect">
            <a:avLst/>
          </a:prstGeom>
          <a:noFill/>
        </p:spPr>
        <p:txBody>
          <a:bodyPr wrap="none" rtlCol="0">
            <a:spAutoFit/>
          </a:bodyPr>
          <a:lstStyle/>
          <a:p>
            <a:r>
              <a:rPr lang="zh-CN" altLang="en-US" sz="1800" spc="300" dirty="0">
                <a:solidFill>
                  <a:srgbClr val="0070C0"/>
                </a:solidFill>
                <a:latin typeface="黑体" panose="02010609060101010101" pitchFamily="2" charset="-122"/>
                <a:ea typeface="黑体" panose="02010609060101010101" pitchFamily="2" charset="-122"/>
              </a:rPr>
              <a:t>单击添加标题</a:t>
            </a:r>
          </a:p>
        </p:txBody>
      </p:sp>
      <p:sp>
        <p:nvSpPr>
          <p:cNvPr id="20" name="TextBox 20"/>
          <p:cNvSpPr txBox="1"/>
          <p:nvPr/>
        </p:nvSpPr>
        <p:spPr>
          <a:xfrm>
            <a:off x="2494813" y="4310429"/>
            <a:ext cx="2077813" cy="307777"/>
          </a:xfrm>
          <a:prstGeom prst="rect">
            <a:avLst/>
          </a:prstGeom>
          <a:noFill/>
        </p:spPr>
        <p:txBody>
          <a:bodyPr wrap="none" rtlCol="0">
            <a:spAutoFit/>
          </a:bodyPr>
          <a:lstStyle/>
          <a:p>
            <a:r>
              <a:rPr lang="en-US" altLang="zh-CN" sz="700" spc="300" dirty="0">
                <a:solidFill>
                  <a:schemeClr val="bg1"/>
                </a:solidFill>
                <a:latin typeface="汉仪细等线" panose="01010104010101010101" pitchFamily="2" charset="-122"/>
                <a:ea typeface="汉仪细等线" panose="01010104010101010101" pitchFamily="2" charset="-122"/>
              </a:rPr>
              <a:t>Please click enter to add</a:t>
            </a:r>
          </a:p>
          <a:p>
            <a:r>
              <a:rPr lang="en-US" altLang="zh-CN" sz="700" spc="300" dirty="0">
                <a:solidFill>
                  <a:schemeClr val="bg1"/>
                </a:solidFill>
                <a:latin typeface="汉仪细等线" panose="01010104010101010101" pitchFamily="2" charset="-122"/>
                <a:ea typeface="汉仪细等线" panose="01010104010101010101" pitchFamily="2" charset="-122"/>
              </a:rPr>
              <a:t> text content</a:t>
            </a:r>
            <a:endParaRPr lang="zh-CN" altLang="en-US" sz="700" spc="300" dirty="0">
              <a:solidFill>
                <a:schemeClr val="bg1"/>
              </a:solidFill>
              <a:latin typeface="汉仪细等线" panose="01010104010101010101" pitchFamily="2" charset="-122"/>
              <a:ea typeface="汉仪细等线" panose="01010104010101010101" pitchFamily="2" charset="-122"/>
            </a:endParaRPr>
          </a:p>
        </p:txBody>
      </p:sp>
    </p:spTree>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Scale>
                                      <p:cBhvr>
                                        <p:cTn id="7" dur="1000" decel="50000" fill="hold">
                                          <p:stCondLst>
                                            <p:cond delay="0"/>
                                          </p:stCondLst>
                                        </p:cTn>
                                        <p:tgtEl>
                                          <p:spTgt spid="2"/>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1000" decel="50000" fill="hold">
                                          <p:stCondLst>
                                            <p:cond delay="0"/>
                                          </p:stCondLst>
                                        </p:cTn>
                                        <p:tgtEl>
                                          <p:spTgt spid="2"/>
                                        </p:tgtEl>
                                        <p:attrNameLst>
                                          <p:attrName>ppt_x</p:attrName>
                                          <p:attrName>ppt_y</p:attrName>
                                        </p:attrNameLst>
                                      </p:cBhvr>
                                    </p:animMotion>
                                    <p:animEffect transition="in" filter="fade">
                                      <p:cBhvr>
                                        <p:cTn id="9" dur="1000"/>
                                        <p:tgtEl>
                                          <p:spTgt spid="2"/>
                                        </p:tgtEl>
                                      </p:cBhvr>
                                    </p:animEffect>
                                  </p:childTnLst>
                                </p:cTn>
                              </p:par>
                            </p:childTnLst>
                          </p:cTn>
                        </p:par>
                        <p:par>
                          <p:cTn id="10" fill="hold">
                            <p:stCondLst>
                              <p:cond delay="1000"/>
                            </p:stCondLst>
                            <p:childTnLst>
                              <p:par>
                                <p:cTn id="11" presetID="53" presetClass="entr" presetSubtype="16" fill="hold" grpId="0" nodeType="after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p:cTn id="13" dur="500" fill="hold"/>
                                        <p:tgtEl>
                                          <p:spTgt spid="3"/>
                                        </p:tgtEl>
                                        <p:attrNameLst>
                                          <p:attrName>ppt_w</p:attrName>
                                        </p:attrNameLst>
                                      </p:cBhvr>
                                      <p:tavLst>
                                        <p:tav tm="0">
                                          <p:val>
                                            <p:fltVal val="0"/>
                                          </p:val>
                                        </p:tav>
                                        <p:tav tm="100000">
                                          <p:val>
                                            <p:strVal val="#ppt_w"/>
                                          </p:val>
                                        </p:tav>
                                      </p:tavLst>
                                    </p:anim>
                                    <p:anim calcmode="lin" valueType="num">
                                      <p:cBhvr>
                                        <p:cTn id="14" dur="500" fill="hold"/>
                                        <p:tgtEl>
                                          <p:spTgt spid="3"/>
                                        </p:tgtEl>
                                        <p:attrNameLst>
                                          <p:attrName>ppt_h</p:attrName>
                                        </p:attrNameLst>
                                      </p:cBhvr>
                                      <p:tavLst>
                                        <p:tav tm="0">
                                          <p:val>
                                            <p:fltVal val="0"/>
                                          </p:val>
                                        </p:tav>
                                        <p:tav tm="100000">
                                          <p:val>
                                            <p:strVal val="#ppt_h"/>
                                          </p:val>
                                        </p:tav>
                                      </p:tavLst>
                                    </p:anim>
                                    <p:animEffect transition="in" filter="fade">
                                      <p:cBhvr>
                                        <p:cTn id="15" dur="500"/>
                                        <p:tgtEl>
                                          <p:spTgt spid="3"/>
                                        </p:tgtEl>
                                      </p:cBhvr>
                                    </p:animEffect>
                                  </p:childTnLst>
                                </p:cTn>
                              </p:par>
                            </p:childTnLst>
                          </p:cTn>
                        </p:par>
                        <p:par>
                          <p:cTn id="16" fill="hold">
                            <p:stCondLst>
                              <p:cond delay="1500"/>
                            </p:stCondLst>
                            <p:childTnLst>
                              <p:par>
                                <p:cTn id="17" presetID="41" presetClass="entr" presetSubtype="0" fill="hold" grpId="0" nodeType="afterEffect">
                                  <p:stCondLst>
                                    <p:cond delay="0"/>
                                  </p:stCondLst>
                                  <p:iterate type="lt">
                                    <p:tmPct val="10000"/>
                                  </p:iterate>
                                  <p:childTnLst>
                                    <p:set>
                                      <p:cBhvr>
                                        <p:cTn id="18" dur="1" fill="hold">
                                          <p:stCondLst>
                                            <p:cond delay="0"/>
                                          </p:stCondLst>
                                        </p:cTn>
                                        <p:tgtEl>
                                          <p:spTgt spid="4"/>
                                        </p:tgtEl>
                                        <p:attrNameLst>
                                          <p:attrName>style.visibility</p:attrName>
                                        </p:attrNameLst>
                                      </p:cBhvr>
                                      <p:to>
                                        <p:strVal val="visible"/>
                                      </p:to>
                                    </p:set>
                                    <p:anim calcmode="lin" valueType="num">
                                      <p:cBhvr>
                                        <p:cTn id="19" dur="5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20" dur="500" fill="hold"/>
                                        <p:tgtEl>
                                          <p:spTgt spid="4"/>
                                        </p:tgtEl>
                                        <p:attrNameLst>
                                          <p:attrName>ppt_y</p:attrName>
                                        </p:attrNameLst>
                                      </p:cBhvr>
                                      <p:tavLst>
                                        <p:tav tm="0">
                                          <p:val>
                                            <p:strVal val="#ppt_y"/>
                                          </p:val>
                                        </p:tav>
                                        <p:tav tm="100000">
                                          <p:val>
                                            <p:strVal val="#ppt_y"/>
                                          </p:val>
                                        </p:tav>
                                      </p:tavLst>
                                    </p:anim>
                                    <p:anim calcmode="lin" valueType="num">
                                      <p:cBhvr>
                                        <p:cTn id="21" dur="5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22" dur="5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23" dur="500" tmFilter="0,0; .5, 1; 1, 1"/>
                                        <p:tgtEl>
                                          <p:spTgt spid="4"/>
                                        </p:tgtEl>
                                      </p:cBhvr>
                                    </p:animEffect>
                                  </p:childTnLst>
                                </p:cTn>
                              </p:par>
                            </p:childTnLst>
                          </p:cTn>
                        </p:par>
                        <p:par>
                          <p:cTn id="24" fill="hold">
                            <p:stCondLst>
                              <p:cond delay="2250"/>
                            </p:stCondLst>
                            <p:childTnLst>
                              <p:par>
                                <p:cTn id="25" presetID="26" presetClass="emph" presetSubtype="0" fill="hold" grpId="1" nodeType="afterEffect">
                                  <p:stCondLst>
                                    <p:cond delay="0"/>
                                  </p:stCondLst>
                                  <p:iterate type="lt">
                                    <p:tmPct val="0"/>
                                  </p:iterate>
                                  <p:childTnLst>
                                    <p:animEffect transition="out" filter="fade">
                                      <p:cBhvr>
                                        <p:cTn id="26" dur="500" tmFilter="0, 0; .2, .5; .8, .5; 1, 0"/>
                                        <p:tgtEl>
                                          <p:spTgt spid="4"/>
                                        </p:tgtEl>
                                      </p:cBhvr>
                                    </p:animEffect>
                                    <p:animScale>
                                      <p:cBhvr>
                                        <p:cTn id="27" dur="250" autoRev="1" fill="hold"/>
                                        <p:tgtEl>
                                          <p:spTgt spid="4"/>
                                        </p:tgtEl>
                                      </p:cBhvr>
                                      <p:by x="105000" y="105000"/>
                                    </p:animScale>
                                  </p:childTnLst>
                                </p:cTn>
                              </p:par>
                            </p:childTnLst>
                          </p:cTn>
                        </p:par>
                        <p:par>
                          <p:cTn id="28" fill="hold">
                            <p:stCondLst>
                              <p:cond delay="2750"/>
                            </p:stCondLst>
                            <p:childTnLst>
                              <p:par>
                                <p:cTn id="29" presetID="41" presetClass="entr" presetSubtype="0" fill="hold" grpId="0" nodeType="afterEffect">
                                  <p:stCondLst>
                                    <p:cond delay="0"/>
                                  </p:stCondLst>
                                  <p:iterate type="lt">
                                    <p:tmPct val="10000"/>
                                  </p:iterate>
                                  <p:childTnLst>
                                    <p:set>
                                      <p:cBhvr>
                                        <p:cTn id="30" dur="1" fill="hold">
                                          <p:stCondLst>
                                            <p:cond delay="0"/>
                                          </p:stCondLst>
                                        </p:cTn>
                                        <p:tgtEl>
                                          <p:spTgt spid="5"/>
                                        </p:tgtEl>
                                        <p:attrNameLst>
                                          <p:attrName>style.visibility</p:attrName>
                                        </p:attrNameLst>
                                      </p:cBhvr>
                                      <p:to>
                                        <p:strVal val="visible"/>
                                      </p:to>
                                    </p:set>
                                    <p:anim calcmode="lin" valueType="num">
                                      <p:cBhvr>
                                        <p:cTn id="31" dur="400" fill="hold"/>
                                        <p:tgtEl>
                                          <p:spTgt spid="5"/>
                                        </p:tgtEl>
                                        <p:attrNameLst>
                                          <p:attrName>ppt_x</p:attrName>
                                        </p:attrNameLst>
                                      </p:cBhvr>
                                      <p:tavLst>
                                        <p:tav tm="0">
                                          <p:val>
                                            <p:strVal val="#ppt_x"/>
                                          </p:val>
                                        </p:tav>
                                        <p:tav tm="50000">
                                          <p:val>
                                            <p:strVal val="#ppt_x+.1"/>
                                          </p:val>
                                        </p:tav>
                                        <p:tav tm="100000">
                                          <p:val>
                                            <p:strVal val="#ppt_x"/>
                                          </p:val>
                                        </p:tav>
                                      </p:tavLst>
                                    </p:anim>
                                    <p:anim calcmode="lin" valueType="num">
                                      <p:cBhvr>
                                        <p:cTn id="32" dur="400" fill="hold"/>
                                        <p:tgtEl>
                                          <p:spTgt spid="5"/>
                                        </p:tgtEl>
                                        <p:attrNameLst>
                                          <p:attrName>ppt_y</p:attrName>
                                        </p:attrNameLst>
                                      </p:cBhvr>
                                      <p:tavLst>
                                        <p:tav tm="0">
                                          <p:val>
                                            <p:strVal val="#ppt_y"/>
                                          </p:val>
                                        </p:tav>
                                        <p:tav tm="100000">
                                          <p:val>
                                            <p:strVal val="#ppt_y"/>
                                          </p:val>
                                        </p:tav>
                                      </p:tavLst>
                                    </p:anim>
                                    <p:anim calcmode="lin" valueType="num">
                                      <p:cBhvr>
                                        <p:cTn id="33" dur="400" fill="hold"/>
                                        <p:tgtEl>
                                          <p:spTgt spid="5"/>
                                        </p:tgtEl>
                                        <p:attrNameLst>
                                          <p:attrName>ppt_h</p:attrName>
                                        </p:attrNameLst>
                                      </p:cBhvr>
                                      <p:tavLst>
                                        <p:tav tm="0">
                                          <p:val>
                                            <p:strVal val="#ppt_h/10"/>
                                          </p:val>
                                        </p:tav>
                                        <p:tav tm="50000">
                                          <p:val>
                                            <p:strVal val="#ppt_h+.01"/>
                                          </p:val>
                                        </p:tav>
                                        <p:tav tm="100000">
                                          <p:val>
                                            <p:strVal val="#ppt_h"/>
                                          </p:val>
                                        </p:tav>
                                      </p:tavLst>
                                    </p:anim>
                                    <p:anim calcmode="lin" valueType="num">
                                      <p:cBhvr>
                                        <p:cTn id="34" dur="400" fill="hold"/>
                                        <p:tgtEl>
                                          <p:spTgt spid="5"/>
                                        </p:tgtEl>
                                        <p:attrNameLst>
                                          <p:attrName>ppt_w</p:attrName>
                                        </p:attrNameLst>
                                      </p:cBhvr>
                                      <p:tavLst>
                                        <p:tav tm="0">
                                          <p:val>
                                            <p:strVal val="#ppt_w/10"/>
                                          </p:val>
                                        </p:tav>
                                        <p:tav tm="50000">
                                          <p:val>
                                            <p:strVal val="#ppt_w+.01"/>
                                          </p:val>
                                        </p:tav>
                                        <p:tav tm="100000">
                                          <p:val>
                                            <p:strVal val="#ppt_w"/>
                                          </p:val>
                                        </p:tav>
                                      </p:tavLst>
                                    </p:anim>
                                    <p:animEffect transition="in" filter="fade">
                                      <p:cBhvr>
                                        <p:cTn id="35" dur="400" tmFilter="0,0; .5, 1; 1, 1"/>
                                        <p:tgtEl>
                                          <p:spTgt spid="5"/>
                                        </p:tgtEl>
                                      </p:cBhvr>
                                    </p:animEffect>
                                  </p:childTnLst>
                                </p:cTn>
                              </p:par>
                            </p:childTnLst>
                          </p:cTn>
                        </p:par>
                        <p:par>
                          <p:cTn id="36" fill="hold">
                            <p:stCondLst>
                              <p:cond delay="4630"/>
                            </p:stCondLst>
                            <p:childTnLst>
                              <p:par>
                                <p:cTn id="37" presetID="53" presetClass="entr" presetSubtype="16" fill="hold" grpId="0" nodeType="afterEffect">
                                  <p:stCondLst>
                                    <p:cond delay="0"/>
                                  </p:stCondLst>
                                  <p:childTnLst>
                                    <p:set>
                                      <p:cBhvr>
                                        <p:cTn id="38" dur="1" fill="hold">
                                          <p:stCondLst>
                                            <p:cond delay="0"/>
                                          </p:stCondLst>
                                        </p:cTn>
                                        <p:tgtEl>
                                          <p:spTgt spid="6"/>
                                        </p:tgtEl>
                                        <p:attrNameLst>
                                          <p:attrName>style.visibility</p:attrName>
                                        </p:attrNameLst>
                                      </p:cBhvr>
                                      <p:to>
                                        <p:strVal val="visible"/>
                                      </p:to>
                                    </p:set>
                                    <p:anim calcmode="lin" valueType="num">
                                      <p:cBhvr>
                                        <p:cTn id="39" dur="500" fill="hold"/>
                                        <p:tgtEl>
                                          <p:spTgt spid="6"/>
                                        </p:tgtEl>
                                        <p:attrNameLst>
                                          <p:attrName>ppt_w</p:attrName>
                                        </p:attrNameLst>
                                      </p:cBhvr>
                                      <p:tavLst>
                                        <p:tav tm="0">
                                          <p:val>
                                            <p:fltVal val="0"/>
                                          </p:val>
                                        </p:tav>
                                        <p:tav tm="100000">
                                          <p:val>
                                            <p:strVal val="#ppt_w"/>
                                          </p:val>
                                        </p:tav>
                                      </p:tavLst>
                                    </p:anim>
                                    <p:anim calcmode="lin" valueType="num">
                                      <p:cBhvr>
                                        <p:cTn id="40" dur="500" fill="hold"/>
                                        <p:tgtEl>
                                          <p:spTgt spid="6"/>
                                        </p:tgtEl>
                                        <p:attrNameLst>
                                          <p:attrName>ppt_h</p:attrName>
                                        </p:attrNameLst>
                                      </p:cBhvr>
                                      <p:tavLst>
                                        <p:tav tm="0">
                                          <p:val>
                                            <p:fltVal val="0"/>
                                          </p:val>
                                        </p:tav>
                                        <p:tav tm="100000">
                                          <p:val>
                                            <p:strVal val="#ppt_h"/>
                                          </p:val>
                                        </p:tav>
                                      </p:tavLst>
                                    </p:anim>
                                    <p:animEffect transition="in" filter="fade">
                                      <p:cBhvr>
                                        <p:cTn id="41" dur="500"/>
                                        <p:tgtEl>
                                          <p:spTgt spid="6"/>
                                        </p:tgtEl>
                                      </p:cBhvr>
                                    </p:animEffect>
                                  </p:childTnLst>
                                </p:cTn>
                              </p:par>
                            </p:childTnLst>
                          </p:cTn>
                        </p:par>
                        <p:par>
                          <p:cTn id="42" fill="hold">
                            <p:stCondLst>
                              <p:cond delay="5130"/>
                            </p:stCondLst>
                            <p:childTnLst>
                              <p:par>
                                <p:cTn id="43" presetID="41" presetClass="entr" presetSubtype="0" fill="hold" grpId="0" nodeType="afterEffect">
                                  <p:stCondLst>
                                    <p:cond delay="0"/>
                                  </p:stCondLst>
                                  <p:iterate type="lt">
                                    <p:tmPct val="10000"/>
                                  </p:iterate>
                                  <p:childTnLst>
                                    <p:set>
                                      <p:cBhvr>
                                        <p:cTn id="44" dur="1" fill="hold">
                                          <p:stCondLst>
                                            <p:cond delay="0"/>
                                          </p:stCondLst>
                                        </p:cTn>
                                        <p:tgtEl>
                                          <p:spTgt spid="7"/>
                                        </p:tgtEl>
                                        <p:attrNameLst>
                                          <p:attrName>style.visibility</p:attrName>
                                        </p:attrNameLst>
                                      </p:cBhvr>
                                      <p:to>
                                        <p:strVal val="visible"/>
                                      </p:to>
                                    </p:set>
                                    <p:anim calcmode="lin" valueType="num">
                                      <p:cBhvr>
                                        <p:cTn id="45" dur="5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46" dur="500" fill="hold"/>
                                        <p:tgtEl>
                                          <p:spTgt spid="7"/>
                                        </p:tgtEl>
                                        <p:attrNameLst>
                                          <p:attrName>ppt_y</p:attrName>
                                        </p:attrNameLst>
                                      </p:cBhvr>
                                      <p:tavLst>
                                        <p:tav tm="0">
                                          <p:val>
                                            <p:strVal val="#ppt_y"/>
                                          </p:val>
                                        </p:tav>
                                        <p:tav tm="100000">
                                          <p:val>
                                            <p:strVal val="#ppt_y"/>
                                          </p:val>
                                        </p:tav>
                                      </p:tavLst>
                                    </p:anim>
                                    <p:anim calcmode="lin" valueType="num">
                                      <p:cBhvr>
                                        <p:cTn id="47" dur="5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48" dur="5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49" dur="500" tmFilter="0,0; .5, 1; 1, 1"/>
                                        <p:tgtEl>
                                          <p:spTgt spid="7"/>
                                        </p:tgtEl>
                                      </p:cBhvr>
                                    </p:animEffect>
                                  </p:childTnLst>
                                </p:cTn>
                              </p:par>
                            </p:childTnLst>
                          </p:cTn>
                        </p:par>
                        <p:par>
                          <p:cTn id="50" fill="hold">
                            <p:stCondLst>
                              <p:cond delay="5880"/>
                            </p:stCondLst>
                            <p:childTnLst>
                              <p:par>
                                <p:cTn id="51" presetID="26" presetClass="emph" presetSubtype="0" fill="hold" grpId="1" nodeType="afterEffect">
                                  <p:stCondLst>
                                    <p:cond delay="0"/>
                                  </p:stCondLst>
                                  <p:iterate type="lt">
                                    <p:tmPct val="0"/>
                                  </p:iterate>
                                  <p:childTnLst>
                                    <p:animEffect transition="out" filter="fade">
                                      <p:cBhvr>
                                        <p:cTn id="52" dur="500" tmFilter="0, 0; .2, .5; .8, .5; 1, 0"/>
                                        <p:tgtEl>
                                          <p:spTgt spid="7"/>
                                        </p:tgtEl>
                                      </p:cBhvr>
                                    </p:animEffect>
                                    <p:animScale>
                                      <p:cBhvr>
                                        <p:cTn id="53" dur="250" autoRev="1" fill="hold"/>
                                        <p:tgtEl>
                                          <p:spTgt spid="7"/>
                                        </p:tgtEl>
                                      </p:cBhvr>
                                      <p:by x="105000" y="105000"/>
                                    </p:animScale>
                                  </p:childTnLst>
                                </p:cTn>
                              </p:par>
                            </p:childTnLst>
                          </p:cTn>
                        </p:par>
                        <p:par>
                          <p:cTn id="54" fill="hold">
                            <p:stCondLst>
                              <p:cond delay="6380"/>
                            </p:stCondLst>
                            <p:childTnLst>
                              <p:par>
                                <p:cTn id="55" presetID="41" presetClass="entr" presetSubtype="0" fill="hold" grpId="0" nodeType="afterEffect">
                                  <p:stCondLst>
                                    <p:cond delay="0"/>
                                  </p:stCondLst>
                                  <p:iterate type="lt">
                                    <p:tmPct val="10000"/>
                                  </p:iterate>
                                  <p:childTnLst>
                                    <p:set>
                                      <p:cBhvr>
                                        <p:cTn id="56" dur="1" fill="hold">
                                          <p:stCondLst>
                                            <p:cond delay="0"/>
                                          </p:stCondLst>
                                        </p:cTn>
                                        <p:tgtEl>
                                          <p:spTgt spid="8"/>
                                        </p:tgtEl>
                                        <p:attrNameLst>
                                          <p:attrName>style.visibility</p:attrName>
                                        </p:attrNameLst>
                                      </p:cBhvr>
                                      <p:to>
                                        <p:strVal val="visible"/>
                                      </p:to>
                                    </p:set>
                                    <p:anim calcmode="lin" valueType="num">
                                      <p:cBhvr>
                                        <p:cTn id="57" dur="400" fill="hold"/>
                                        <p:tgtEl>
                                          <p:spTgt spid="8"/>
                                        </p:tgtEl>
                                        <p:attrNameLst>
                                          <p:attrName>ppt_x</p:attrName>
                                        </p:attrNameLst>
                                      </p:cBhvr>
                                      <p:tavLst>
                                        <p:tav tm="0">
                                          <p:val>
                                            <p:strVal val="#ppt_x"/>
                                          </p:val>
                                        </p:tav>
                                        <p:tav tm="50000">
                                          <p:val>
                                            <p:strVal val="#ppt_x+.1"/>
                                          </p:val>
                                        </p:tav>
                                        <p:tav tm="100000">
                                          <p:val>
                                            <p:strVal val="#ppt_x"/>
                                          </p:val>
                                        </p:tav>
                                      </p:tavLst>
                                    </p:anim>
                                    <p:anim calcmode="lin" valueType="num">
                                      <p:cBhvr>
                                        <p:cTn id="58" dur="400" fill="hold"/>
                                        <p:tgtEl>
                                          <p:spTgt spid="8"/>
                                        </p:tgtEl>
                                        <p:attrNameLst>
                                          <p:attrName>ppt_y</p:attrName>
                                        </p:attrNameLst>
                                      </p:cBhvr>
                                      <p:tavLst>
                                        <p:tav tm="0">
                                          <p:val>
                                            <p:strVal val="#ppt_y"/>
                                          </p:val>
                                        </p:tav>
                                        <p:tav tm="100000">
                                          <p:val>
                                            <p:strVal val="#ppt_y"/>
                                          </p:val>
                                        </p:tav>
                                      </p:tavLst>
                                    </p:anim>
                                    <p:anim calcmode="lin" valueType="num">
                                      <p:cBhvr>
                                        <p:cTn id="59" dur="400" fill="hold"/>
                                        <p:tgtEl>
                                          <p:spTgt spid="8"/>
                                        </p:tgtEl>
                                        <p:attrNameLst>
                                          <p:attrName>ppt_h</p:attrName>
                                        </p:attrNameLst>
                                      </p:cBhvr>
                                      <p:tavLst>
                                        <p:tav tm="0">
                                          <p:val>
                                            <p:strVal val="#ppt_h/10"/>
                                          </p:val>
                                        </p:tav>
                                        <p:tav tm="50000">
                                          <p:val>
                                            <p:strVal val="#ppt_h+.01"/>
                                          </p:val>
                                        </p:tav>
                                        <p:tav tm="100000">
                                          <p:val>
                                            <p:strVal val="#ppt_h"/>
                                          </p:val>
                                        </p:tav>
                                      </p:tavLst>
                                    </p:anim>
                                    <p:anim calcmode="lin" valueType="num">
                                      <p:cBhvr>
                                        <p:cTn id="60" dur="400" fill="hold"/>
                                        <p:tgtEl>
                                          <p:spTgt spid="8"/>
                                        </p:tgtEl>
                                        <p:attrNameLst>
                                          <p:attrName>ppt_w</p:attrName>
                                        </p:attrNameLst>
                                      </p:cBhvr>
                                      <p:tavLst>
                                        <p:tav tm="0">
                                          <p:val>
                                            <p:strVal val="#ppt_w/10"/>
                                          </p:val>
                                        </p:tav>
                                        <p:tav tm="50000">
                                          <p:val>
                                            <p:strVal val="#ppt_w+.01"/>
                                          </p:val>
                                        </p:tav>
                                        <p:tav tm="100000">
                                          <p:val>
                                            <p:strVal val="#ppt_w"/>
                                          </p:val>
                                        </p:tav>
                                      </p:tavLst>
                                    </p:anim>
                                    <p:animEffect transition="in" filter="fade">
                                      <p:cBhvr>
                                        <p:cTn id="61" dur="400" tmFilter="0,0; .5, 1; 1, 1"/>
                                        <p:tgtEl>
                                          <p:spTgt spid="8"/>
                                        </p:tgtEl>
                                      </p:cBhvr>
                                    </p:animEffect>
                                  </p:childTnLst>
                                </p:cTn>
                              </p:par>
                            </p:childTnLst>
                          </p:cTn>
                        </p:par>
                        <p:par>
                          <p:cTn id="62" fill="hold">
                            <p:stCondLst>
                              <p:cond delay="8220"/>
                            </p:stCondLst>
                            <p:childTnLst>
                              <p:par>
                                <p:cTn id="63" presetID="53" presetClass="entr" presetSubtype="16" fill="hold" grpId="0" nodeType="afterEffect">
                                  <p:stCondLst>
                                    <p:cond delay="0"/>
                                  </p:stCondLst>
                                  <p:childTnLst>
                                    <p:set>
                                      <p:cBhvr>
                                        <p:cTn id="64" dur="1" fill="hold">
                                          <p:stCondLst>
                                            <p:cond delay="0"/>
                                          </p:stCondLst>
                                        </p:cTn>
                                        <p:tgtEl>
                                          <p:spTgt spid="9"/>
                                        </p:tgtEl>
                                        <p:attrNameLst>
                                          <p:attrName>style.visibility</p:attrName>
                                        </p:attrNameLst>
                                      </p:cBhvr>
                                      <p:to>
                                        <p:strVal val="visible"/>
                                      </p:to>
                                    </p:set>
                                    <p:anim calcmode="lin" valueType="num">
                                      <p:cBhvr>
                                        <p:cTn id="65" dur="500" fill="hold"/>
                                        <p:tgtEl>
                                          <p:spTgt spid="9"/>
                                        </p:tgtEl>
                                        <p:attrNameLst>
                                          <p:attrName>ppt_w</p:attrName>
                                        </p:attrNameLst>
                                      </p:cBhvr>
                                      <p:tavLst>
                                        <p:tav tm="0">
                                          <p:val>
                                            <p:fltVal val="0"/>
                                          </p:val>
                                        </p:tav>
                                        <p:tav tm="100000">
                                          <p:val>
                                            <p:strVal val="#ppt_w"/>
                                          </p:val>
                                        </p:tav>
                                      </p:tavLst>
                                    </p:anim>
                                    <p:anim calcmode="lin" valueType="num">
                                      <p:cBhvr>
                                        <p:cTn id="66" dur="500" fill="hold"/>
                                        <p:tgtEl>
                                          <p:spTgt spid="9"/>
                                        </p:tgtEl>
                                        <p:attrNameLst>
                                          <p:attrName>ppt_h</p:attrName>
                                        </p:attrNameLst>
                                      </p:cBhvr>
                                      <p:tavLst>
                                        <p:tav tm="0">
                                          <p:val>
                                            <p:fltVal val="0"/>
                                          </p:val>
                                        </p:tav>
                                        <p:tav tm="100000">
                                          <p:val>
                                            <p:strVal val="#ppt_h"/>
                                          </p:val>
                                        </p:tav>
                                      </p:tavLst>
                                    </p:anim>
                                    <p:animEffect transition="in" filter="fade">
                                      <p:cBhvr>
                                        <p:cTn id="67" dur="500"/>
                                        <p:tgtEl>
                                          <p:spTgt spid="9"/>
                                        </p:tgtEl>
                                      </p:cBhvr>
                                    </p:animEffect>
                                  </p:childTnLst>
                                </p:cTn>
                              </p:par>
                            </p:childTnLst>
                          </p:cTn>
                        </p:par>
                        <p:par>
                          <p:cTn id="68" fill="hold">
                            <p:stCondLst>
                              <p:cond delay="8720"/>
                            </p:stCondLst>
                            <p:childTnLst>
                              <p:par>
                                <p:cTn id="69" presetID="41" presetClass="entr" presetSubtype="0" fill="hold" grpId="0" nodeType="afterEffect">
                                  <p:stCondLst>
                                    <p:cond delay="0"/>
                                  </p:stCondLst>
                                  <p:iterate type="lt">
                                    <p:tmPct val="10000"/>
                                  </p:iterate>
                                  <p:childTnLst>
                                    <p:set>
                                      <p:cBhvr>
                                        <p:cTn id="70" dur="1" fill="hold">
                                          <p:stCondLst>
                                            <p:cond delay="0"/>
                                          </p:stCondLst>
                                        </p:cTn>
                                        <p:tgtEl>
                                          <p:spTgt spid="10"/>
                                        </p:tgtEl>
                                        <p:attrNameLst>
                                          <p:attrName>style.visibility</p:attrName>
                                        </p:attrNameLst>
                                      </p:cBhvr>
                                      <p:to>
                                        <p:strVal val="visible"/>
                                      </p:to>
                                    </p:set>
                                    <p:anim calcmode="lin" valueType="num">
                                      <p:cBhvr>
                                        <p:cTn id="71" dur="500" fill="hold"/>
                                        <p:tgtEl>
                                          <p:spTgt spid="10"/>
                                        </p:tgtEl>
                                        <p:attrNameLst>
                                          <p:attrName>ppt_x</p:attrName>
                                        </p:attrNameLst>
                                      </p:cBhvr>
                                      <p:tavLst>
                                        <p:tav tm="0">
                                          <p:val>
                                            <p:strVal val="#ppt_x"/>
                                          </p:val>
                                        </p:tav>
                                        <p:tav tm="50000">
                                          <p:val>
                                            <p:strVal val="#ppt_x+.1"/>
                                          </p:val>
                                        </p:tav>
                                        <p:tav tm="100000">
                                          <p:val>
                                            <p:strVal val="#ppt_x"/>
                                          </p:val>
                                        </p:tav>
                                      </p:tavLst>
                                    </p:anim>
                                    <p:anim calcmode="lin" valueType="num">
                                      <p:cBhvr>
                                        <p:cTn id="72" dur="500" fill="hold"/>
                                        <p:tgtEl>
                                          <p:spTgt spid="10"/>
                                        </p:tgtEl>
                                        <p:attrNameLst>
                                          <p:attrName>ppt_y</p:attrName>
                                        </p:attrNameLst>
                                      </p:cBhvr>
                                      <p:tavLst>
                                        <p:tav tm="0">
                                          <p:val>
                                            <p:strVal val="#ppt_y"/>
                                          </p:val>
                                        </p:tav>
                                        <p:tav tm="100000">
                                          <p:val>
                                            <p:strVal val="#ppt_y"/>
                                          </p:val>
                                        </p:tav>
                                      </p:tavLst>
                                    </p:anim>
                                    <p:anim calcmode="lin" valueType="num">
                                      <p:cBhvr>
                                        <p:cTn id="73" dur="500" fill="hold"/>
                                        <p:tgtEl>
                                          <p:spTgt spid="10"/>
                                        </p:tgtEl>
                                        <p:attrNameLst>
                                          <p:attrName>ppt_h</p:attrName>
                                        </p:attrNameLst>
                                      </p:cBhvr>
                                      <p:tavLst>
                                        <p:tav tm="0">
                                          <p:val>
                                            <p:strVal val="#ppt_h/10"/>
                                          </p:val>
                                        </p:tav>
                                        <p:tav tm="50000">
                                          <p:val>
                                            <p:strVal val="#ppt_h+.01"/>
                                          </p:val>
                                        </p:tav>
                                        <p:tav tm="100000">
                                          <p:val>
                                            <p:strVal val="#ppt_h"/>
                                          </p:val>
                                        </p:tav>
                                      </p:tavLst>
                                    </p:anim>
                                    <p:anim calcmode="lin" valueType="num">
                                      <p:cBhvr>
                                        <p:cTn id="74" dur="500" fill="hold"/>
                                        <p:tgtEl>
                                          <p:spTgt spid="10"/>
                                        </p:tgtEl>
                                        <p:attrNameLst>
                                          <p:attrName>ppt_w</p:attrName>
                                        </p:attrNameLst>
                                      </p:cBhvr>
                                      <p:tavLst>
                                        <p:tav tm="0">
                                          <p:val>
                                            <p:strVal val="#ppt_w/10"/>
                                          </p:val>
                                        </p:tav>
                                        <p:tav tm="50000">
                                          <p:val>
                                            <p:strVal val="#ppt_w+.01"/>
                                          </p:val>
                                        </p:tav>
                                        <p:tav tm="100000">
                                          <p:val>
                                            <p:strVal val="#ppt_w"/>
                                          </p:val>
                                        </p:tav>
                                      </p:tavLst>
                                    </p:anim>
                                    <p:animEffect transition="in" filter="fade">
                                      <p:cBhvr>
                                        <p:cTn id="75" dur="500" tmFilter="0,0; .5, 1; 1, 1"/>
                                        <p:tgtEl>
                                          <p:spTgt spid="10"/>
                                        </p:tgtEl>
                                      </p:cBhvr>
                                    </p:animEffect>
                                  </p:childTnLst>
                                </p:cTn>
                              </p:par>
                            </p:childTnLst>
                          </p:cTn>
                        </p:par>
                        <p:par>
                          <p:cTn id="76" fill="hold">
                            <p:stCondLst>
                              <p:cond delay="9470"/>
                            </p:stCondLst>
                            <p:childTnLst>
                              <p:par>
                                <p:cTn id="77" presetID="26" presetClass="emph" presetSubtype="0" fill="hold" grpId="1" nodeType="afterEffect">
                                  <p:stCondLst>
                                    <p:cond delay="0"/>
                                  </p:stCondLst>
                                  <p:iterate type="lt">
                                    <p:tmPct val="0"/>
                                  </p:iterate>
                                  <p:childTnLst>
                                    <p:animEffect transition="out" filter="fade">
                                      <p:cBhvr>
                                        <p:cTn id="78" dur="500" tmFilter="0, 0; .2, .5; .8, .5; 1, 0"/>
                                        <p:tgtEl>
                                          <p:spTgt spid="10"/>
                                        </p:tgtEl>
                                      </p:cBhvr>
                                    </p:animEffect>
                                    <p:animScale>
                                      <p:cBhvr>
                                        <p:cTn id="79" dur="250" autoRev="1" fill="hold"/>
                                        <p:tgtEl>
                                          <p:spTgt spid="10"/>
                                        </p:tgtEl>
                                      </p:cBhvr>
                                      <p:by x="105000" y="105000"/>
                                    </p:animScale>
                                  </p:childTnLst>
                                </p:cTn>
                              </p:par>
                            </p:childTnLst>
                          </p:cTn>
                        </p:par>
                        <p:par>
                          <p:cTn id="80" fill="hold">
                            <p:stCondLst>
                              <p:cond delay="9970"/>
                            </p:stCondLst>
                            <p:childTnLst>
                              <p:par>
                                <p:cTn id="81" presetID="41" presetClass="entr" presetSubtype="0" fill="hold" grpId="0" nodeType="afterEffect">
                                  <p:stCondLst>
                                    <p:cond delay="0"/>
                                  </p:stCondLst>
                                  <p:iterate type="lt">
                                    <p:tmPct val="10000"/>
                                  </p:iterate>
                                  <p:childTnLst>
                                    <p:set>
                                      <p:cBhvr>
                                        <p:cTn id="82" dur="1" fill="hold">
                                          <p:stCondLst>
                                            <p:cond delay="0"/>
                                          </p:stCondLst>
                                        </p:cTn>
                                        <p:tgtEl>
                                          <p:spTgt spid="11"/>
                                        </p:tgtEl>
                                        <p:attrNameLst>
                                          <p:attrName>style.visibility</p:attrName>
                                        </p:attrNameLst>
                                      </p:cBhvr>
                                      <p:to>
                                        <p:strVal val="visible"/>
                                      </p:to>
                                    </p:set>
                                    <p:anim calcmode="lin" valueType="num">
                                      <p:cBhvr>
                                        <p:cTn id="83" dur="400" fill="hold"/>
                                        <p:tgtEl>
                                          <p:spTgt spid="11"/>
                                        </p:tgtEl>
                                        <p:attrNameLst>
                                          <p:attrName>ppt_x</p:attrName>
                                        </p:attrNameLst>
                                      </p:cBhvr>
                                      <p:tavLst>
                                        <p:tav tm="0">
                                          <p:val>
                                            <p:strVal val="#ppt_x"/>
                                          </p:val>
                                        </p:tav>
                                        <p:tav tm="50000">
                                          <p:val>
                                            <p:strVal val="#ppt_x+.1"/>
                                          </p:val>
                                        </p:tav>
                                        <p:tav tm="100000">
                                          <p:val>
                                            <p:strVal val="#ppt_x"/>
                                          </p:val>
                                        </p:tav>
                                      </p:tavLst>
                                    </p:anim>
                                    <p:anim calcmode="lin" valueType="num">
                                      <p:cBhvr>
                                        <p:cTn id="84" dur="400" fill="hold"/>
                                        <p:tgtEl>
                                          <p:spTgt spid="11"/>
                                        </p:tgtEl>
                                        <p:attrNameLst>
                                          <p:attrName>ppt_y</p:attrName>
                                        </p:attrNameLst>
                                      </p:cBhvr>
                                      <p:tavLst>
                                        <p:tav tm="0">
                                          <p:val>
                                            <p:strVal val="#ppt_y"/>
                                          </p:val>
                                        </p:tav>
                                        <p:tav tm="100000">
                                          <p:val>
                                            <p:strVal val="#ppt_y"/>
                                          </p:val>
                                        </p:tav>
                                      </p:tavLst>
                                    </p:anim>
                                    <p:anim calcmode="lin" valueType="num">
                                      <p:cBhvr>
                                        <p:cTn id="85" dur="400" fill="hold"/>
                                        <p:tgtEl>
                                          <p:spTgt spid="11"/>
                                        </p:tgtEl>
                                        <p:attrNameLst>
                                          <p:attrName>ppt_h</p:attrName>
                                        </p:attrNameLst>
                                      </p:cBhvr>
                                      <p:tavLst>
                                        <p:tav tm="0">
                                          <p:val>
                                            <p:strVal val="#ppt_h/10"/>
                                          </p:val>
                                        </p:tav>
                                        <p:tav tm="50000">
                                          <p:val>
                                            <p:strVal val="#ppt_h+.01"/>
                                          </p:val>
                                        </p:tav>
                                        <p:tav tm="100000">
                                          <p:val>
                                            <p:strVal val="#ppt_h"/>
                                          </p:val>
                                        </p:tav>
                                      </p:tavLst>
                                    </p:anim>
                                    <p:anim calcmode="lin" valueType="num">
                                      <p:cBhvr>
                                        <p:cTn id="86" dur="400" fill="hold"/>
                                        <p:tgtEl>
                                          <p:spTgt spid="11"/>
                                        </p:tgtEl>
                                        <p:attrNameLst>
                                          <p:attrName>ppt_w</p:attrName>
                                        </p:attrNameLst>
                                      </p:cBhvr>
                                      <p:tavLst>
                                        <p:tav tm="0">
                                          <p:val>
                                            <p:strVal val="#ppt_w/10"/>
                                          </p:val>
                                        </p:tav>
                                        <p:tav tm="50000">
                                          <p:val>
                                            <p:strVal val="#ppt_w+.01"/>
                                          </p:val>
                                        </p:tav>
                                        <p:tav tm="100000">
                                          <p:val>
                                            <p:strVal val="#ppt_w"/>
                                          </p:val>
                                        </p:tav>
                                      </p:tavLst>
                                    </p:anim>
                                    <p:animEffect transition="in" filter="fade">
                                      <p:cBhvr>
                                        <p:cTn id="87" dur="400" tmFilter="0,0; .5, 1; 1, 1"/>
                                        <p:tgtEl>
                                          <p:spTgt spid="11"/>
                                        </p:tgtEl>
                                      </p:cBhvr>
                                    </p:animEffect>
                                  </p:childTnLst>
                                </p:cTn>
                              </p:par>
                            </p:childTnLst>
                          </p:cTn>
                        </p:par>
                        <p:par>
                          <p:cTn id="88" fill="hold">
                            <p:stCondLst>
                              <p:cond delay="11810"/>
                            </p:stCondLst>
                            <p:childTnLst>
                              <p:par>
                                <p:cTn id="89" presetID="53" presetClass="entr" presetSubtype="16" fill="hold" grpId="0" nodeType="afterEffect">
                                  <p:stCondLst>
                                    <p:cond delay="0"/>
                                  </p:stCondLst>
                                  <p:childTnLst>
                                    <p:set>
                                      <p:cBhvr>
                                        <p:cTn id="90" dur="1" fill="hold">
                                          <p:stCondLst>
                                            <p:cond delay="0"/>
                                          </p:stCondLst>
                                        </p:cTn>
                                        <p:tgtEl>
                                          <p:spTgt spid="12"/>
                                        </p:tgtEl>
                                        <p:attrNameLst>
                                          <p:attrName>style.visibility</p:attrName>
                                        </p:attrNameLst>
                                      </p:cBhvr>
                                      <p:to>
                                        <p:strVal val="visible"/>
                                      </p:to>
                                    </p:set>
                                    <p:anim calcmode="lin" valueType="num">
                                      <p:cBhvr>
                                        <p:cTn id="91" dur="500" fill="hold"/>
                                        <p:tgtEl>
                                          <p:spTgt spid="12"/>
                                        </p:tgtEl>
                                        <p:attrNameLst>
                                          <p:attrName>ppt_w</p:attrName>
                                        </p:attrNameLst>
                                      </p:cBhvr>
                                      <p:tavLst>
                                        <p:tav tm="0">
                                          <p:val>
                                            <p:fltVal val="0"/>
                                          </p:val>
                                        </p:tav>
                                        <p:tav tm="100000">
                                          <p:val>
                                            <p:strVal val="#ppt_w"/>
                                          </p:val>
                                        </p:tav>
                                      </p:tavLst>
                                    </p:anim>
                                    <p:anim calcmode="lin" valueType="num">
                                      <p:cBhvr>
                                        <p:cTn id="92" dur="500" fill="hold"/>
                                        <p:tgtEl>
                                          <p:spTgt spid="12"/>
                                        </p:tgtEl>
                                        <p:attrNameLst>
                                          <p:attrName>ppt_h</p:attrName>
                                        </p:attrNameLst>
                                      </p:cBhvr>
                                      <p:tavLst>
                                        <p:tav tm="0">
                                          <p:val>
                                            <p:fltVal val="0"/>
                                          </p:val>
                                        </p:tav>
                                        <p:tav tm="100000">
                                          <p:val>
                                            <p:strVal val="#ppt_h"/>
                                          </p:val>
                                        </p:tav>
                                      </p:tavLst>
                                    </p:anim>
                                    <p:animEffect transition="in" filter="fade">
                                      <p:cBhvr>
                                        <p:cTn id="93" dur="500"/>
                                        <p:tgtEl>
                                          <p:spTgt spid="12"/>
                                        </p:tgtEl>
                                      </p:cBhvr>
                                    </p:animEffect>
                                  </p:childTnLst>
                                </p:cTn>
                              </p:par>
                            </p:childTnLst>
                          </p:cTn>
                        </p:par>
                        <p:par>
                          <p:cTn id="94" fill="hold">
                            <p:stCondLst>
                              <p:cond delay="12310"/>
                            </p:stCondLst>
                            <p:childTnLst>
                              <p:par>
                                <p:cTn id="95" presetID="41" presetClass="entr" presetSubtype="0" fill="hold" grpId="0" nodeType="afterEffect">
                                  <p:stCondLst>
                                    <p:cond delay="0"/>
                                  </p:stCondLst>
                                  <p:iterate type="lt">
                                    <p:tmPct val="10000"/>
                                  </p:iterate>
                                  <p:childTnLst>
                                    <p:set>
                                      <p:cBhvr>
                                        <p:cTn id="96" dur="1" fill="hold">
                                          <p:stCondLst>
                                            <p:cond delay="0"/>
                                          </p:stCondLst>
                                        </p:cTn>
                                        <p:tgtEl>
                                          <p:spTgt spid="13"/>
                                        </p:tgtEl>
                                        <p:attrNameLst>
                                          <p:attrName>style.visibility</p:attrName>
                                        </p:attrNameLst>
                                      </p:cBhvr>
                                      <p:to>
                                        <p:strVal val="visible"/>
                                      </p:to>
                                    </p:set>
                                    <p:anim calcmode="lin" valueType="num">
                                      <p:cBhvr>
                                        <p:cTn id="97" dur="500" fill="hold"/>
                                        <p:tgtEl>
                                          <p:spTgt spid="13"/>
                                        </p:tgtEl>
                                        <p:attrNameLst>
                                          <p:attrName>ppt_x</p:attrName>
                                        </p:attrNameLst>
                                      </p:cBhvr>
                                      <p:tavLst>
                                        <p:tav tm="0">
                                          <p:val>
                                            <p:strVal val="#ppt_x"/>
                                          </p:val>
                                        </p:tav>
                                        <p:tav tm="50000">
                                          <p:val>
                                            <p:strVal val="#ppt_x+.1"/>
                                          </p:val>
                                        </p:tav>
                                        <p:tav tm="100000">
                                          <p:val>
                                            <p:strVal val="#ppt_x"/>
                                          </p:val>
                                        </p:tav>
                                      </p:tavLst>
                                    </p:anim>
                                    <p:anim calcmode="lin" valueType="num">
                                      <p:cBhvr>
                                        <p:cTn id="98" dur="500" fill="hold"/>
                                        <p:tgtEl>
                                          <p:spTgt spid="13"/>
                                        </p:tgtEl>
                                        <p:attrNameLst>
                                          <p:attrName>ppt_y</p:attrName>
                                        </p:attrNameLst>
                                      </p:cBhvr>
                                      <p:tavLst>
                                        <p:tav tm="0">
                                          <p:val>
                                            <p:strVal val="#ppt_y"/>
                                          </p:val>
                                        </p:tav>
                                        <p:tav tm="100000">
                                          <p:val>
                                            <p:strVal val="#ppt_y"/>
                                          </p:val>
                                        </p:tav>
                                      </p:tavLst>
                                    </p:anim>
                                    <p:anim calcmode="lin" valueType="num">
                                      <p:cBhvr>
                                        <p:cTn id="99" dur="500" fill="hold"/>
                                        <p:tgtEl>
                                          <p:spTgt spid="13"/>
                                        </p:tgtEl>
                                        <p:attrNameLst>
                                          <p:attrName>ppt_h</p:attrName>
                                        </p:attrNameLst>
                                      </p:cBhvr>
                                      <p:tavLst>
                                        <p:tav tm="0">
                                          <p:val>
                                            <p:strVal val="#ppt_h/10"/>
                                          </p:val>
                                        </p:tav>
                                        <p:tav tm="50000">
                                          <p:val>
                                            <p:strVal val="#ppt_h+.01"/>
                                          </p:val>
                                        </p:tav>
                                        <p:tav tm="100000">
                                          <p:val>
                                            <p:strVal val="#ppt_h"/>
                                          </p:val>
                                        </p:tav>
                                      </p:tavLst>
                                    </p:anim>
                                    <p:anim calcmode="lin" valueType="num">
                                      <p:cBhvr>
                                        <p:cTn id="100" dur="500" fill="hold"/>
                                        <p:tgtEl>
                                          <p:spTgt spid="13"/>
                                        </p:tgtEl>
                                        <p:attrNameLst>
                                          <p:attrName>ppt_w</p:attrName>
                                        </p:attrNameLst>
                                      </p:cBhvr>
                                      <p:tavLst>
                                        <p:tav tm="0">
                                          <p:val>
                                            <p:strVal val="#ppt_w/10"/>
                                          </p:val>
                                        </p:tav>
                                        <p:tav tm="50000">
                                          <p:val>
                                            <p:strVal val="#ppt_w+.01"/>
                                          </p:val>
                                        </p:tav>
                                        <p:tav tm="100000">
                                          <p:val>
                                            <p:strVal val="#ppt_w"/>
                                          </p:val>
                                        </p:tav>
                                      </p:tavLst>
                                    </p:anim>
                                    <p:animEffect transition="in" filter="fade">
                                      <p:cBhvr>
                                        <p:cTn id="101" dur="500" tmFilter="0,0; .5, 1; 1, 1"/>
                                        <p:tgtEl>
                                          <p:spTgt spid="13"/>
                                        </p:tgtEl>
                                      </p:cBhvr>
                                    </p:animEffect>
                                  </p:childTnLst>
                                </p:cTn>
                              </p:par>
                            </p:childTnLst>
                          </p:cTn>
                        </p:par>
                        <p:par>
                          <p:cTn id="102" fill="hold">
                            <p:stCondLst>
                              <p:cond delay="13060"/>
                            </p:stCondLst>
                            <p:childTnLst>
                              <p:par>
                                <p:cTn id="103" presetID="26" presetClass="emph" presetSubtype="0" fill="hold" grpId="1" nodeType="afterEffect">
                                  <p:stCondLst>
                                    <p:cond delay="0"/>
                                  </p:stCondLst>
                                  <p:iterate type="lt">
                                    <p:tmPct val="0"/>
                                  </p:iterate>
                                  <p:childTnLst>
                                    <p:animEffect transition="out" filter="fade">
                                      <p:cBhvr>
                                        <p:cTn id="104" dur="500" tmFilter="0, 0; .2, .5; .8, .5; 1, 0"/>
                                        <p:tgtEl>
                                          <p:spTgt spid="13"/>
                                        </p:tgtEl>
                                      </p:cBhvr>
                                    </p:animEffect>
                                    <p:animScale>
                                      <p:cBhvr>
                                        <p:cTn id="105" dur="250" autoRev="1" fill="hold"/>
                                        <p:tgtEl>
                                          <p:spTgt spid="13"/>
                                        </p:tgtEl>
                                      </p:cBhvr>
                                      <p:by x="105000" y="105000"/>
                                    </p:animScale>
                                  </p:childTnLst>
                                </p:cTn>
                              </p:par>
                            </p:childTnLst>
                          </p:cTn>
                        </p:par>
                        <p:par>
                          <p:cTn id="106" fill="hold">
                            <p:stCondLst>
                              <p:cond delay="13560"/>
                            </p:stCondLst>
                            <p:childTnLst>
                              <p:par>
                                <p:cTn id="107" presetID="41" presetClass="entr" presetSubtype="0" fill="hold" grpId="0" nodeType="afterEffect">
                                  <p:stCondLst>
                                    <p:cond delay="0"/>
                                  </p:stCondLst>
                                  <p:iterate type="lt">
                                    <p:tmPct val="10000"/>
                                  </p:iterate>
                                  <p:childTnLst>
                                    <p:set>
                                      <p:cBhvr>
                                        <p:cTn id="108" dur="1" fill="hold">
                                          <p:stCondLst>
                                            <p:cond delay="0"/>
                                          </p:stCondLst>
                                        </p:cTn>
                                        <p:tgtEl>
                                          <p:spTgt spid="14"/>
                                        </p:tgtEl>
                                        <p:attrNameLst>
                                          <p:attrName>style.visibility</p:attrName>
                                        </p:attrNameLst>
                                      </p:cBhvr>
                                      <p:to>
                                        <p:strVal val="visible"/>
                                      </p:to>
                                    </p:set>
                                    <p:anim calcmode="lin" valueType="num">
                                      <p:cBhvr>
                                        <p:cTn id="109" dur="400" fill="hold"/>
                                        <p:tgtEl>
                                          <p:spTgt spid="14"/>
                                        </p:tgtEl>
                                        <p:attrNameLst>
                                          <p:attrName>ppt_x</p:attrName>
                                        </p:attrNameLst>
                                      </p:cBhvr>
                                      <p:tavLst>
                                        <p:tav tm="0">
                                          <p:val>
                                            <p:strVal val="#ppt_x"/>
                                          </p:val>
                                        </p:tav>
                                        <p:tav tm="50000">
                                          <p:val>
                                            <p:strVal val="#ppt_x+.1"/>
                                          </p:val>
                                        </p:tav>
                                        <p:tav tm="100000">
                                          <p:val>
                                            <p:strVal val="#ppt_x"/>
                                          </p:val>
                                        </p:tav>
                                      </p:tavLst>
                                    </p:anim>
                                    <p:anim calcmode="lin" valueType="num">
                                      <p:cBhvr>
                                        <p:cTn id="110" dur="400" fill="hold"/>
                                        <p:tgtEl>
                                          <p:spTgt spid="14"/>
                                        </p:tgtEl>
                                        <p:attrNameLst>
                                          <p:attrName>ppt_y</p:attrName>
                                        </p:attrNameLst>
                                      </p:cBhvr>
                                      <p:tavLst>
                                        <p:tav tm="0">
                                          <p:val>
                                            <p:strVal val="#ppt_y"/>
                                          </p:val>
                                        </p:tav>
                                        <p:tav tm="100000">
                                          <p:val>
                                            <p:strVal val="#ppt_y"/>
                                          </p:val>
                                        </p:tav>
                                      </p:tavLst>
                                    </p:anim>
                                    <p:anim calcmode="lin" valueType="num">
                                      <p:cBhvr>
                                        <p:cTn id="111" dur="400" fill="hold"/>
                                        <p:tgtEl>
                                          <p:spTgt spid="14"/>
                                        </p:tgtEl>
                                        <p:attrNameLst>
                                          <p:attrName>ppt_h</p:attrName>
                                        </p:attrNameLst>
                                      </p:cBhvr>
                                      <p:tavLst>
                                        <p:tav tm="0">
                                          <p:val>
                                            <p:strVal val="#ppt_h/10"/>
                                          </p:val>
                                        </p:tav>
                                        <p:tav tm="50000">
                                          <p:val>
                                            <p:strVal val="#ppt_h+.01"/>
                                          </p:val>
                                        </p:tav>
                                        <p:tav tm="100000">
                                          <p:val>
                                            <p:strVal val="#ppt_h"/>
                                          </p:val>
                                        </p:tav>
                                      </p:tavLst>
                                    </p:anim>
                                    <p:anim calcmode="lin" valueType="num">
                                      <p:cBhvr>
                                        <p:cTn id="112" dur="400" fill="hold"/>
                                        <p:tgtEl>
                                          <p:spTgt spid="14"/>
                                        </p:tgtEl>
                                        <p:attrNameLst>
                                          <p:attrName>ppt_w</p:attrName>
                                        </p:attrNameLst>
                                      </p:cBhvr>
                                      <p:tavLst>
                                        <p:tav tm="0">
                                          <p:val>
                                            <p:strVal val="#ppt_w/10"/>
                                          </p:val>
                                        </p:tav>
                                        <p:tav tm="50000">
                                          <p:val>
                                            <p:strVal val="#ppt_w+.01"/>
                                          </p:val>
                                        </p:tav>
                                        <p:tav tm="100000">
                                          <p:val>
                                            <p:strVal val="#ppt_w"/>
                                          </p:val>
                                        </p:tav>
                                      </p:tavLst>
                                    </p:anim>
                                    <p:animEffect transition="in" filter="fade">
                                      <p:cBhvr>
                                        <p:cTn id="113" dur="400" tmFilter="0,0; .5, 1; 1, 1"/>
                                        <p:tgtEl>
                                          <p:spTgt spid="14"/>
                                        </p:tgtEl>
                                      </p:cBhvr>
                                    </p:animEffect>
                                  </p:childTnLst>
                                </p:cTn>
                              </p:par>
                            </p:childTnLst>
                          </p:cTn>
                        </p:par>
                        <p:par>
                          <p:cTn id="114" fill="hold">
                            <p:stCondLst>
                              <p:cond delay="15440"/>
                            </p:stCondLst>
                            <p:childTnLst>
                              <p:par>
                                <p:cTn id="115" presetID="53" presetClass="entr" presetSubtype="16" fill="hold" grpId="0" nodeType="afterEffect">
                                  <p:stCondLst>
                                    <p:cond delay="0"/>
                                  </p:stCondLst>
                                  <p:childTnLst>
                                    <p:set>
                                      <p:cBhvr>
                                        <p:cTn id="116" dur="1" fill="hold">
                                          <p:stCondLst>
                                            <p:cond delay="0"/>
                                          </p:stCondLst>
                                        </p:cTn>
                                        <p:tgtEl>
                                          <p:spTgt spid="18"/>
                                        </p:tgtEl>
                                        <p:attrNameLst>
                                          <p:attrName>style.visibility</p:attrName>
                                        </p:attrNameLst>
                                      </p:cBhvr>
                                      <p:to>
                                        <p:strVal val="visible"/>
                                      </p:to>
                                    </p:set>
                                    <p:anim calcmode="lin" valueType="num">
                                      <p:cBhvr>
                                        <p:cTn id="117" dur="500" fill="hold"/>
                                        <p:tgtEl>
                                          <p:spTgt spid="18"/>
                                        </p:tgtEl>
                                        <p:attrNameLst>
                                          <p:attrName>ppt_w</p:attrName>
                                        </p:attrNameLst>
                                      </p:cBhvr>
                                      <p:tavLst>
                                        <p:tav tm="0">
                                          <p:val>
                                            <p:fltVal val="0"/>
                                          </p:val>
                                        </p:tav>
                                        <p:tav tm="100000">
                                          <p:val>
                                            <p:strVal val="#ppt_w"/>
                                          </p:val>
                                        </p:tav>
                                      </p:tavLst>
                                    </p:anim>
                                    <p:anim calcmode="lin" valueType="num">
                                      <p:cBhvr>
                                        <p:cTn id="118" dur="500" fill="hold"/>
                                        <p:tgtEl>
                                          <p:spTgt spid="18"/>
                                        </p:tgtEl>
                                        <p:attrNameLst>
                                          <p:attrName>ppt_h</p:attrName>
                                        </p:attrNameLst>
                                      </p:cBhvr>
                                      <p:tavLst>
                                        <p:tav tm="0">
                                          <p:val>
                                            <p:fltVal val="0"/>
                                          </p:val>
                                        </p:tav>
                                        <p:tav tm="100000">
                                          <p:val>
                                            <p:strVal val="#ppt_h"/>
                                          </p:val>
                                        </p:tav>
                                      </p:tavLst>
                                    </p:anim>
                                    <p:animEffect transition="in" filter="fade">
                                      <p:cBhvr>
                                        <p:cTn id="119" dur="500"/>
                                        <p:tgtEl>
                                          <p:spTgt spid="18"/>
                                        </p:tgtEl>
                                      </p:cBhvr>
                                    </p:animEffect>
                                  </p:childTnLst>
                                </p:cTn>
                              </p:par>
                            </p:childTnLst>
                          </p:cTn>
                        </p:par>
                        <p:par>
                          <p:cTn id="120" fill="hold">
                            <p:stCondLst>
                              <p:cond delay="15940"/>
                            </p:stCondLst>
                            <p:childTnLst>
                              <p:par>
                                <p:cTn id="121" presetID="41" presetClass="entr" presetSubtype="0" fill="hold" grpId="0" nodeType="afterEffect">
                                  <p:stCondLst>
                                    <p:cond delay="0"/>
                                  </p:stCondLst>
                                  <p:iterate type="lt">
                                    <p:tmPct val="10000"/>
                                  </p:iterate>
                                  <p:childTnLst>
                                    <p:set>
                                      <p:cBhvr>
                                        <p:cTn id="122" dur="1" fill="hold">
                                          <p:stCondLst>
                                            <p:cond delay="0"/>
                                          </p:stCondLst>
                                        </p:cTn>
                                        <p:tgtEl>
                                          <p:spTgt spid="19"/>
                                        </p:tgtEl>
                                        <p:attrNameLst>
                                          <p:attrName>style.visibility</p:attrName>
                                        </p:attrNameLst>
                                      </p:cBhvr>
                                      <p:to>
                                        <p:strVal val="visible"/>
                                      </p:to>
                                    </p:set>
                                    <p:anim calcmode="lin" valueType="num">
                                      <p:cBhvr>
                                        <p:cTn id="123" dur="500" fill="hold"/>
                                        <p:tgtEl>
                                          <p:spTgt spid="19"/>
                                        </p:tgtEl>
                                        <p:attrNameLst>
                                          <p:attrName>ppt_x</p:attrName>
                                        </p:attrNameLst>
                                      </p:cBhvr>
                                      <p:tavLst>
                                        <p:tav tm="0">
                                          <p:val>
                                            <p:strVal val="#ppt_x"/>
                                          </p:val>
                                        </p:tav>
                                        <p:tav tm="50000">
                                          <p:val>
                                            <p:strVal val="#ppt_x+.1"/>
                                          </p:val>
                                        </p:tav>
                                        <p:tav tm="100000">
                                          <p:val>
                                            <p:strVal val="#ppt_x"/>
                                          </p:val>
                                        </p:tav>
                                      </p:tavLst>
                                    </p:anim>
                                    <p:anim calcmode="lin" valueType="num">
                                      <p:cBhvr>
                                        <p:cTn id="124" dur="500" fill="hold"/>
                                        <p:tgtEl>
                                          <p:spTgt spid="19"/>
                                        </p:tgtEl>
                                        <p:attrNameLst>
                                          <p:attrName>ppt_y</p:attrName>
                                        </p:attrNameLst>
                                      </p:cBhvr>
                                      <p:tavLst>
                                        <p:tav tm="0">
                                          <p:val>
                                            <p:strVal val="#ppt_y"/>
                                          </p:val>
                                        </p:tav>
                                        <p:tav tm="100000">
                                          <p:val>
                                            <p:strVal val="#ppt_y"/>
                                          </p:val>
                                        </p:tav>
                                      </p:tavLst>
                                    </p:anim>
                                    <p:anim calcmode="lin" valueType="num">
                                      <p:cBhvr>
                                        <p:cTn id="125" dur="500" fill="hold"/>
                                        <p:tgtEl>
                                          <p:spTgt spid="19"/>
                                        </p:tgtEl>
                                        <p:attrNameLst>
                                          <p:attrName>ppt_h</p:attrName>
                                        </p:attrNameLst>
                                      </p:cBhvr>
                                      <p:tavLst>
                                        <p:tav tm="0">
                                          <p:val>
                                            <p:strVal val="#ppt_h/10"/>
                                          </p:val>
                                        </p:tav>
                                        <p:tav tm="50000">
                                          <p:val>
                                            <p:strVal val="#ppt_h+.01"/>
                                          </p:val>
                                        </p:tav>
                                        <p:tav tm="100000">
                                          <p:val>
                                            <p:strVal val="#ppt_h"/>
                                          </p:val>
                                        </p:tav>
                                      </p:tavLst>
                                    </p:anim>
                                    <p:anim calcmode="lin" valueType="num">
                                      <p:cBhvr>
                                        <p:cTn id="126" dur="500" fill="hold"/>
                                        <p:tgtEl>
                                          <p:spTgt spid="19"/>
                                        </p:tgtEl>
                                        <p:attrNameLst>
                                          <p:attrName>ppt_w</p:attrName>
                                        </p:attrNameLst>
                                      </p:cBhvr>
                                      <p:tavLst>
                                        <p:tav tm="0">
                                          <p:val>
                                            <p:strVal val="#ppt_w/10"/>
                                          </p:val>
                                        </p:tav>
                                        <p:tav tm="50000">
                                          <p:val>
                                            <p:strVal val="#ppt_w+.01"/>
                                          </p:val>
                                        </p:tav>
                                        <p:tav tm="100000">
                                          <p:val>
                                            <p:strVal val="#ppt_w"/>
                                          </p:val>
                                        </p:tav>
                                      </p:tavLst>
                                    </p:anim>
                                    <p:animEffect transition="in" filter="fade">
                                      <p:cBhvr>
                                        <p:cTn id="127" dur="500" tmFilter="0,0; .5, 1; 1, 1"/>
                                        <p:tgtEl>
                                          <p:spTgt spid="19"/>
                                        </p:tgtEl>
                                      </p:cBhvr>
                                    </p:animEffect>
                                  </p:childTnLst>
                                </p:cTn>
                              </p:par>
                            </p:childTnLst>
                          </p:cTn>
                        </p:par>
                        <p:par>
                          <p:cTn id="128" fill="hold">
                            <p:stCondLst>
                              <p:cond delay="16690"/>
                            </p:stCondLst>
                            <p:childTnLst>
                              <p:par>
                                <p:cTn id="129" presetID="26" presetClass="emph" presetSubtype="0" fill="hold" grpId="1" nodeType="afterEffect">
                                  <p:stCondLst>
                                    <p:cond delay="0"/>
                                  </p:stCondLst>
                                  <p:iterate type="lt">
                                    <p:tmPct val="0"/>
                                  </p:iterate>
                                  <p:childTnLst>
                                    <p:animEffect transition="out" filter="fade">
                                      <p:cBhvr>
                                        <p:cTn id="130" dur="500" tmFilter="0, 0; .2, .5; .8, .5; 1, 0"/>
                                        <p:tgtEl>
                                          <p:spTgt spid="19"/>
                                        </p:tgtEl>
                                      </p:cBhvr>
                                    </p:animEffect>
                                    <p:animScale>
                                      <p:cBhvr>
                                        <p:cTn id="131" dur="250" autoRev="1" fill="hold"/>
                                        <p:tgtEl>
                                          <p:spTgt spid="19"/>
                                        </p:tgtEl>
                                      </p:cBhvr>
                                      <p:by x="105000" y="105000"/>
                                    </p:animScale>
                                  </p:childTnLst>
                                </p:cTn>
                              </p:par>
                            </p:childTnLst>
                          </p:cTn>
                        </p:par>
                        <p:par>
                          <p:cTn id="132" fill="hold">
                            <p:stCondLst>
                              <p:cond delay="17190"/>
                            </p:stCondLst>
                            <p:childTnLst>
                              <p:par>
                                <p:cTn id="133" presetID="41" presetClass="entr" presetSubtype="0" fill="hold" grpId="0" nodeType="afterEffect">
                                  <p:stCondLst>
                                    <p:cond delay="0"/>
                                  </p:stCondLst>
                                  <p:iterate type="lt">
                                    <p:tmPct val="10000"/>
                                  </p:iterate>
                                  <p:childTnLst>
                                    <p:set>
                                      <p:cBhvr>
                                        <p:cTn id="134" dur="1" fill="hold">
                                          <p:stCondLst>
                                            <p:cond delay="0"/>
                                          </p:stCondLst>
                                        </p:cTn>
                                        <p:tgtEl>
                                          <p:spTgt spid="20"/>
                                        </p:tgtEl>
                                        <p:attrNameLst>
                                          <p:attrName>style.visibility</p:attrName>
                                        </p:attrNameLst>
                                      </p:cBhvr>
                                      <p:to>
                                        <p:strVal val="visible"/>
                                      </p:to>
                                    </p:set>
                                    <p:anim calcmode="lin" valueType="num">
                                      <p:cBhvr>
                                        <p:cTn id="135" dur="400" fill="hold"/>
                                        <p:tgtEl>
                                          <p:spTgt spid="20"/>
                                        </p:tgtEl>
                                        <p:attrNameLst>
                                          <p:attrName>ppt_x</p:attrName>
                                        </p:attrNameLst>
                                      </p:cBhvr>
                                      <p:tavLst>
                                        <p:tav tm="0">
                                          <p:val>
                                            <p:strVal val="#ppt_x"/>
                                          </p:val>
                                        </p:tav>
                                        <p:tav tm="50000">
                                          <p:val>
                                            <p:strVal val="#ppt_x+.1"/>
                                          </p:val>
                                        </p:tav>
                                        <p:tav tm="100000">
                                          <p:val>
                                            <p:strVal val="#ppt_x"/>
                                          </p:val>
                                        </p:tav>
                                      </p:tavLst>
                                    </p:anim>
                                    <p:anim calcmode="lin" valueType="num">
                                      <p:cBhvr>
                                        <p:cTn id="136" dur="400" fill="hold"/>
                                        <p:tgtEl>
                                          <p:spTgt spid="20"/>
                                        </p:tgtEl>
                                        <p:attrNameLst>
                                          <p:attrName>ppt_y</p:attrName>
                                        </p:attrNameLst>
                                      </p:cBhvr>
                                      <p:tavLst>
                                        <p:tav tm="0">
                                          <p:val>
                                            <p:strVal val="#ppt_y"/>
                                          </p:val>
                                        </p:tav>
                                        <p:tav tm="100000">
                                          <p:val>
                                            <p:strVal val="#ppt_y"/>
                                          </p:val>
                                        </p:tav>
                                      </p:tavLst>
                                    </p:anim>
                                    <p:anim calcmode="lin" valueType="num">
                                      <p:cBhvr>
                                        <p:cTn id="137" dur="400" fill="hold"/>
                                        <p:tgtEl>
                                          <p:spTgt spid="20"/>
                                        </p:tgtEl>
                                        <p:attrNameLst>
                                          <p:attrName>ppt_h</p:attrName>
                                        </p:attrNameLst>
                                      </p:cBhvr>
                                      <p:tavLst>
                                        <p:tav tm="0">
                                          <p:val>
                                            <p:strVal val="#ppt_h/10"/>
                                          </p:val>
                                        </p:tav>
                                        <p:tav tm="50000">
                                          <p:val>
                                            <p:strVal val="#ppt_h+.01"/>
                                          </p:val>
                                        </p:tav>
                                        <p:tav tm="100000">
                                          <p:val>
                                            <p:strVal val="#ppt_h"/>
                                          </p:val>
                                        </p:tav>
                                      </p:tavLst>
                                    </p:anim>
                                    <p:anim calcmode="lin" valueType="num">
                                      <p:cBhvr>
                                        <p:cTn id="138" dur="400" fill="hold"/>
                                        <p:tgtEl>
                                          <p:spTgt spid="20"/>
                                        </p:tgtEl>
                                        <p:attrNameLst>
                                          <p:attrName>ppt_w</p:attrName>
                                        </p:attrNameLst>
                                      </p:cBhvr>
                                      <p:tavLst>
                                        <p:tav tm="0">
                                          <p:val>
                                            <p:strVal val="#ppt_w/10"/>
                                          </p:val>
                                        </p:tav>
                                        <p:tav tm="50000">
                                          <p:val>
                                            <p:strVal val="#ppt_w+.01"/>
                                          </p:val>
                                        </p:tav>
                                        <p:tav tm="100000">
                                          <p:val>
                                            <p:strVal val="#ppt_w"/>
                                          </p:val>
                                        </p:tav>
                                      </p:tavLst>
                                    </p:anim>
                                    <p:animEffect transition="in" filter="fade">
                                      <p:cBhvr>
                                        <p:cTn id="139" dur="400" tmFilter="0,0; .5, 1; 1, 1"/>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animBg="1"/>
      <p:bldP spid="4" grpId="0"/>
      <p:bldP spid="4" grpId="1"/>
      <p:bldP spid="5" grpId="0"/>
      <p:bldP spid="6" grpId="0" animBg="1"/>
      <p:bldP spid="7" grpId="0"/>
      <p:bldP spid="7" grpId="1"/>
      <p:bldP spid="8" grpId="0"/>
      <p:bldP spid="9" grpId="0" animBg="1"/>
      <p:bldP spid="10" grpId="0"/>
      <p:bldP spid="10" grpId="1"/>
      <p:bldP spid="11" grpId="0"/>
      <p:bldP spid="12" grpId="0" animBg="1"/>
      <p:bldP spid="13" grpId="0"/>
      <p:bldP spid="13" grpId="1"/>
      <p:bldP spid="14" grpId="0"/>
      <p:bldP spid="18" grpId="0" animBg="1"/>
      <p:bldP spid="19" grpId="0"/>
      <p:bldP spid="19" grpId="1"/>
      <p:bldP spid="20"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4"/>
          <p:cNvSpPr/>
          <p:nvPr/>
        </p:nvSpPr>
        <p:spPr>
          <a:xfrm>
            <a:off x="262255" y="1007842"/>
            <a:ext cx="2808129" cy="1707024"/>
          </a:xfrm>
          <a:prstGeom prst="rect">
            <a:avLst/>
          </a:prstGeom>
          <a:blipFill dpi="0" rotWithShape="1">
            <a:blip r:embed="rId5"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27" name="Rectangle 5"/>
          <p:cNvSpPr/>
          <p:nvPr/>
        </p:nvSpPr>
        <p:spPr>
          <a:xfrm>
            <a:off x="262255" y="2750267"/>
            <a:ext cx="2808129" cy="1261185"/>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cxnSp>
        <p:nvCxnSpPr>
          <p:cNvPr id="28" name="Straight Connector 12"/>
          <p:cNvCxnSpPr/>
          <p:nvPr/>
        </p:nvCxnSpPr>
        <p:spPr>
          <a:xfrm>
            <a:off x="566738" y="4117657"/>
            <a:ext cx="7865428" cy="0"/>
          </a:xfrm>
          <a:prstGeom prst="line">
            <a:avLst/>
          </a:prstGeom>
          <a:ln w="9525">
            <a:solidFill>
              <a:schemeClr val="bg1">
                <a:lumMod val="75000"/>
              </a:schemeClr>
            </a:solidFill>
            <a:prstDash val="sysDash"/>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9" name="TextBox 28"/>
          <p:cNvSpPr txBox="1">
            <a:spLocks noChangeArrowheads="1"/>
          </p:cNvSpPr>
          <p:nvPr/>
        </p:nvSpPr>
        <p:spPr bwMode="auto">
          <a:xfrm>
            <a:off x="568960" y="4161909"/>
            <a:ext cx="7863205" cy="399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50000"/>
              </a:lnSpc>
            </a:pPr>
            <a:r>
              <a:rPr lang="zh-CN"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a:t>
            </a:r>
          </a:p>
        </p:txBody>
      </p:sp>
      <p:sp>
        <p:nvSpPr>
          <p:cNvPr id="30" name="TextBox 29"/>
          <p:cNvSpPr txBox="1">
            <a:spLocks noChangeArrowheads="1"/>
          </p:cNvSpPr>
          <p:nvPr/>
        </p:nvSpPr>
        <p:spPr bwMode="auto">
          <a:xfrm>
            <a:off x="518954" y="3044544"/>
            <a:ext cx="2291398"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r>
              <a:rPr lang="zh-CN" altLang="en-US" sz="1000" dirty="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p>
          <a:p>
            <a:pPr algn="just" eaLnBrk="1" hangingPunct="1">
              <a:lnSpc>
                <a:spcPct val="150000"/>
              </a:lnSpc>
            </a:pPr>
            <a:r>
              <a:rPr lang="zh-CN" altLang="en-US" sz="600" dirty="0">
                <a:solidFill>
                  <a:schemeClr val="bg1"/>
                </a:solidFill>
                <a:latin typeface="Arial" panose="020B0604020202020204" pitchFamily="34" charset="0"/>
                <a:ea typeface="微软雅黑" panose="020B0503020204020204" pitchFamily="34" charset="-122"/>
                <a:sym typeface="Arial" panose="020B0604020202020204" pitchFamily="34" charset="0"/>
              </a:rPr>
              <a:t>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a:t>
            </a:r>
          </a:p>
        </p:txBody>
      </p:sp>
      <p:sp>
        <p:nvSpPr>
          <p:cNvPr id="31" name="Rectangle 16"/>
          <p:cNvSpPr/>
          <p:nvPr/>
        </p:nvSpPr>
        <p:spPr>
          <a:xfrm>
            <a:off x="3113722" y="1007842"/>
            <a:ext cx="2809240" cy="1707024"/>
          </a:xfrm>
          <a:prstGeom prst="rect">
            <a:avLst/>
          </a:prstGeom>
          <a:blipFill dpi="0" rotWithShape="1">
            <a:blip r:embed="rId6"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32" name="Rectangle 17"/>
          <p:cNvSpPr/>
          <p:nvPr/>
        </p:nvSpPr>
        <p:spPr>
          <a:xfrm>
            <a:off x="3113722" y="2750267"/>
            <a:ext cx="2809240" cy="126118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33" name="TextBox 32"/>
          <p:cNvSpPr txBox="1">
            <a:spLocks noChangeArrowheads="1"/>
          </p:cNvSpPr>
          <p:nvPr/>
        </p:nvSpPr>
        <p:spPr bwMode="auto">
          <a:xfrm>
            <a:off x="3371532" y="3071095"/>
            <a:ext cx="2290287"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r>
              <a:rPr lang="zh-CN" altLang="en-US" sz="100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p>
          <a:p>
            <a:pPr algn="just" eaLnBrk="1" hangingPunct="1">
              <a:lnSpc>
                <a:spcPct val="150000"/>
              </a:lnSpc>
            </a:pPr>
            <a:r>
              <a:rPr lang="zh-CN" altLang="en-US" sz="600">
                <a:solidFill>
                  <a:schemeClr val="bg1"/>
                </a:solidFill>
                <a:latin typeface="Arial" panose="020B0604020202020204" pitchFamily="34" charset="0"/>
                <a:ea typeface="微软雅黑" panose="020B0503020204020204" pitchFamily="34" charset="-122"/>
                <a:sym typeface="Arial" panose="020B0604020202020204" pitchFamily="34" charset="0"/>
              </a:rPr>
              <a:t>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a:t>
            </a:r>
          </a:p>
        </p:txBody>
      </p:sp>
      <p:sp>
        <p:nvSpPr>
          <p:cNvPr id="34" name="Rectangle 19"/>
          <p:cNvSpPr/>
          <p:nvPr/>
        </p:nvSpPr>
        <p:spPr>
          <a:xfrm>
            <a:off x="5966302" y="1007842"/>
            <a:ext cx="2808128" cy="1707024"/>
          </a:xfrm>
          <a:prstGeom prst="rect">
            <a:avLst/>
          </a:prstGeom>
          <a:blipFill dpi="0" rotWithShape="1">
            <a:blip r:embed="rId5"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35" name="Rectangle 20"/>
          <p:cNvSpPr/>
          <p:nvPr/>
        </p:nvSpPr>
        <p:spPr>
          <a:xfrm>
            <a:off x="5966302" y="2750267"/>
            <a:ext cx="2808128" cy="1261185"/>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50000"/>
              </a:lnSpc>
              <a:defRPr/>
            </a:pPr>
            <a:endParaRPr lang="en-US" sz="1500" noProof="1">
              <a:latin typeface="Arial" panose="020B0604020202020204" pitchFamily="34" charset="0"/>
              <a:ea typeface="微软雅黑" panose="020B0503020204020204" pitchFamily="34" charset="-122"/>
              <a:sym typeface="Arial" panose="020B0604020202020204" pitchFamily="34" charset="0"/>
            </a:endParaRPr>
          </a:p>
        </p:txBody>
      </p:sp>
      <p:sp>
        <p:nvSpPr>
          <p:cNvPr id="36" name="TextBox 35"/>
          <p:cNvSpPr txBox="1">
            <a:spLocks noChangeArrowheads="1"/>
          </p:cNvSpPr>
          <p:nvPr/>
        </p:nvSpPr>
        <p:spPr bwMode="auto">
          <a:xfrm>
            <a:off x="6223000" y="3071095"/>
            <a:ext cx="2291398"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r>
              <a:rPr lang="zh-CN" altLang="en-US" sz="100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p>
          <a:p>
            <a:pPr algn="just" eaLnBrk="1" hangingPunct="1">
              <a:lnSpc>
                <a:spcPct val="150000"/>
              </a:lnSpc>
            </a:pPr>
            <a:r>
              <a:rPr lang="zh-CN" altLang="en-US" sz="600">
                <a:solidFill>
                  <a:schemeClr val="bg1"/>
                </a:solidFill>
                <a:latin typeface="Arial" panose="020B0604020202020204" pitchFamily="34" charset="0"/>
                <a:ea typeface="微软雅黑" panose="020B0503020204020204" pitchFamily="34" charset="-122"/>
                <a:sym typeface="Arial" panose="020B0604020202020204" pitchFamily="34" charset="0"/>
              </a:rPr>
              <a:t>请替换文字内容，添加相关标题，修改文字内容，也可以直接复制你的内容到此。请替换文字内容，添加相关标题，修改文字内容，也可以直接复制你的内容到此。请替换文字内容，添加相关标题，修改文字内容，也可以直接复制你的内容到此。</a:t>
            </a:r>
          </a:p>
        </p:txBody>
      </p:sp>
      <p:sp>
        <p:nvSpPr>
          <p:cNvPr id="13" name="平行四边形 12"/>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平行四边形 13"/>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平行四边形 14"/>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平行四边形 15"/>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7" name="直接连接符 16"/>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8"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19" name="Group 7"/>
          <p:cNvGrpSpPr/>
          <p:nvPr/>
        </p:nvGrpSpPr>
        <p:grpSpPr bwMode="auto">
          <a:xfrm>
            <a:off x="180202" y="181952"/>
            <a:ext cx="216018" cy="113981"/>
            <a:chOff x="0" y="0"/>
            <a:chExt cx="1041399" cy="549275"/>
          </a:xfrm>
          <a:solidFill>
            <a:srgbClr val="133E73"/>
          </a:solidFill>
        </p:grpSpPr>
        <p:sp>
          <p:nvSpPr>
            <p:cNvPr id="20"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1"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22"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23"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2268377" y="-1568065"/>
            <a:ext cx="1008084" cy="1008084"/>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1400">
        <p14:ripp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0-#ppt_w/2"/>
                                          </p:val>
                                        </p:tav>
                                        <p:tav tm="100000">
                                          <p:val>
                                            <p:strVal val="#ppt_x"/>
                                          </p:val>
                                        </p:tav>
                                      </p:tavLst>
                                    </p:anim>
                                    <p:anim calcmode="lin" valueType="num">
                                      <p:cBhvr additive="base">
                                        <p:cTn id="8" dur="500" fill="hold"/>
                                        <p:tgtEl>
                                          <p:spTgt spid="1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8"/>
                                        </p:tgtEl>
                                        <p:attrNameLst>
                                          <p:attrName>style.visibility</p:attrName>
                                        </p:attrNameLst>
                                      </p:cBhvr>
                                      <p:to>
                                        <p:strVal val="visible"/>
                                      </p:to>
                                    </p:set>
                                    <p:anim calcmode="lin" valueType="num">
                                      <p:cBhvr>
                                        <p:cTn id="12" dur="500" fill="hold"/>
                                        <p:tgtEl>
                                          <p:spTgt spid="1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8"/>
                                        </p:tgtEl>
                                        <p:attrNameLst>
                                          <p:attrName>ppt_y</p:attrName>
                                        </p:attrNameLst>
                                      </p:cBhvr>
                                      <p:tavLst>
                                        <p:tav tm="0">
                                          <p:val>
                                            <p:strVal val="#ppt_y"/>
                                          </p:val>
                                        </p:tav>
                                        <p:tav tm="100000">
                                          <p:val>
                                            <p:strVal val="#ppt_y"/>
                                          </p:val>
                                        </p:tav>
                                      </p:tavLst>
                                    </p:anim>
                                    <p:anim calcmode="lin" valueType="num">
                                      <p:cBhvr>
                                        <p:cTn id="14" dur="500" fill="hold"/>
                                        <p:tgtEl>
                                          <p:spTgt spid="1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8"/>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15"/>
                                        </p:tgtEl>
                                        <p:attrNameLst>
                                          <p:attrName>fillcolor</p:attrName>
                                        </p:attrNameLst>
                                      </p:cBhvr>
                                      <p:to>
                                        <a:srgbClr val="00AEEF"/>
                                      </p:to>
                                    </p:animClr>
                                    <p:set>
                                      <p:cBhvr>
                                        <p:cTn id="20" dur="300" fill="hold"/>
                                        <p:tgtEl>
                                          <p:spTgt spid="15"/>
                                        </p:tgtEl>
                                        <p:attrNameLst>
                                          <p:attrName>fill.type</p:attrName>
                                        </p:attrNameLst>
                                      </p:cBhvr>
                                      <p:to>
                                        <p:strVal val="solid"/>
                                      </p:to>
                                    </p:set>
                                    <p:set>
                                      <p:cBhvr>
                                        <p:cTn id="21" dur="300" fill="hold"/>
                                        <p:tgtEl>
                                          <p:spTgt spid="15"/>
                                        </p:tgtEl>
                                        <p:attrNameLst>
                                          <p:attrName>fill.on</p:attrName>
                                        </p:attrNameLst>
                                      </p:cBhvr>
                                      <p:to>
                                        <p:strVal val="true"/>
                                      </p:to>
                                    </p:set>
                                  </p:childTnLst>
                                </p:cTn>
                              </p:par>
                              <p:par>
                                <p:cTn id="22" presetID="2" presetClass="entr" presetSubtype="8" fill="hold" grpId="0" nodeType="withEffect">
                                  <p:stCondLst>
                                    <p:cond delay="500"/>
                                  </p:stCondLst>
                                  <p:childTnLst>
                                    <p:set>
                                      <p:cBhvr>
                                        <p:cTn id="23" dur="1" fill="hold">
                                          <p:stCondLst>
                                            <p:cond delay="0"/>
                                          </p:stCondLst>
                                        </p:cTn>
                                        <p:tgtEl>
                                          <p:spTgt spid="26"/>
                                        </p:tgtEl>
                                        <p:attrNameLst>
                                          <p:attrName>style.visibility</p:attrName>
                                        </p:attrNameLst>
                                      </p:cBhvr>
                                      <p:to>
                                        <p:strVal val="visible"/>
                                      </p:to>
                                    </p:set>
                                    <p:anim calcmode="lin" valueType="num">
                                      <p:cBhvr>
                                        <p:cTn id="24" dur="500" fill="hold"/>
                                        <p:tgtEl>
                                          <p:spTgt spid="26"/>
                                        </p:tgtEl>
                                        <p:attrNameLst>
                                          <p:attrName>ppt_x</p:attrName>
                                        </p:attrNameLst>
                                      </p:cBhvr>
                                      <p:tavLst>
                                        <p:tav tm="0">
                                          <p:val>
                                            <p:strVal val="0-#ppt_w/2"/>
                                          </p:val>
                                        </p:tav>
                                        <p:tav tm="100000">
                                          <p:val>
                                            <p:strVal val="#ppt_x"/>
                                          </p:val>
                                        </p:tav>
                                      </p:tavLst>
                                    </p:anim>
                                    <p:anim calcmode="lin" valueType="num">
                                      <p:cBhvr>
                                        <p:cTn id="25" dur="500" fill="hold"/>
                                        <p:tgtEl>
                                          <p:spTgt spid="26"/>
                                        </p:tgtEl>
                                        <p:attrNameLst>
                                          <p:attrName>ppt_y</p:attrName>
                                        </p:attrNameLst>
                                      </p:cBhvr>
                                      <p:tavLst>
                                        <p:tav tm="0">
                                          <p:val>
                                            <p:strVal val="#ppt_y"/>
                                          </p:val>
                                        </p:tav>
                                        <p:tav tm="100000">
                                          <p:val>
                                            <p:strVal val="#ppt_y"/>
                                          </p:val>
                                        </p:tav>
                                      </p:tavLst>
                                    </p:anim>
                                  </p:childTnLst>
                                </p:cTn>
                              </p:par>
                              <p:par>
                                <p:cTn id="26" presetID="2" presetClass="entr" presetSubtype="8" fill="hold" grpId="0" nodeType="withEffect">
                                  <p:stCondLst>
                                    <p:cond delay="500"/>
                                  </p:stCondLst>
                                  <p:childTnLst>
                                    <p:set>
                                      <p:cBhvr>
                                        <p:cTn id="27" dur="1" fill="hold">
                                          <p:stCondLst>
                                            <p:cond delay="0"/>
                                          </p:stCondLst>
                                        </p:cTn>
                                        <p:tgtEl>
                                          <p:spTgt spid="27"/>
                                        </p:tgtEl>
                                        <p:attrNameLst>
                                          <p:attrName>style.visibility</p:attrName>
                                        </p:attrNameLst>
                                      </p:cBhvr>
                                      <p:to>
                                        <p:strVal val="visible"/>
                                      </p:to>
                                    </p:set>
                                    <p:anim calcmode="lin" valueType="num">
                                      <p:cBhvr>
                                        <p:cTn id="28" dur="500" fill="hold"/>
                                        <p:tgtEl>
                                          <p:spTgt spid="27"/>
                                        </p:tgtEl>
                                        <p:attrNameLst>
                                          <p:attrName>ppt_x</p:attrName>
                                        </p:attrNameLst>
                                      </p:cBhvr>
                                      <p:tavLst>
                                        <p:tav tm="0">
                                          <p:val>
                                            <p:strVal val="0-#ppt_w/2"/>
                                          </p:val>
                                        </p:tav>
                                        <p:tav tm="100000">
                                          <p:val>
                                            <p:strVal val="#ppt_x"/>
                                          </p:val>
                                        </p:tav>
                                      </p:tavLst>
                                    </p:anim>
                                    <p:anim calcmode="lin" valueType="num">
                                      <p:cBhvr>
                                        <p:cTn id="29" dur="500" fill="hold"/>
                                        <p:tgtEl>
                                          <p:spTgt spid="27"/>
                                        </p:tgtEl>
                                        <p:attrNameLst>
                                          <p:attrName>ppt_y</p:attrName>
                                        </p:attrNameLst>
                                      </p:cBhvr>
                                      <p:tavLst>
                                        <p:tav tm="0">
                                          <p:val>
                                            <p:strVal val="#ppt_y"/>
                                          </p:val>
                                        </p:tav>
                                        <p:tav tm="100000">
                                          <p:val>
                                            <p:strVal val="#ppt_y"/>
                                          </p:val>
                                        </p:tav>
                                      </p:tavLst>
                                    </p:anim>
                                  </p:childTnLst>
                                </p:cTn>
                              </p:par>
                              <p:par>
                                <p:cTn id="30" presetID="2" presetClass="entr" presetSubtype="4" fill="hold" nodeType="withEffect">
                                  <p:stCondLst>
                                    <p:cond delay="1000"/>
                                  </p:stCondLst>
                                  <p:childTnLst>
                                    <p:set>
                                      <p:cBhvr>
                                        <p:cTn id="31" dur="1" fill="hold">
                                          <p:stCondLst>
                                            <p:cond delay="0"/>
                                          </p:stCondLst>
                                        </p:cTn>
                                        <p:tgtEl>
                                          <p:spTgt spid="28"/>
                                        </p:tgtEl>
                                        <p:attrNameLst>
                                          <p:attrName>style.visibility</p:attrName>
                                        </p:attrNameLst>
                                      </p:cBhvr>
                                      <p:to>
                                        <p:strVal val="visible"/>
                                      </p:to>
                                    </p:set>
                                    <p:anim calcmode="lin" valueType="num">
                                      <p:cBhvr>
                                        <p:cTn id="32" dur="500" fill="hold"/>
                                        <p:tgtEl>
                                          <p:spTgt spid="28"/>
                                        </p:tgtEl>
                                        <p:attrNameLst>
                                          <p:attrName>ppt_x</p:attrName>
                                        </p:attrNameLst>
                                      </p:cBhvr>
                                      <p:tavLst>
                                        <p:tav tm="0">
                                          <p:val>
                                            <p:strVal val="#ppt_x"/>
                                          </p:val>
                                        </p:tav>
                                        <p:tav tm="100000">
                                          <p:val>
                                            <p:strVal val="#ppt_x"/>
                                          </p:val>
                                        </p:tav>
                                      </p:tavLst>
                                    </p:anim>
                                    <p:anim calcmode="lin" valueType="num">
                                      <p:cBhvr>
                                        <p:cTn id="33" dur="500" fill="hold"/>
                                        <p:tgtEl>
                                          <p:spTgt spid="28"/>
                                        </p:tgtEl>
                                        <p:attrNameLst>
                                          <p:attrName>ppt_y</p:attrName>
                                        </p:attrNameLst>
                                      </p:cBhvr>
                                      <p:tavLst>
                                        <p:tav tm="0">
                                          <p:val>
                                            <p:strVal val="1+#ppt_h/2"/>
                                          </p:val>
                                        </p:tav>
                                        <p:tav tm="100000">
                                          <p:val>
                                            <p:strVal val="#ppt_y"/>
                                          </p:val>
                                        </p:tav>
                                      </p:tavLst>
                                    </p:anim>
                                  </p:childTnLst>
                                </p:cTn>
                              </p:par>
                            </p:childTnLst>
                          </p:cTn>
                        </p:par>
                        <p:par>
                          <p:cTn id="34" fill="hold">
                            <p:stCondLst>
                              <p:cond delay="1799"/>
                            </p:stCondLst>
                            <p:childTnLst>
                              <p:par>
                                <p:cTn id="35" presetID="1" presetClass="mediacall" presetSubtype="0" fill="hold" nodeType="afterEffect">
                                  <p:stCondLst>
                                    <p:cond delay="0"/>
                                  </p:stCondLst>
                                  <p:childTnLst>
                                    <p:cmd type="call" cmd="playFrom(0.0)">
                                      <p:cBhvr>
                                        <p:cTn id="36" dur="1" fill="hold"/>
                                        <p:tgtEl>
                                          <p:spTgt spid="23"/>
                                        </p:tgtEl>
                                      </p:cBhvr>
                                    </p:cmd>
                                  </p:childTnLst>
                                </p:cTn>
                              </p:par>
                            </p:childTnLst>
                          </p:cTn>
                        </p:par>
                        <p:par>
                          <p:cTn id="37" fill="hold">
                            <p:stCondLst>
                              <p:cond delay="1799"/>
                            </p:stCondLst>
                            <p:childTnLst>
                              <p:par>
                                <p:cTn id="38" presetID="2" presetClass="entr" presetSubtype="4" fill="hold" grpId="0" nodeType="afterEffect">
                                  <p:stCondLst>
                                    <p:cond delay="0"/>
                                  </p:stCondLst>
                                  <p:childTnLst>
                                    <p:set>
                                      <p:cBhvr>
                                        <p:cTn id="39" dur="1" fill="hold">
                                          <p:stCondLst>
                                            <p:cond delay="0"/>
                                          </p:stCondLst>
                                        </p:cTn>
                                        <p:tgtEl>
                                          <p:spTgt spid="29"/>
                                        </p:tgtEl>
                                        <p:attrNameLst>
                                          <p:attrName>style.visibility</p:attrName>
                                        </p:attrNameLst>
                                      </p:cBhvr>
                                      <p:to>
                                        <p:strVal val="visible"/>
                                      </p:to>
                                    </p:set>
                                    <p:anim calcmode="lin" valueType="num">
                                      <p:cBhvr>
                                        <p:cTn id="40" dur="1000" fill="hold"/>
                                        <p:tgtEl>
                                          <p:spTgt spid="29"/>
                                        </p:tgtEl>
                                        <p:attrNameLst>
                                          <p:attrName>ppt_x</p:attrName>
                                        </p:attrNameLst>
                                      </p:cBhvr>
                                      <p:tavLst>
                                        <p:tav tm="0">
                                          <p:val>
                                            <p:strVal val="#ppt_x"/>
                                          </p:val>
                                        </p:tav>
                                        <p:tav tm="100000">
                                          <p:val>
                                            <p:strVal val="#ppt_x"/>
                                          </p:val>
                                        </p:tav>
                                      </p:tavLst>
                                    </p:anim>
                                    <p:anim calcmode="lin" valueType="num">
                                      <p:cBhvr>
                                        <p:cTn id="41" dur="1000" fill="hold"/>
                                        <p:tgtEl>
                                          <p:spTgt spid="29"/>
                                        </p:tgtEl>
                                        <p:attrNameLst>
                                          <p:attrName>ppt_y</p:attrName>
                                        </p:attrNameLst>
                                      </p:cBhvr>
                                      <p:tavLst>
                                        <p:tav tm="0">
                                          <p:val>
                                            <p:strVal val="1+#ppt_h/2"/>
                                          </p:val>
                                        </p:tav>
                                        <p:tav tm="100000">
                                          <p:val>
                                            <p:strVal val="#ppt_y"/>
                                          </p:val>
                                        </p:tav>
                                      </p:tavLst>
                                    </p:anim>
                                  </p:childTnLst>
                                </p:cTn>
                              </p:par>
                              <p:par>
                                <p:cTn id="42" presetID="2" presetClass="entr" presetSubtype="4" fill="hold" grpId="0" nodeType="withEffect">
                                  <p:stCondLst>
                                    <p:cond delay="500"/>
                                  </p:stCondLst>
                                  <p:childTnLst>
                                    <p:set>
                                      <p:cBhvr>
                                        <p:cTn id="43" dur="1" fill="hold">
                                          <p:stCondLst>
                                            <p:cond delay="0"/>
                                          </p:stCondLst>
                                        </p:cTn>
                                        <p:tgtEl>
                                          <p:spTgt spid="30"/>
                                        </p:tgtEl>
                                        <p:attrNameLst>
                                          <p:attrName>style.visibility</p:attrName>
                                        </p:attrNameLst>
                                      </p:cBhvr>
                                      <p:to>
                                        <p:strVal val="visible"/>
                                      </p:to>
                                    </p:set>
                                    <p:anim calcmode="lin" valueType="num">
                                      <p:cBhvr>
                                        <p:cTn id="44" dur="500" fill="hold"/>
                                        <p:tgtEl>
                                          <p:spTgt spid="30"/>
                                        </p:tgtEl>
                                        <p:attrNameLst>
                                          <p:attrName>ppt_x</p:attrName>
                                        </p:attrNameLst>
                                      </p:cBhvr>
                                      <p:tavLst>
                                        <p:tav tm="0">
                                          <p:val>
                                            <p:strVal val="#ppt_x"/>
                                          </p:val>
                                        </p:tav>
                                        <p:tav tm="100000">
                                          <p:val>
                                            <p:strVal val="#ppt_x"/>
                                          </p:val>
                                        </p:tav>
                                      </p:tavLst>
                                    </p:anim>
                                    <p:anim calcmode="lin" valueType="num">
                                      <p:cBhvr>
                                        <p:cTn id="45" dur="500" fill="hold"/>
                                        <p:tgtEl>
                                          <p:spTgt spid="30"/>
                                        </p:tgtEl>
                                        <p:attrNameLst>
                                          <p:attrName>ppt_y</p:attrName>
                                        </p:attrNameLst>
                                      </p:cBhvr>
                                      <p:tavLst>
                                        <p:tav tm="0">
                                          <p:val>
                                            <p:strVal val="1+#ppt_h/2"/>
                                          </p:val>
                                        </p:tav>
                                        <p:tav tm="100000">
                                          <p:val>
                                            <p:strVal val="#ppt_y"/>
                                          </p:val>
                                        </p:tav>
                                      </p:tavLst>
                                    </p:anim>
                                  </p:childTnLst>
                                </p:cTn>
                              </p:par>
                              <p:par>
                                <p:cTn id="46" presetID="2" presetClass="entr" presetSubtype="8" fill="hold" grpId="0" nodeType="withEffect">
                                  <p:stCondLst>
                                    <p:cond delay="500"/>
                                  </p:stCondLst>
                                  <p:childTnLst>
                                    <p:set>
                                      <p:cBhvr>
                                        <p:cTn id="47" dur="1" fill="hold">
                                          <p:stCondLst>
                                            <p:cond delay="0"/>
                                          </p:stCondLst>
                                        </p:cTn>
                                        <p:tgtEl>
                                          <p:spTgt spid="31"/>
                                        </p:tgtEl>
                                        <p:attrNameLst>
                                          <p:attrName>style.visibility</p:attrName>
                                        </p:attrNameLst>
                                      </p:cBhvr>
                                      <p:to>
                                        <p:strVal val="visible"/>
                                      </p:to>
                                    </p:set>
                                    <p:anim calcmode="lin" valueType="num">
                                      <p:cBhvr>
                                        <p:cTn id="48" dur="500" fill="hold"/>
                                        <p:tgtEl>
                                          <p:spTgt spid="31"/>
                                        </p:tgtEl>
                                        <p:attrNameLst>
                                          <p:attrName>ppt_x</p:attrName>
                                        </p:attrNameLst>
                                      </p:cBhvr>
                                      <p:tavLst>
                                        <p:tav tm="0">
                                          <p:val>
                                            <p:strVal val="0-#ppt_w/2"/>
                                          </p:val>
                                        </p:tav>
                                        <p:tav tm="100000">
                                          <p:val>
                                            <p:strVal val="#ppt_x"/>
                                          </p:val>
                                        </p:tav>
                                      </p:tavLst>
                                    </p:anim>
                                    <p:anim calcmode="lin" valueType="num">
                                      <p:cBhvr>
                                        <p:cTn id="49" dur="500" fill="hold"/>
                                        <p:tgtEl>
                                          <p:spTgt spid="31"/>
                                        </p:tgtEl>
                                        <p:attrNameLst>
                                          <p:attrName>ppt_y</p:attrName>
                                        </p:attrNameLst>
                                      </p:cBhvr>
                                      <p:tavLst>
                                        <p:tav tm="0">
                                          <p:val>
                                            <p:strVal val="#ppt_y"/>
                                          </p:val>
                                        </p:tav>
                                        <p:tav tm="100000">
                                          <p:val>
                                            <p:strVal val="#ppt_y"/>
                                          </p:val>
                                        </p:tav>
                                      </p:tavLst>
                                    </p:anim>
                                  </p:childTnLst>
                                </p:cTn>
                              </p:par>
                              <p:par>
                                <p:cTn id="50" presetID="2" presetClass="entr" presetSubtype="8" fill="hold" grpId="0" nodeType="withEffect">
                                  <p:stCondLst>
                                    <p:cond delay="500"/>
                                  </p:stCondLst>
                                  <p:childTnLst>
                                    <p:set>
                                      <p:cBhvr>
                                        <p:cTn id="51" dur="1" fill="hold">
                                          <p:stCondLst>
                                            <p:cond delay="0"/>
                                          </p:stCondLst>
                                        </p:cTn>
                                        <p:tgtEl>
                                          <p:spTgt spid="32"/>
                                        </p:tgtEl>
                                        <p:attrNameLst>
                                          <p:attrName>style.visibility</p:attrName>
                                        </p:attrNameLst>
                                      </p:cBhvr>
                                      <p:to>
                                        <p:strVal val="visible"/>
                                      </p:to>
                                    </p:set>
                                    <p:anim calcmode="lin" valueType="num">
                                      <p:cBhvr>
                                        <p:cTn id="52" dur="500" fill="hold"/>
                                        <p:tgtEl>
                                          <p:spTgt spid="32"/>
                                        </p:tgtEl>
                                        <p:attrNameLst>
                                          <p:attrName>ppt_x</p:attrName>
                                        </p:attrNameLst>
                                      </p:cBhvr>
                                      <p:tavLst>
                                        <p:tav tm="0">
                                          <p:val>
                                            <p:strVal val="0-#ppt_w/2"/>
                                          </p:val>
                                        </p:tav>
                                        <p:tav tm="100000">
                                          <p:val>
                                            <p:strVal val="#ppt_x"/>
                                          </p:val>
                                        </p:tav>
                                      </p:tavLst>
                                    </p:anim>
                                    <p:anim calcmode="lin" valueType="num">
                                      <p:cBhvr>
                                        <p:cTn id="53" dur="500" fill="hold"/>
                                        <p:tgtEl>
                                          <p:spTgt spid="32"/>
                                        </p:tgtEl>
                                        <p:attrNameLst>
                                          <p:attrName>ppt_y</p:attrName>
                                        </p:attrNameLst>
                                      </p:cBhvr>
                                      <p:tavLst>
                                        <p:tav tm="0">
                                          <p:val>
                                            <p:strVal val="#ppt_y"/>
                                          </p:val>
                                        </p:tav>
                                        <p:tav tm="100000">
                                          <p:val>
                                            <p:strVal val="#ppt_y"/>
                                          </p:val>
                                        </p:tav>
                                      </p:tavLst>
                                    </p:anim>
                                  </p:childTnLst>
                                </p:cTn>
                              </p:par>
                              <p:par>
                                <p:cTn id="54" presetID="2" presetClass="entr" presetSubtype="4" fill="hold" grpId="0" nodeType="withEffect">
                                  <p:stCondLst>
                                    <p:cond delay="500"/>
                                  </p:stCondLst>
                                  <p:childTnLst>
                                    <p:set>
                                      <p:cBhvr>
                                        <p:cTn id="55" dur="1" fill="hold">
                                          <p:stCondLst>
                                            <p:cond delay="0"/>
                                          </p:stCondLst>
                                        </p:cTn>
                                        <p:tgtEl>
                                          <p:spTgt spid="33"/>
                                        </p:tgtEl>
                                        <p:attrNameLst>
                                          <p:attrName>style.visibility</p:attrName>
                                        </p:attrNameLst>
                                      </p:cBhvr>
                                      <p:to>
                                        <p:strVal val="visible"/>
                                      </p:to>
                                    </p:set>
                                    <p:anim calcmode="lin" valueType="num">
                                      <p:cBhvr>
                                        <p:cTn id="56" dur="500" fill="hold"/>
                                        <p:tgtEl>
                                          <p:spTgt spid="33"/>
                                        </p:tgtEl>
                                        <p:attrNameLst>
                                          <p:attrName>ppt_x</p:attrName>
                                        </p:attrNameLst>
                                      </p:cBhvr>
                                      <p:tavLst>
                                        <p:tav tm="0">
                                          <p:val>
                                            <p:strVal val="#ppt_x"/>
                                          </p:val>
                                        </p:tav>
                                        <p:tav tm="100000">
                                          <p:val>
                                            <p:strVal val="#ppt_x"/>
                                          </p:val>
                                        </p:tav>
                                      </p:tavLst>
                                    </p:anim>
                                    <p:anim calcmode="lin" valueType="num">
                                      <p:cBhvr>
                                        <p:cTn id="57" dur="500" fill="hold"/>
                                        <p:tgtEl>
                                          <p:spTgt spid="33"/>
                                        </p:tgtEl>
                                        <p:attrNameLst>
                                          <p:attrName>ppt_y</p:attrName>
                                        </p:attrNameLst>
                                      </p:cBhvr>
                                      <p:tavLst>
                                        <p:tav tm="0">
                                          <p:val>
                                            <p:strVal val="1+#ppt_h/2"/>
                                          </p:val>
                                        </p:tav>
                                        <p:tav tm="100000">
                                          <p:val>
                                            <p:strVal val="#ppt_y"/>
                                          </p:val>
                                        </p:tav>
                                      </p:tavLst>
                                    </p:anim>
                                  </p:childTnLst>
                                </p:cTn>
                              </p:par>
                              <p:par>
                                <p:cTn id="58" presetID="2" presetClass="entr" presetSubtype="8" fill="hold" grpId="0" nodeType="withEffect">
                                  <p:stCondLst>
                                    <p:cond delay="500"/>
                                  </p:stCondLst>
                                  <p:childTnLst>
                                    <p:set>
                                      <p:cBhvr>
                                        <p:cTn id="59" dur="1" fill="hold">
                                          <p:stCondLst>
                                            <p:cond delay="0"/>
                                          </p:stCondLst>
                                        </p:cTn>
                                        <p:tgtEl>
                                          <p:spTgt spid="34"/>
                                        </p:tgtEl>
                                        <p:attrNameLst>
                                          <p:attrName>style.visibility</p:attrName>
                                        </p:attrNameLst>
                                      </p:cBhvr>
                                      <p:to>
                                        <p:strVal val="visible"/>
                                      </p:to>
                                    </p:set>
                                    <p:anim calcmode="lin" valueType="num">
                                      <p:cBhvr>
                                        <p:cTn id="60" dur="500" fill="hold"/>
                                        <p:tgtEl>
                                          <p:spTgt spid="34"/>
                                        </p:tgtEl>
                                        <p:attrNameLst>
                                          <p:attrName>ppt_x</p:attrName>
                                        </p:attrNameLst>
                                      </p:cBhvr>
                                      <p:tavLst>
                                        <p:tav tm="0">
                                          <p:val>
                                            <p:strVal val="0-#ppt_w/2"/>
                                          </p:val>
                                        </p:tav>
                                        <p:tav tm="100000">
                                          <p:val>
                                            <p:strVal val="#ppt_x"/>
                                          </p:val>
                                        </p:tav>
                                      </p:tavLst>
                                    </p:anim>
                                    <p:anim calcmode="lin" valueType="num">
                                      <p:cBhvr>
                                        <p:cTn id="61" dur="500" fill="hold"/>
                                        <p:tgtEl>
                                          <p:spTgt spid="34"/>
                                        </p:tgtEl>
                                        <p:attrNameLst>
                                          <p:attrName>ppt_y</p:attrName>
                                        </p:attrNameLst>
                                      </p:cBhvr>
                                      <p:tavLst>
                                        <p:tav tm="0">
                                          <p:val>
                                            <p:strVal val="#ppt_y"/>
                                          </p:val>
                                        </p:tav>
                                        <p:tav tm="100000">
                                          <p:val>
                                            <p:strVal val="#ppt_y"/>
                                          </p:val>
                                        </p:tav>
                                      </p:tavLst>
                                    </p:anim>
                                  </p:childTnLst>
                                </p:cTn>
                              </p:par>
                              <p:par>
                                <p:cTn id="62" presetID="2" presetClass="entr" presetSubtype="8" fill="hold" grpId="0" nodeType="withEffect">
                                  <p:stCondLst>
                                    <p:cond delay="500"/>
                                  </p:stCondLst>
                                  <p:childTnLst>
                                    <p:set>
                                      <p:cBhvr>
                                        <p:cTn id="63" dur="1" fill="hold">
                                          <p:stCondLst>
                                            <p:cond delay="0"/>
                                          </p:stCondLst>
                                        </p:cTn>
                                        <p:tgtEl>
                                          <p:spTgt spid="35"/>
                                        </p:tgtEl>
                                        <p:attrNameLst>
                                          <p:attrName>style.visibility</p:attrName>
                                        </p:attrNameLst>
                                      </p:cBhvr>
                                      <p:to>
                                        <p:strVal val="visible"/>
                                      </p:to>
                                    </p:set>
                                    <p:anim calcmode="lin" valueType="num">
                                      <p:cBhvr>
                                        <p:cTn id="64" dur="500" fill="hold"/>
                                        <p:tgtEl>
                                          <p:spTgt spid="35"/>
                                        </p:tgtEl>
                                        <p:attrNameLst>
                                          <p:attrName>ppt_x</p:attrName>
                                        </p:attrNameLst>
                                      </p:cBhvr>
                                      <p:tavLst>
                                        <p:tav tm="0">
                                          <p:val>
                                            <p:strVal val="0-#ppt_w/2"/>
                                          </p:val>
                                        </p:tav>
                                        <p:tav tm="100000">
                                          <p:val>
                                            <p:strVal val="#ppt_x"/>
                                          </p:val>
                                        </p:tav>
                                      </p:tavLst>
                                    </p:anim>
                                    <p:anim calcmode="lin" valueType="num">
                                      <p:cBhvr>
                                        <p:cTn id="65" dur="500" fill="hold"/>
                                        <p:tgtEl>
                                          <p:spTgt spid="35"/>
                                        </p:tgtEl>
                                        <p:attrNameLst>
                                          <p:attrName>ppt_y</p:attrName>
                                        </p:attrNameLst>
                                      </p:cBhvr>
                                      <p:tavLst>
                                        <p:tav tm="0">
                                          <p:val>
                                            <p:strVal val="#ppt_y"/>
                                          </p:val>
                                        </p:tav>
                                        <p:tav tm="100000">
                                          <p:val>
                                            <p:strVal val="#ppt_y"/>
                                          </p:val>
                                        </p:tav>
                                      </p:tavLst>
                                    </p:anim>
                                  </p:childTnLst>
                                </p:cTn>
                              </p:par>
                              <p:par>
                                <p:cTn id="66" presetID="2" presetClass="entr" presetSubtype="4" fill="hold" grpId="0" nodeType="withEffect">
                                  <p:stCondLst>
                                    <p:cond delay="500"/>
                                  </p:stCondLst>
                                  <p:childTnLst>
                                    <p:set>
                                      <p:cBhvr>
                                        <p:cTn id="67" dur="1" fill="hold">
                                          <p:stCondLst>
                                            <p:cond delay="0"/>
                                          </p:stCondLst>
                                        </p:cTn>
                                        <p:tgtEl>
                                          <p:spTgt spid="36"/>
                                        </p:tgtEl>
                                        <p:attrNameLst>
                                          <p:attrName>style.visibility</p:attrName>
                                        </p:attrNameLst>
                                      </p:cBhvr>
                                      <p:to>
                                        <p:strVal val="visible"/>
                                      </p:to>
                                    </p:set>
                                    <p:anim calcmode="lin" valueType="num">
                                      <p:cBhvr>
                                        <p:cTn id="68" dur="500" fill="hold"/>
                                        <p:tgtEl>
                                          <p:spTgt spid="36"/>
                                        </p:tgtEl>
                                        <p:attrNameLst>
                                          <p:attrName>ppt_x</p:attrName>
                                        </p:attrNameLst>
                                      </p:cBhvr>
                                      <p:tavLst>
                                        <p:tav tm="0">
                                          <p:val>
                                            <p:strVal val="#ppt_x"/>
                                          </p:val>
                                        </p:tav>
                                        <p:tav tm="100000">
                                          <p:val>
                                            <p:strVal val="#ppt_x"/>
                                          </p:val>
                                        </p:tav>
                                      </p:tavLst>
                                    </p:anim>
                                    <p:anim calcmode="lin" valueType="num">
                                      <p:cBhvr>
                                        <p:cTn id="69" dur="500" fill="hold"/>
                                        <p:tgtEl>
                                          <p:spTgt spid="3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70" fill="hold" display="0">
                  <p:stCondLst>
                    <p:cond delay="indefinite"/>
                  </p:stCondLst>
                  <p:endCondLst>
                    <p:cond evt="onStopAudio" delay="0">
                      <p:tgtEl>
                        <p:sldTgt/>
                      </p:tgtEl>
                    </p:cond>
                  </p:endCondLst>
                </p:cTn>
                <p:tgtEl>
                  <p:spTgt spid="23"/>
                </p:tgtEl>
              </p:cMediaNode>
            </p:audio>
          </p:childTnLst>
        </p:cTn>
      </p:par>
    </p:tnLst>
    <p:bldLst>
      <p:bldP spid="26" grpId="0" animBg="1"/>
      <p:bldP spid="27" grpId="0" animBg="1"/>
      <p:bldP spid="29" grpId="0"/>
      <p:bldP spid="30" grpId="0"/>
      <p:bldP spid="31" grpId="0" animBg="1"/>
      <p:bldP spid="32" grpId="0" animBg="1"/>
      <p:bldP spid="33" grpId="0"/>
      <p:bldP spid="34" grpId="0" animBg="1"/>
      <p:bldP spid="35" grpId="0" animBg="1"/>
      <p:bldP spid="36" grpId="0"/>
      <p:bldP spid="15" grpId="0" animBg="1"/>
      <p:bldP spid="1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任意多边形 21"/>
          <p:cNvSpPr>
            <a:spLocks noChangeArrowheads="1"/>
          </p:cNvSpPr>
          <p:nvPr/>
        </p:nvSpPr>
        <p:spPr bwMode="auto">
          <a:xfrm rot="5400000">
            <a:off x="7211293" y="1782294"/>
            <a:ext cx="920443" cy="2714784"/>
          </a:xfrm>
          <a:custGeom>
            <a:avLst/>
            <a:gdLst>
              <a:gd name="T0" fmla="*/ 0 w 1253008"/>
              <a:gd name="T1" fmla="*/ 3248525 h 3678400"/>
              <a:gd name="T2" fmla="*/ 0 w 1253008"/>
              <a:gd name="T3" fmla="*/ 109307 h 3678400"/>
              <a:gd name="T4" fmla="*/ 109284 w 1253008"/>
              <a:gd name="T5" fmla="*/ 0 h 3678400"/>
              <a:gd name="T6" fmla="*/ 343238 w 1253008"/>
              <a:gd name="T7" fmla="*/ 0 h 3678400"/>
              <a:gd name="T8" fmla="*/ 452522 w 1253008"/>
              <a:gd name="T9" fmla="*/ 109307 h 3678400"/>
              <a:gd name="T10" fmla="*/ 452522 w 1253008"/>
              <a:gd name="T11" fmla="*/ 3184856 h 3678400"/>
              <a:gd name="T12" fmla="*/ 458616 w 1253008"/>
              <a:gd name="T13" fmla="*/ 3192530 h 3678400"/>
              <a:gd name="T14" fmla="*/ 663816 w 1253008"/>
              <a:gd name="T15" fmla="*/ 3213467 h 3678400"/>
              <a:gd name="T16" fmla="*/ 663816 w 1253008"/>
              <a:gd name="T17" fmla="*/ 3212422 h 3678400"/>
              <a:gd name="T18" fmla="*/ 1291076 w 1253008"/>
              <a:gd name="T19" fmla="*/ 3696272 h 3678400"/>
              <a:gd name="T20" fmla="*/ 969285 w 1253008"/>
              <a:gd name="T21" fmla="*/ 3875390 h 3678400"/>
              <a:gd name="T22" fmla="*/ 869017 w 1253008"/>
              <a:gd name="T23" fmla="*/ 3686968 h 3678400"/>
              <a:gd name="T24" fmla="*/ 663816 w 1253008"/>
              <a:gd name="T25" fmla="*/ 3666032 h 3678400"/>
              <a:gd name="T26" fmla="*/ 663816 w 1253008"/>
              <a:gd name="T27" fmla="*/ 3667077 h 3678400"/>
              <a:gd name="T28" fmla="*/ 9631 w 1253008"/>
              <a:gd name="T29" fmla="*/ 3308878 h 3678400"/>
              <a:gd name="T30" fmla="*/ 9854 w 1253008"/>
              <a:gd name="T31" fmla="*/ 3292949 h 3678400"/>
              <a:gd name="T32" fmla="*/ 8588 w 1253008"/>
              <a:gd name="T33" fmla="*/ 3291073 h 3678400"/>
              <a:gd name="T34" fmla="*/ 0 w 1253008"/>
              <a:gd name="T35" fmla="*/ 3248525 h 367840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253008" h="3678400">
                <a:moveTo>
                  <a:pt x="0" y="3081115"/>
                </a:moveTo>
                <a:lnTo>
                  <a:pt x="0" y="103674"/>
                </a:lnTo>
                <a:cubicBezTo>
                  <a:pt x="0" y="46416"/>
                  <a:pt x="46417" y="0"/>
                  <a:pt x="103675" y="0"/>
                </a:cubicBezTo>
                <a:lnTo>
                  <a:pt x="325621" y="0"/>
                </a:lnTo>
                <a:cubicBezTo>
                  <a:pt x="382879" y="0"/>
                  <a:pt x="429296" y="46416"/>
                  <a:pt x="429296" y="103674"/>
                </a:cubicBezTo>
                <a:lnTo>
                  <a:pt x="429296" y="3020727"/>
                </a:lnTo>
                <a:lnTo>
                  <a:pt x="435077" y="3028006"/>
                </a:lnTo>
                <a:cubicBezTo>
                  <a:pt x="457198" y="3054483"/>
                  <a:pt x="525774" y="3047864"/>
                  <a:pt x="629745" y="3047864"/>
                </a:cubicBezTo>
                <a:lnTo>
                  <a:pt x="629745" y="3046873"/>
                </a:lnTo>
                <a:cubicBezTo>
                  <a:pt x="1187204" y="3046873"/>
                  <a:pt x="1319932" y="3393266"/>
                  <a:pt x="1224810" y="3505788"/>
                </a:cubicBezTo>
                <a:cubicBezTo>
                  <a:pt x="1162870" y="3580803"/>
                  <a:pt x="999172" y="3697739"/>
                  <a:pt x="919535" y="3675675"/>
                </a:cubicBezTo>
                <a:cubicBezTo>
                  <a:pt x="866444" y="3658025"/>
                  <a:pt x="901838" y="3578597"/>
                  <a:pt x="824413" y="3496963"/>
                </a:cubicBezTo>
                <a:cubicBezTo>
                  <a:pt x="802292" y="3470487"/>
                  <a:pt x="733716" y="3477106"/>
                  <a:pt x="629745" y="3477106"/>
                </a:cubicBezTo>
                <a:lnTo>
                  <a:pt x="629745" y="3478097"/>
                </a:lnTo>
                <a:cubicBezTo>
                  <a:pt x="211651" y="3478097"/>
                  <a:pt x="32468" y="3283251"/>
                  <a:pt x="9137" y="3138358"/>
                </a:cubicBezTo>
                <a:lnTo>
                  <a:pt x="9348" y="3123250"/>
                </a:lnTo>
                <a:lnTo>
                  <a:pt x="8147" y="3121470"/>
                </a:lnTo>
                <a:cubicBezTo>
                  <a:pt x="2901" y="3109066"/>
                  <a:pt x="0" y="3095429"/>
                  <a:pt x="0" y="3081115"/>
                </a:cubicBezTo>
                <a:close/>
              </a:path>
            </a:pathLst>
          </a:custGeom>
          <a:solidFill>
            <a:srgbClr val="00AEEF"/>
          </a:solidFill>
          <a:ln>
            <a:noFill/>
          </a:ln>
        </p:spPr>
        <p:txBody>
          <a:bodyPr lIns="67376" tIns="33688" rIns="67376" bIns="33688" anchor="ctr"/>
          <a:lstStyle/>
          <a:p>
            <a:endParaRPr lang="zh-CN" altLang="en-US">
              <a:solidFill>
                <a:schemeClr val="bg1">
                  <a:lumMod val="85000"/>
                </a:schemeClr>
              </a:solidFill>
            </a:endParaRPr>
          </a:p>
        </p:txBody>
      </p:sp>
      <p:grpSp>
        <p:nvGrpSpPr>
          <p:cNvPr id="23" name="组合 22"/>
          <p:cNvGrpSpPr/>
          <p:nvPr/>
        </p:nvGrpSpPr>
        <p:grpSpPr>
          <a:xfrm>
            <a:off x="5580111" y="1965618"/>
            <a:ext cx="862341" cy="1683545"/>
            <a:chOff x="7558505" y="2674384"/>
            <a:chExt cx="1168246" cy="2290964"/>
          </a:xfrm>
          <a:solidFill>
            <a:srgbClr val="0070C0"/>
          </a:solidFill>
        </p:grpSpPr>
        <p:sp>
          <p:nvSpPr>
            <p:cNvPr id="24" name="Freeform 18"/>
            <p:cNvSpPr/>
            <p:nvPr/>
          </p:nvSpPr>
          <p:spPr bwMode="auto">
            <a:xfrm rot="5400000">
              <a:off x="6850210" y="3382679"/>
              <a:ext cx="2290964" cy="874374"/>
            </a:xfrm>
            <a:custGeom>
              <a:avLst/>
              <a:gdLst>
                <a:gd name="T0" fmla="*/ 724 w 1036"/>
                <a:gd name="T1" fmla="*/ 101 h 396"/>
                <a:gd name="T2" fmla="*/ 724 w 1036"/>
                <a:gd name="T3" fmla="*/ 101 h 396"/>
                <a:gd name="T4" fmla="*/ 312 w 1036"/>
                <a:gd name="T5" fmla="*/ 101 h 396"/>
                <a:gd name="T6" fmla="*/ 312 w 1036"/>
                <a:gd name="T7" fmla="*/ 101 h 396"/>
                <a:gd name="T8" fmla="*/ 312 w 1036"/>
                <a:gd name="T9" fmla="*/ 101 h 396"/>
                <a:gd name="T10" fmla="*/ 311 w 1036"/>
                <a:gd name="T11" fmla="*/ 101 h 396"/>
                <a:gd name="T12" fmla="*/ 311 w 1036"/>
                <a:gd name="T13" fmla="*/ 101 h 396"/>
                <a:gd name="T14" fmla="*/ 224 w 1036"/>
                <a:gd name="T15" fmla="*/ 92 h 396"/>
                <a:gd name="T16" fmla="*/ 181 w 1036"/>
                <a:gd name="T17" fmla="*/ 11 h 396"/>
                <a:gd name="T18" fmla="*/ 43 w 1036"/>
                <a:gd name="T19" fmla="*/ 88 h 396"/>
                <a:gd name="T20" fmla="*/ 310 w 1036"/>
                <a:gd name="T21" fmla="*/ 295 h 396"/>
                <a:gd name="T22" fmla="*/ 310 w 1036"/>
                <a:gd name="T23" fmla="*/ 295 h 396"/>
                <a:gd name="T24" fmla="*/ 312 w 1036"/>
                <a:gd name="T25" fmla="*/ 295 h 396"/>
                <a:gd name="T26" fmla="*/ 312 w 1036"/>
                <a:gd name="T27" fmla="*/ 295 h 396"/>
                <a:gd name="T28" fmla="*/ 312 w 1036"/>
                <a:gd name="T29" fmla="*/ 295 h 396"/>
                <a:gd name="T30" fmla="*/ 724 w 1036"/>
                <a:gd name="T31" fmla="*/ 295 h 396"/>
                <a:gd name="T32" fmla="*/ 724 w 1036"/>
                <a:gd name="T33" fmla="*/ 295 h 396"/>
                <a:gd name="T34" fmla="*/ 812 w 1036"/>
                <a:gd name="T35" fmla="*/ 305 h 396"/>
                <a:gd name="T36" fmla="*/ 855 w 1036"/>
                <a:gd name="T37" fmla="*/ 386 h 396"/>
                <a:gd name="T38" fmla="*/ 993 w 1036"/>
                <a:gd name="T39" fmla="*/ 309 h 396"/>
                <a:gd name="T40" fmla="*/ 724 w 1036"/>
                <a:gd name="T41" fmla="*/ 10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6" h="396">
                  <a:moveTo>
                    <a:pt x="724" y="101"/>
                  </a:moveTo>
                  <a:cubicBezTo>
                    <a:pt x="724" y="101"/>
                    <a:pt x="724" y="101"/>
                    <a:pt x="724" y="101"/>
                  </a:cubicBezTo>
                  <a:cubicBezTo>
                    <a:pt x="724" y="101"/>
                    <a:pt x="343" y="101"/>
                    <a:pt x="312" y="101"/>
                  </a:cubicBezTo>
                  <a:cubicBezTo>
                    <a:pt x="312" y="101"/>
                    <a:pt x="312" y="101"/>
                    <a:pt x="312" y="101"/>
                  </a:cubicBezTo>
                  <a:cubicBezTo>
                    <a:pt x="312" y="101"/>
                    <a:pt x="312" y="101"/>
                    <a:pt x="312" y="101"/>
                  </a:cubicBezTo>
                  <a:cubicBezTo>
                    <a:pt x="311" y="101"/>
                    <a:pt x="311" y="101"/>
                    <a:pt x="311" y="101"/>
                  </a:cubicBezTo>
                  <a:cubicBezTo>
                    <a:pt x="311" y="101"/>
                    <a:pt x="311" y="101"/>
                    <a:pt x="311" y="101"/>
                  </a:cubicBezTo>
                  <a:cubicBezTo>
                    <a:pt x="265" y="101"/>
                    <a:pt x="234" y="103"/>
                    <a:pt x="224" y="92"/>
                  </a:cubicBezTo>
                  <a:cubicBezTo>
                    <a:pt x="189" y="55"/>
                    <a:pt x="205" y="18"/>
                    <a:pt x="181" y="11"/>
                  </a:cubicBezTo>
                  <a:cubicBezTo>
                    <a:pt x="145" y="0"/>
                    <a:pt x="71" y="54"/>
                    <a:pt x="43" y="88"/>
                  </a:cubicBezTo>
                  <a:cubicBezTo>
                    <a:pt x="0" y="139"/>
                    <a:pt x="60" y="295"/>
                    <a:pt x="310" y="295"/>
                  </a:cubicBezTo>
                  <a:cubicBezTo>
                    <a:pt x="310" y="295"/>
                    <a:pt x="310" y="295"/>
                    <a:pt x="310" y="295"/>
                  </a:cubicBezTo>
                  <a:cubicBezTo>
                    <a:pt x="312" y="295"/>
                    <a:pt x="312" y="295"/>
                    <a:pt x="312" y="295"/>
                  </a:cubicBezTo>
                  <a:cubicBezTo>
                    <a:pt x="312" y="295"/>
                    <a:pt x="312" y="295"/>
                    <a:pt x="312" y="295"/>
                  </a:cubicBezTo>
                  <a:cubicBezTo>
                    <a:pt x="312" y="295"/>
                    <a:pt x="312" y="295"/>
                    <a:pt x="312" y="295"/>
                  </a:cubicBezTo>
                  <a:cubicBezTo>
                    <a:pt x="724" y="295"/>
                    <a:pt x="724" y="295"/>
                    <a:pt x="724" y="295"/>
                  </a:cubicBezTo>
                  <a:cubicBezTo>
                    <a:pt x="724" y="295"/>
                    <a:pt x="724" y="295"/>
                    <a:pt x="724" y="295"/>
                  </a:cubicBezTo>
                  <a:cubicBezTo>
                    <a:pt x="771" y="295"/>
                    <a:pt x="802" y="293"/>
                    <a:pt x="812" y="305"/>
                  </a:cubicBezTo>
                  <a:cubicBezTo>
                    <a:pt x="847" y="342"/>
                    <a:pt x="831" y="378"/>
                    <a:pt x="855" y="386"/>
                  </a:cubicBezTo>
                  <a:cubicBezTo>
                    <a:pt x="891" y="396"/>
                    <a:pt x="965" y="342"/>
                    <a:pt x="993" y="309"/>
                  </a:cubicBezTo>
                  <a:cubicBezTo>
                    <a:pt x="1036" y="257"/>
                    <a:pt x="976" y="101"/>
                    <a:pt x="724" y="101"/>
                  </a:cubicBezTo>
                  <a:close/>
                </a:path>
              </a:pathLst>
            </a:custGeom>
            <a:grpFill/>
            <a:ln>
              <a:noFill/>
            </a:ln>
            <a:effectLst/>
          </p:spPr>
          <p:txBody>
            <a:bodyPr lIns="128564" tIns="64282" rIns="128564" bIns="64282"/>
            <a:lstStyle/>
            <a:p>
              <a:pPr eaLnBrk="1" hangingPunct="1">
                <a:lnSpc>
                  <a:spcPct val="130000"/>
                </a:lnSpc>
                <a:defRPr/>
              </a:pPr>
              <a:endParaRPr lang="en-US" sz="240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25" name="Freeform 19"/>
            <p:cNvSpPr/>
            <p:nvPr/>
          </p:nvSpPr>
          <p:spPr bwMode="auto">
            <a:xfrm rot="5400000">
              <a:off x="7427090" y="3575662"/>
              <a:ext cx="2109880" cy="489442"/>
            </a:xfrm>
            <a:custGeom>
              <a:avLst/>
              <a:gdLst>
                <a:gd name="T0" fmla="*/ 918 w 954"/>
                <a:gd name="T1" fmla="*/ 14 h 222"/>
                <a:gd name="T2" fmla="*/ 221 w 954"/>
                <a:gd name="T3" fmla="*/ 14 h 222"/>
                <a:gd name="T4" fmla="*/ 179 w 954"/>
                <a:gd name="T5" fmla="*/ 33 h 222"/>
                <a:gd name="T6" fmla="*/ 175 w 954"/>
                <a:gd name="T7" fmla="*/ 37 h 222"/>
                <a:gd name="T8" fmla="*/ 0 w 954"/>
                <a:gd name="T9" fmla="*/ 222 h 222"/>
                <a:gd name="T10" fmla="*/ 36 w 954"/>
                <a:gd name="T11" fmla="*/ 208 h 222"/>
                <a:gd name="T12" fmla="*/ 733 w 954"/>
                <a:gd name="T13" fmla="*/ 208 h 222"/>
                <a:gd name="T14" fmla="*/ 775 w 954"/>
                <a:gd name="T15" fmla="*/ 189 h 222"/>
                <a:gd name="T16" fmla="*/ 779 w 954"/>
                <a:gd name="T17" fmla="*/ 185 h 222"/>
                <a:gd name="T18" fmla="*/ 954 w 954"/>
                <a:gd name="T19" fmla="*/ 0 h 222"/>
                <a:gd name="T20" fmla="*/ 918 w 954"/>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4" h="222">
                  <a:moveTo>
                    <a:pt x="918" y="14"/>
                  </a:moveTo>
                  <a:cubicBezTo>
                    <a:pt x="221" y="14"/>
                    <a:pt x="221" y="14"/>
                    <a:pt x="221" y="14"/>
                  </a:cubicBezTo>
                  <a:cubicBezTo>
                    <a:pt x="213" y="14"/>
                    <a:pt x="195" y="16"/>
                    <a:pt x="179" y="33"/>
                  </a:cubicBezTo>
                  <a:cubicBezTo>
                    <a:pt x="178" y="34"/>
                    <a:pt x="176" y="35"/>
                    <a:pt x="175" y="37"/>
                  </a:cubicBezTo>
                  <a:cubicBezTo>
                    <a:pt x="0" y="222"/>
                    <a:pt x="0" y="222"/>
                    <a:pt x="0" y="222"/>
                  </a:cubicBezTo>
                  <a:cubicBezTo>
                    <a:pt x="3" y="220"/>
                    <a:pt x="17" y="208"/>
                    <a:pt x="36" y="208"/>
                  </a:cubicBezTo>
                  <a:cubicBezTo>
                    <a:pt x="733" y="208"/>
                    <a:pt x="733" y="208"/>
                    <a:pt x="733" y="208"/>
                  </a:cubicBezTo>
                  <a:cubicBezTo>
                    <a:pt x="741" y="208"/>
                    <a:pt x="759" y="206"/>
                    <a:pt x="775" y="189"/>
                  </a:cubicBezTo>
                  <a:cubicBezTo>
                    <a:pt x="776" y="188"/>
                    <a:pt x="778" y="186"/>
                    <a:pt x="779" y="185"/>
                  </a:cubicBezTo>
                  <a:cubicBezTo>
                    <a:pt x="954" y="0"/>
                    <a:pt x="954" y="0"/>
                    <a:pt x="954" y="0"/>
                  </a:cubicBezTo>
                  <a:cubicBezTo>
                    <a:pt x="951" y="2"/>
                    <a:pt x="937" y="14"/>
                    <a:pt x="918" y="14"/>
                  </a:cubicBezTo>
                  <a:close/>
                </a:path>
              </a:pathLst>
            </a:custGeom>
            <a:grpFill/>
            <a:ln>
              <a:noFill/>
            </a:ln>
          </p:spPr>
          <p:txBody>
            <a:bodyPr lIns="128564" tIns="64282" rIns="128564" bIns="64282"/>
            <a:lstStyle/>
            <a:p>
              <a:pPr eaLnBrk="1" hangingPunct="1">
                <a:lnSpc>
                  <a:spcPct val="130000"/>
                </a:lnSpc>
                <a:defRPr/>
              </a:pPr>
              <a:endParaRPr lang="en-US" sz="240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26" name="组合 25"/>
          <p:cNvGrpSpPr/>
          <p:nvPr/>
        </p:nvGrpSpPr>
        <p:grpSpPr>
          <a:xfrm>
            <a:off x="4859838" y="1962576"/>
            <a:ext cx="862341" cy="1685066"/>
            <a:chOff x="6582724" y="2670245"/>
            <a:chExt cx="1168246" cy="2293034"/>
          </a:xfrm>
          <a:solidFill>
            <a:srgbClr val="00AEEF"/>
          </a:solidFill>
        </p:grpSpPr>
        <p:sp>
          <p:nvSpPr>
            <p:cNvPr id="27" name="Freeform 9"/>
            <p:cNvSpPr/>
            <p:nvPr/>
          </p:nvSpPr>
          <p:spPr bwMode="auto">
            <a:xfrm rot="5400000">
              <a:off x="5873394" y="3379575"/>
              <a:ext cx="2293034" cy="874374"/>
            </a:xfrm>
            <a:custGeom>
              <a:avLst/>
              <a:gdLst>
                <a:gd name="T0" fmla="*/ 725 w 1037"/>
                <a:gd name="T1" fmla="*/ 101 h 396"/>
                <a:gd name="T2" fmla="*/ 725 w 1037"/>
                <a:gd name="T3" fmla="*/ 101 h 396"/>
                <a:gd name="T4" fmla="*/ 312 w 1037"/>
                <a:gd name="T5" fmla="*/ 101 h 396"/>
                <a:gd name="T6" fmla="*/ 312 w 1037"/>
                <a:gd name="T7" fmla="*/ 101 h 396"/>
                <a:gd name="T8" fmla="*/ 312 w 1037"/>
                <a:gd name="T9" fmla="*/ 101 h 396"/>
                <a:gd name="T10" fmla="*/ 311 w 1037"/>
                <a:gd name="T11" fmla="*/ 101 h 396"/>
                <a:gd name="T12" fmla="*/ 311 w 1037"/>
                <a:gd name="T13" fmla="*/ 101 h 396"/>
                <a:gd name="T14" fmla="*/ 224 w 1037"/>
                <a:gd name="T15" fmla="*/ 92 h 396"/>
                <a:gd name="T16" fmla="*/ 181 w 1037"/>
                <a:gd name="T17" fmla="*/ 11 h 396"/>
                <a:gd name="T18" fmla="*/ 43 w 1037"/>
                <a:gd name="T19" fmla="*/ 88 h 396"/>
                <a:gd name="T20" fmla="*/ 310 w 1037"/>
                <a:gd name="T21" fmla="*/ 296 h 396"/>
                <a:gd name="T22" fmla="*/ 310 w 1037"/>
                <a:gd name="T23" fmla="*/ 296 h 396"/>
                <a:gd name="T24" fmla="*/ 312 w 1037"/>
                <a:gd name="T25" fmla="*/ 296 h 396"/>
                <a:gd name="T26" fmla="*/ 312 w 1037"/>
                <a:gd name="T27" fmla="*/ 296 h 396"/>
                <a:gd name="T28" fmla="*/ 312 w 1037"/>
                <a:gd name="T29" fmla="*/ 296 h 396"/>
                <a:gd name="T30" fmla="*/ 725 w 1037"/>
                <a:gd name="T31" fmla="*/ 295 h 396"/>
                <a:gd name="T32" fmla="*/ 725 w 1037"/>
                <a:gd name="T33" fmla="*/ 296 h 396"/>
                <a:gd name="T34" fmla="*/ 813 w 1037"/>
                <a:gd name="T35" fmla="*/ 305 h 396"/>
                <a:gd name="T36" fmla="*/ 856 w 1037"/>
                <a:gd name="T37" fmla="*/ 386 h 396"/>
                <a:gd name="T38" fmla="*/ 994 w 1037"/>
                <a:gd name="T39" fmla="*/ 309 h 396"/>
                <a:gd name="T40" fmla="*/ 725 w 1037"/>
                <a:gd name="T41" fmla="*/ 10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7" h="396">
                  <a:moveTo>
                    <a:pt x="725" y="101"/>
                  </a:moveTo>
                  <a:cubicBezTo>
                    <a:pt x="725" y="101"/>
                    <a:pt x="725" y="101"/>
                    <a:pt x="725" y="101"/>
                  </a:cubicBezTo>
                  <a:cubicBezTo>
                    <a:pt x="725" y="101"/>
                    <a:pt x="343" y="101"/>
                    <a:pt x="312" y="101"/>
                  </a:cubicBezTo>
                  <a:cubicBezTo>
                    <a:pt x="312" y="101"/>
                    <a:pt x="312" y="101"/>
                    <a:pt x="312" y="101"/>
                  </a:cubicBezTo>
                  <a:cubicBezTo>
                    <a:pt x="312" y="101"/>
                    <a:pt x="312" y="101"/>
                    <a:pt x="312" y="101"/>
                  </a:cubicBezTo>
                  <a:cubicBezTo>
                    <a:pt x="312" y="101"/>
                    <a:pt x="312" y="101"/>
                    <a:pt x="311" y="101"/>
                  </a:cubicBezTo>
                  <a:cubicBezTo>
                    <a:pt x="311" y="101"/>
                    <a:pt x="311" y="101"/>
                    <a:pt x="311" y="101"/>
                  </a:cubicBezTo>
                  <a:cubicBezTo>
                    <a:pt x="265" y="101"/>
                    <a:pt x="235" y="103"/>
                    <a:pt x="224" y="92"/>
                  </a:cubicBezTo>
                  <a:cubicBezTo>
                    <a:pt x="189" y="55"/>
                    <a:pt x="206" y="19"/>
                    <a:pt x="181" y="11"/>
                  </a:cubicBezTo>
                  <a:cubicBezTo>
                    <a:pt x="146" y="0"/>
                    <a:pt x="72" y="54"/>
                    <a:pt x="43" y="88"/>
                  </a:cubicBezTo>
                  <a:cubicBezTo>
                    <a:pt x="0" y="139"/>
                    <a:pt x="60" y="295"/>
                    <a:pt x="310" y="296"/>
                  </a:cubicBezTo>
                  <a:cubicBezTo>
                    <a:pt x="310" y="296"/>
                    <a:pt x="310" y="296"/>
                    <a:pt x="310" y="296"/>
                  </a:cubicBezTo>
                  <a:cubicBezTo>
                    <a:pt x="312" y="296"/>
                    <a:pt x="312" y="296"/>
                    <a:pt x="312" y="296"/>
                  </a:cubicBezTo>
                  <a:cubicBezTo>
                    <a:pt x="312" y="296"/>
                    <a:pt x="312" y="296"/>
                    <a:pt x="312" y="296"/>
                  </a:cubicBezTo>
                  <a:cubicBezTo>
                    <a:pt x="312" y="296"/>
                    <a:pt x="312" y="296"/>
                    <a:pt x="312" y="296"/>
                  </a:cubicBezTo>
                  <a:cubicBezTo>
                    <a:pt x="725" y="295"/>
                    <a:pt x="725" y="295"/>
                    <a:pt x="725" y="295"/>
                  </a:cubicBezTo>
                  <a:cubicBezTo>
                    <a:pt x="725" y="296"/>
                    <a:pt x="725" y="296"/>
                    <a:pt x="725" y="296"/>
                  </a:cubicBezTo>
                  <a:cubicBezTo>
                    <a:pt x="771" y="296"/>
                    <a:pt x="802" y="293"/>
                    <a:pt x="813" y="305"/>
                  </a:cubicBezTo>
                  <a:cubicBezTo>
                    <a:pt x="848" y="342"/>
                    <a:pt x="831" y="378"/>
                    <a:pt x="856" y="386"/>
                  </a:cubicBezTo>
                  <a:cubicBezTo>
                    <a:pt x="891" y="396"/>
                    <a:pt x="965" y="342"/>
                    <a:pt x="994" y="309"/>
                  </a:cubicBezTo>
                  <a:cubicBezTo>
                    <a:pt x="1037" y="257"/>
                    <a:pt x="976" y="101"/>
                    <a:pt x="725" y="101"/>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28" name="Freeform 11"/>
            <p:cNvSpPr/>
            <p:nvPr/>
          </p:nvSpPr>
          <p:spPr bwMode="auto">
            <a:xfrm rot="5400000">
              <a:off x="6451826" y="3571005"/>
              <a:ext cx="2107811" cy="490477"/>
            </a:xfrm>
            <a:custGeom>
              <a:avLst/>
              <a:gdLst>
                <a:gd name="T0" fmla="*/ 918 w 953"/>
                <a:gd name="T1" fmla="*/ 14 h 222"/>
                <a:gd name="T2" fmla="*/ 220 w 953"/>
                <a:gd name="T3" fmla="*/ 14 h 222"/>
                <a:gd name="T4" fmla="*/ 179 w 953"/>
                <a:gd name="T5" fmla="*/ 33 h 222"/>
                <a:gd name="T6" fmla="*/ 174 w 953"/>
                <a:gd name="T7" fmla="*/ 37 h 222"/>
                <a:gd name="T8" fmla="*/ 0 w 953"/>
                <a:gd name="T9" fmla="*/ 222 h 222"/>
                <a:gd name="T10" fmla="*/ 35 w 953"/>
                <a:gd name="T11" fmla="*/ 208 h 222"/>
                <a:gd name="T12" fmla="*/ 733 w 953"/>
                <a:gd name="T13" fmla="*/ 208 h 222"/>
                <a:gd name="T14" fmla="*/ 774 w 953"/>
                <a:gd name="T15" fmla="*/ 189 h 222"/>
                <a:gd name="T16" fmla="*/ 779 w 953"/>
                <a:gd name="T17" fmla="*/ 185 h 222"/>
                <a:gd name="T18" fmla="*/ 953 w 953"/>
                <a:gd name="T19" fmla="*/ 0 h 222"/>
                <a:gd name="T20" fmla="*/ 918 w 953"/>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3" h="222">
                  <a:moveTo>
                    <a:pt x="918" y="14"/>
                  </a:moveTo>
                  <a:cubicBezTo>
                    <a:pt x="220" y="14"/>
                    <a:pt x="220" y="14"/>
                    <a:pt x="220" y="14"/>
                  </a:cubicBezTo>
                  <a:cubicBezTo>
                    <a:pt x="213" y="14"/>
                    <a:pt x="194" y="16"/>
                    <a:pt x="179" y="33"/>
                  </a:cubicBezTo>
                  <a:cubicBezTo>
                    <a:pt x="177" y="34"/>
                    <a:pt x="176" y="35"/>
                    <a:pt x="174" y="37"/>
                  </a:cubicBezTo>
                  <a:cubicBezTo>
                    <a:pt x="0" y="222"/>
                    <a:pt x="0" y="222"/>
                    <a:pt x="0" y="222"/>
                  </a:cubicBezTo>
                  <a:cubicBezTo>
                    <a:pt x="2" y="220"/>
                    <a:pt x="16" y="208"/>
                    <a:pt x="35" y="208"/>
                  </a:cubicBezTo>
                  <a:cubicBezTo>
                    <a:pt x="733" y="208"/>
                    <a:pt x="733" y="208"/>
                    <a:pt x="733" y="208"/>
                  </a:cubicBezTo>
                  <a:cubicBezTo>
                    <a:pt x="740" y="208"/>
                    <a:pt x="758" y="206"/>
                    <a:pt x="774" y="189"/>
                  </a:cubicBezTo>
                  <a:cubicBezTo>
                    <a:pt x="776" y="188"/>
                    <a:pt x="777" y="186"/>
                    <a:pt x="779" y="185"/>
                  </a:cubicBezTo>
                  <a:cubicBezTo>
                    <a:pt x="953" y="0"/>
                    <a:pt x="953" y="0"/>
                    <a:pt x="953" y="0"/>
                  </a:cubicBezTo>
                  <a:cubicBezTo>
                    <a:pt x="951" y="2"/>
                    <a:pt x="937" y="14"/>
                    <a:pt x="918" y="14"/>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29" name="组合 28"/>
          <p:cNvGrpSpPr/>
          <p:nvPr/>
        </p:nvGrpSpPr>
        <p:grpSpPr>
          <a:xfrm>
            <a:off x="4156035" y="2011902"/>
            <a:ext cx="847399" cy="1582179"/>
            <a:chOff x="5629255" y="2737367"/>
            <a:chExt cx="1148004" cy="2153026"/>
          </a:xfrm>
          <a:solidFill>
            <a:srgbClr val="0070C0"/>
          </a:solidFill>
        </p:grpSpPr>
        <p:sp>
          <p:nvSpPr>
            <p:cNvPr id="30" name="任意多边形 29"/>
            <p:cNvSpPr/>
            <p:nvPr/>
          </p:nvSpPr>
          <p:spPr>
            <a:xfrm>
              <a:off x="5629255" y="2737367"/>
              <a:ext cx="833033" cy="2153026"/>
            </a:xfrm>
            <a:custGeom>
              <a:avLst/>
              <a:gdLst>
                <a:gd name="connsiteX0" fmla="*/ 540647 w 833033"/>
                <a:gd name="connsiteY0" fmla="*/ 2768 h 2153026"/>
                <a:gd name="connsiteX1" fmla="*/ 659667 w 833033"/>
                <a:gd name="connsiteY1" fmla="*/ 28000 h 2153026"/>
                <a:gd name="connsiteX2" fmla="*/ 829824 w 833033"/>
                <a:gd name="connsiteY2" fmla="*/ 333275 h 2153026"/>
                <a:gd name="connsiteX3" fmla="*/ 650828 w 833033"/>
                <a:gd name="connsiteY3" fmla="*/ 428397 h 2153026"/>
                <a:gd name="connsiteX4" fmla="*/ 631768 w 833033"/>
                <a:gd name="connsiteY4" fmla="*/ 496697 h 2153026"/>
                <a:gd name="connsiteX5" fmla="*/ 630992 w 833033"/>
                <a:gd name="connsiteY5" fmla="*/ 615033 h 2153026"/>
                <a:gd name="connsiteX6" fmla="*/ 631527 w 833033"/>
                <a:gd name="connsiteY6" fmla="*/ 615033 h 2153026"/>
                <a:gd name="connsiteX7" fmla="*/ 631527 w 833033"/>
                <a:gd name="connsiteY7" fmla="*/ 1529763 h 2153026"/>
                <a:gd name="connsiteX8" fmla="*/ 631528 w 833033"/>
                <a:gd name="connsiteY8" fmla="*/ 1529763 h 2153026"/>
                <a:gd name="connsiteX9" fmla="*/ 172612 w 833033"/>
                <a:gd name="connsiteY9" fmla="*/ 2124828 h 2153026"/>
                <a:gd name="connsiteX10" fmla="*/ 2725 w 833033"/>
                <a:gd name="connsiteY10" fmla="*/ 1819553 h 2153026"/>
                <a:gd name="connsiteX11" fmla="*/ 181437 w 833033"/>
                <a:gd name="connsiteY11" fmla="*/ 1724431 h 2153026"/>
                <a:gd name="connsiteX12" fmla="*/ 201294 w 833033"/>
                <a:gd name="connsiteY12" fmla="*/ 1529763 h 2153026"/>
                <a:gd name="connsiteX13" fmla="*/ 202134 w 833033"/>
                <a:gd name="connsiteY13" fmla="*/ 1529763 h 2153026"/>
                <a:gd name="connsiteX14" fmla="*/ 202231 w 833033"/>
                <a:gd name="connsiteY14" fmla="*/ 1529763 h 2153026"/>
                <a:gd name="connsiteX15" fmla="*/ 202231 w 833033"/>
                <a:gd name="connsiteY15" fmla="*/ 623065 h 2153026"/>
                <a:gd name="connsiteX16" fmla="*/ 202231 w 833033"/>
                <a:gd name="connsiteY16" fmla="*/ 615033 h 2153026"/>
                <a:gd name="connsiteX17" fmla="*/ 202547 w 833033"/>
                <a:gd name="connsiteY17" fmla="*/ 615033 h 2153026"/>
                <a:gd name="connsiteX18" fmla="*/ 206130 w 833033"/>
                <a:gd name="connsiteY18" fmla="*/ 523835 h 2153026"/>
                <a:gd name="connsiteX19" fmla="*/ 540647 w 833033"/>
                <a:gd name="connsiteY19" fmla="*/ 2768 h 215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33033" h="2153026">
                  <a:moveTo>
                    <a:pt x="540647" y="2768"/>
                  </a:moveTo>
                  <a:cubicBezTo>
                    <a:pt x="588814" y="-5182"/>
                    <a:pt x="631491" y="4219"/>
                    <a:pt x="659667" y="28000"/>
                  </a:cubicBezTo>
                  <a:cubicBezTo>
                    <a:pt x="734801" y="92152"/>
                    <a:pt x="854132" y="255850"/>
                    <a:pt x="829824" y="333275"/>
                  </a:cubicBezTo>
                  <a:cubicBezTo>
                    <a:pt x="814355" y="388578"/>
                    <a:pt x="732591" y="350972"/>
                    <a:pt x="650828" y="428397"/>
                  </a:cubicBezTo>
                  <a:cubicBezTo>
                    <a:pt x="638674" y="440564"/>
                    <a:pt x="633701" y="463791"/>
                    <a:pt x="631768" y="496697"/>
                  </a:cubicBezTo>
                  <a:lnTo>
                    <a:pt x="630992" y="615033"/>
                  </a:lnTo>
                  <a:lnTo>
                    <a:pt x="631527" y="615033"/>
                  </a:lnTo>
                  <a:lnTo>
                    <a:pt x="631527" y="1529763"/>
                  </a:lnTo>
                  <a:lnTo>
                    <a:pt x="631528" y="1529763"/>
                  </a:lnTo>
                  <a:cubicBezTo>
                    <a:pt x="631528" y="2087221"/>
                    <a:pt x="285135" y="2219950"/>
                    <a:pt x="172612" y="2124828"/>
                  </a:cubicBezTo>
                  <a:cubicBezTo>
                    <a:pt x="97597" y="2062888"/>
                    <a:pt x="-19339" y="1899190"/>
                    <a:pt x="2725" y="1819553"/>
                  </a:cubicBezTo>
                  <a:cubicBezTo>
                    <a:pt x="20375" y="1766461"/>
                    <a:pt x="99803" y="1801856"/>
                    <a:pt x="181437" y="1724431"/>
                  </a:cubicBezTo>
                  <a:cubicBezTo>
                    <a:pt x="207913" y="1702309"/>
                    <a:pt x="201294" y="1633733"/>
                    <a:pt x="201294" y="1529763"/>
                  </a:cubicBezTo>
                  <a:cubicBezTo>
                    <a:pt x="201294" y="1529763"/>
                    <a:pt x="201294" y="1529763"/>
                    <a:pt x="202134" y="1529763"/>
                  </a:cubicBezTo>
                  <a:lnTo>
                    <a:pt x="202231" y="1529763"/>
                  </a:lnTo>
                  <a:lnTo>
                    <a:pt x="202231" y="623065"/>
                  </a:lnTo>
                  <a:lnTo>
                    <a:pt x="202231" y="615033"/>
                  </a:lnTo>
                  <a:lnTo>
                    <a:pt x="202547" y="615033"/>
                  </a:lnTo>
                  <a:lnTo>
                    <a:pt x="206130" y="523835"/>
                  </a:lnTo>
                  <a:cubicBezTo>
                    <a:pt x="234207" y="177712"/>
                    <a:pt x="408186" y="24630"/>
                    <a:pt x="540647" y="276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130000"/>
                </a:lnSpc>
                <a:defRPr/>
              </a:pPr>
              <a:endParaRPr lang="en-US" noProof="1">
                <a:solidFill>
                  <a:schemeClr val="bg1">
                    <a:lumMod val="85000"/>
                  </a:schemeClr>
                </a:solidFill>
                <a:sym typeface="Arial" panose="020B0604020202020204" pitchFamily="34" charset="0"/>
              </a:endParaRPr>
            </a:p>
          </p:txBody>
        </p:sp>
        <p:sp>
          <p:nvSpPr>
            <p:cNvPr id="31" name="Freeform 10"/>
            <p:cNvSpPr/>
            <p:nvPr/>
          </p:nvSpPr>
          <p:spPr bwMode="auto">
            <a:xfrm rot="5400000">
              <a:off x="5478115" y="3571005"/>
              <a:ext cx="2107811" cy="490477"/>
            </a:xfrm>
            <a:custGeom>
              <a:avLst/>
              <a:gdLst>
                <a:gd name="T0" fmla="*/ 918 w 953"/>
                <a:gd name="T1" fmla="*/ 14 h 222"/>
                <a:gd name="T2" fmla="*/ 220 w 953"/>
                <a:gd name="T3" fmla="*/ 14 h 222"/>
                <a:gd name="T4" fmla="*/ 179 w 953"/>
                <a:gd name="T5" fmla="*/ 33 h 222"/>
                <a:gd name="T6" fmla="*/ 174 w 953"/>
                <a:gd name="T7" fmla="*/ 37 h 222"/>
                <a:gd name="T8" fmla="*/ 0 w 953"/>
                <a:gd name="T9" fmla="*/ 222 h 222"/>
                <a:gd name="T10" fmla="*/ 35 w 953"/>
                <a:gd name="T11" fmla="*/ 208 h 222"/>
                <a:gd name="T12" fmla="*/ 733 w 953"/>
                <a:gd name="T13" fmla="*/ 208 h 222"/>
                <a:gd name="T14" fmla="*/ 774 w 953"/>
                <a:gd name="T15" fmla="*/ 189 h 222"/>
                <a:gd name="T16" fmla="*/ 779 w 953"/>
                <a:gd name="T17" fmla="*/ 185 h 222"/>
                <a:gd name="T18" fmla="*/ 953 w 953"/>
                <a:gd name="T19" fmla="*/ 0 h 222"/>
                <a:gd name="T20" fmla="*/ 918 w 953"/>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3" h="222">
                  <a:moveTo>
                    <a:pt x="918" y="14"/>
                  </a:moveTo>
                  <a:cubicBezTo>
                    <a:pt x="220" y="14"/>
                    <a:pt x="220" y="14"/>
                    <a:pt x="220" y="14"/>
                  </a:cubicBezTo>
                  <a:cubicBezTo>
                    <a:pt x="213" y="14"/>
                    <a:pt x="194" y="16"/>
                    <a:pt x="179" y="33"/>
                  </a:cubicBezTo>
                  <a:cubicBezTo>
                    <a:pt x="177" y="34"/>
                    <a:pt x="176" y="35"/>
                    <a:pt x="174" y="37"/>
                  </a:cubicBezTo>
                  <a:cubicBezTo>
                    <a:pt x="0" y="222"/>
                    <a:pt x="0" y="222"/>
                    <a:pt x="0" y="222"/>
                  </a:cubicBezTo>
                  <a:cubicBezTo>
                    <a:pt x="2" y="220"/>
                    <a:pt x="16" y="208"/>
                    <a:pt x="35" y="208"/>
                  </a:cubicBezTo>
                  <a:cubicBezTo>
                    <a:pt x="733" y="208"/>
                    <a:pt x="733" y="208"/>
                    <a:pt x="733" y="208"/>
                  </a:cubicBezTo>
                  <a:cubicBezTo>
                    <a:pt x="740" y="208"/>
                    <a:pt x="758" y="206"/>
                    <a:pt x="774" y="189"/>
                  </a:cubicBezTo>
                  <a:cubicBezTo>
                    <a:pt x="776" y="187"/>
                    <a:pt x="777" y="186"/>
                    <a:pt x="779" y="185"/>
                  </a:cubicBezTo>
                  <a:cubicBezTo>
                    <a:pt x="953" y="0"/>
                    <a:pt x="953" y="0"/>
                    <a:pt x="953" y="0"/>
                  </a:cubicBezTo>
                  <a:cubicBezTo>
                    <a:pt x="951" y="2"/>
                    <a:pt x="937" y="14"/>
                    <a:pt x="918" y="14"/>
                  </a:cubicBezTo>
                  <a:close/>
                </a:path>
              </a:pathLst>
            </a:custGeom>
            <a:grpFill/>
            <a:ln>
              <a:noFill/>
            </a:ln>
          </p:spPr>
          <p:txBody>
            <a:bodyPr lIns="128564" tIns="64282" rIns="128564" bIns="64282"/>
            <a:lstStyle/>
            <a:p>
              <a:pPr eaLnBrk="1" hangingPunct="1">
                <a:lnSpc>
                  <a:spcPct val="130000"/>
                </a:lnSpc>
                <a:defRPr/>
              </a:pPr>
              <a:endParaRPr lang="en-US" sz="240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32" name="组合 31"/>
          <p:cNvGrpSpPr/>
          <p:nvPr/>
        </p:nvGrpSpPr>
        <p:grpSpPr>
          <a:xfrm>
            <a:off x="3422253" y="1959717"/>
            <a:ext cx="862341" cy="1683545"/>
            <a:chOff x="4635171" y="2666353"/>
            <a:chExt cx="1168246" cy="2290964"/>
          </a:xfrm>
          <a:solidFill>
            <a:srgbClr val="00AEEF"/>
          </a:solidFill>
        </p:grpSpPr>
        <p:sp>
          <p:nvSpPr>
            <p:cNvPr id="33" name="Freeform 7"/>
            <p:cNvSpPr/>
            <p:nvPr/>
          </p:nvSpPr>
          <p:spPr bwMode="auto">
            <a:xfrm rot="5400000">
              <a:off x="3926876" y="3374648"/>
              <a:ext cx="2290964" cy="874374"/>
            </a:xfrm>
            <a:custGeom>
              <a:avLst/>
              <a:gdLst>
                <a:gd name="T0" fmla="*/ 724 w 1036"/>
                <a:gd name="T1" fmla="*/ 101 h 396"/>
                <a:gd name="T2" fmla="*/ 724 w 1036"/>
                <a:gd name="T3" fmla="*/ 101 h 396"/>
                <a:gd name="T4" fmla="*/ 312 w 1036"/>
                <a:gd name="T5" fmla="*/ 101 h 396"/>
                <a:gd name="T6" fmla="*/ 312 w 1036"/>
                <a:gd name="T7" fmla="*/ 101 h 396"/>
                <a:gd name="T8" fmla="*/ 312 w 1036"/>
                <a:gd name="T9" fmla="*/ 101 h 396"/>
                <a:gd name="T10" fmla="*/ 311 w 1036"/>
                <a:gd name="T11" fmla="*/ 101 h 396"/>
                <a:gd name="T12" fmla="*/ 311 w 1036"/>
                <a:gd name="T13" fmla="*/ 101 h 396"/>
                <a:gd name="T14" fmla="*/ 224 w 1036"/>
                <a:gd name="T15" fmla="*/ 92 h 396"/>
                <a:gd name="T16" fmla="*/ 181 w 1036"/>
                <a:gd name="T17" fmla="*/ 11 h 396"/>
                <a:gd name="T18" fmla="*/ 43 w 1036"/>
                <a:gd name="T19" fmla="*/ 88 h 396"/>
                <a:gd name="T20" fmla="*/ 310 w 1036"/>
                <a:gd name="T21" fmla="*/ 295 h 396"/>
                <a:gd name="T22" fmla="*/ 310 w 1036"/>
                <a:gd name="T23" fmla="*/ 295 h 396"/>
                <a:gd name="T24" fmla="*/ 312 w 1036"/>
                <a:gd name="T25" fmla="*/ 295 h 396"/>
                <a:gd name="T26" fmla="*/ 312 w 1036"/>
                <a:gd name="T27" fmla="*/ 295 h 396"/>
                <a:gd name="T28" fmla="*/ 312 w 1036"/>
                <a:gd name="T29" fmla="*/ 295 h 396"/>
                <a:gd name="T30" fmla="*/ 724 w 1036"/>
                <a:gd name="T31" fmla="*/ 295 h 396"/>
                <a:gd name="T32" fmla="*/ 724 w 1036"/>
                <a:gd name="T33" fmla="*/ 295 h 396"/>
                <a:gd name="T34" fmla="*/ 812 w 1036"/>
                <a:gd name="T35" fmla="*/ 305 h 396"/>
                <a:gd name="T36" fmla="*/ 855 w 1036"/>
                <a:gd name="T37" fmla="*/ 386 h 396"/>
                <a:gd name="T38" fmla="*/ 993 w 1036"/>
                <a:gd name="T39" fmla="*/ 309 h 396"/>
                <a:gd name="T40" fmla="*/ 724 w 1036"/>
                <a:gd name="T41" fmla="*/ 10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6" h="396">
                  <a:moveTo>
                    <a:pt x="724" y="101"/>
                  </a:moveTo>
                  <a:cubicBezTo>
                    <a:pt x="724" y="101"/>
                    <a:pt x="724" y="101"/>
                    <a:pt x="724" y="101"/>
                  </a:cubicBezTo>
                  <a:cubicBezTo>
                    <a:pt x="724" y="101"/>
                    <a:pt x="343" y="101"/>
                    <a:pt x="312" y="101"/>
                  </a:cubicBezTo>
                  <a:cubicBezTo>
                    <a:pt x="312" y="101"/>
                    <a:pt x="312" y="101"/>
                    <a:pt x="312" y="101"/>
                  </a:cubicBezTo>
                  <a:cubicBezTo>
                    <a:pt x="312" y="101"/>
                    <a:pt x="312" y="101"/>
                    <a:pt x="312" y="101"/>
                  </a:cubicBezTo>
                  <a:cubicBezTo>
                    <a:pt x="311" y="101"/>
                    <a:pt x="311" y="101"/>
                    <a:pt x="311" y="101"/>
                  </a:cubicBezTo>
                  <a:cubicBezTo>
                    <a:pt x="311" y="101"/>
                    <a:pt x="311" y="101"/>
                    <a:pt x="311" y="101"/>
                  </a:cubicBezTo>
                  <a:cubicBezTo>
                    <a:pt x="265" y="101"/>
                    <a:pt x="234" y="103"/>
                    <a:pt x="224" y="92"/>
                  </a:cubicBezTo>
                  <a:cubicBezTo>
                    <a:pt x="189" y="55"/>
                    <a:pt x="205" y="18"/>
                    <a:pt x="181" y="11"/>
                  </a:cubicBezTo>
                  <a:cubicBezTo>
                    <a:pt x="145" y="0"/>
                    <a:pt x="71" y="54"/>
                    <a:pt x="43" y="88"/>
                  </a:cubicBezTo>
                  <a:cubicBezTo>
                    <a:pt x="0" y="139"/>
                    <a:pt x="60" y="295"/>
                    <a:pt x="310" y="295"/>
                  </a:cubicBezTo>
                  <a:cubicBezTo>
                    <a:pt x="310" y="295"/>
                    <a:pt x="310" y="295"/>
                    <a:pt x="310" y="295"/>
                  </a:cubicBezTo>
                  <a:cubicBezTo>
                    <a:pt x="312" y="295"/>
                    <a:pt x="312" y="295"/>
                    <a:pt x="312" y="295"/>
                  </a:cubicBezTo>
                  <a:cubicBezTo>
                    <a:pt x="312" y="295"/>
                    <a:pt x="312" y="295"/>
                    <a:pt x="312" y="295"/>
                  </a:cubicBezTo>
                  <a:cubicBezTo>
                    <a:pt x="312" y="295"/>
                    <a:pt x="312" y="295"/>
                    <a:pt x="312" y="295"/>
                  </a:cubicBezTo>
                  <a:cubicBezTo>
                    <a:pt x="724" y="295"/>
                    <a:pt x="724" y="295"/>
                    <a:pt x="724" y="295"/>
                  </a:cubicBezTo>
                  <a:cubicBezTo>
                    <a:pt x="724" y="295"/>
                    <a:pt x="724" y="295"/>
                    <a:pt x="724" y="295"/>
                  </a:cubicBezTo>
                  <a:cubicBezTo>
                    <a:pt x="771" y="295"/>
                    <a:pt x="802" y="293"/>
                    <a:pt x="812" y="305"/>
                  </a:cubicBezTo>
                  <a:cubicBezTo>
                    <a:pt x="847" y="342"/>
                    <a:pt x="831" y="378"/>
                    <a:pt x="855" y="386"/>
                  </a:cubicBezTo>
                  <a:cubicBezTo>
                    <a:pt x="891" y="396"/>
                    <a:pt x="965" y="342"/>
                    <a:pt x="993" y="309"/>
                  </a:cubicBezTo>
                  <a:cubicBezTo>
                    <a:pt x="1036" y="257"/>
                    <a:pt x="976" y="101"/>
                    <a:pt x="724" y="101"/>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4" name="Freeform 8"/>
            <p:cNvSpPr/>
            <p:nvPr/>
          </p:nvSpPr>
          <p:spPr bwMode="auto">
            <a:xfrm rot="5400000">
              <a:off x="4503756" y="3567630"/>
              <a:ext cx="2109880" cy="489442"/>
            </a:xfrm>
            <a:custGeom>
              <a:avLst/>
              <a:gdLst>
                <a:gd name="T0" fmla="*/ 918 w 954"/>
                <a:gd name="T1" fmla="*/ 14 h 222"/>
                <a:gd name="T2" fmla="*/ 221 w 954"/>
                <a:gd name="T3" fmla="*/ 14 h 222"/>
                <a:gd name="T4" fmla="*/ 179 w 954"/>
                <a:gd name="T5" fmla="*/ 33 h 222"/>
                <a:gd name="T6" fmla="*/ 175 w 954"/>
                <a:gd name="T7" fmla="*/ 37 h 222"/>
                <a:gd name="T8" fmla="*/ 0 w 954"/>
                <a:gd name="T9" fmla="*/ 222 h 222"/>
                <a:gd name="T10" fmla="*/ 36 w 954"/>
                <a:gd name="T11" fmla="*/ 208 h 222"/>
                <a:gd name="T12" fmla="*/ 733 w 954"/>
                <a:gd name="T13" fmla="*/ 208 h 222"/>
                <a:gd name="T14" fmla="*/ 775 w 954"/>
                <a:gd name="T15" fmla="*/ 189 h 222"/>
                <a:gd name="T16" fmla="*/ 779 w 954"/>
                <a:gd name="T17" fmla="*/ 185 h 222"/>
                <a:gd name="T18" fmla="*/ 954 w 954"/>
                <a:gd name="T19" fmla="*/ 0 h 222"/>
                <a:gd name="T20" fmla="*/ 918 w 954"/>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4" h="222">
                  <a:moveTo>
                    <a:pt x="918" y="14"/>
                  </a:moveTo>
                  <a:cubicBezTo>
                    <a:pt x="221" y="14"/>
                    <a:pt x="221" y="14"/>
                    <a:pt x="221" y="14"/>
                  </a:cubicBezTo>
                  <a:cubicBezTo>
                    <a:pt x="213" y="14"/>
                    <a:pt x="195" y="16"/>
                    <a:pt x="179" y="33"/>
                  </a:cubicBezTo>
                  <a:cubicBezTo>
                    <a:pt x="178" y="34"/>
                    <a:pt x="176" y="35"/>
                    <a:pt x="175" y="37"/>
                  </a:cubicBezTo>
                  <a:cubicBezTo>
                    <a:pt x="0" y="222"/>
                    <a:pt x="0" y="222"/>
                    <a:pt x="0" y="222"/>
                  </a:cubicBezTo>
                  <a:cubicBezTo>
                    <a:pt x="3" y="220"/>
                    <a:pt x="17" y="208"/>
                    <a:pt x="36" y="208"/>
                  </a:cubicBezTo>
                  <a:cubicBezTo>
                    <a:pt x="733" y="208"/>
                    <a:pt x="733" y="208"/>
                    <a:pt x="733" y="208"/>
                  </a:cubicBezTo>
                  <a:cubicBezTo>
                    <a:pt x="741" y="208"/>
                    <a:pt x="759" y="206"/>
                    <a:pt x="775" y="189"/>
                  </a:cubicBezTo>
                  <a:cubicBezTo>
                    <a:pt x="776" y="188"/>
                    <a:pt x="778" y="186"/>
                    <a:pt x="779" y="185"/>
                  </a:cubicBezTo>
                  <a:cubicBezTo>
                    <a:pt x="954" y="0"/>
                    <a:pt x="954" y="0"/>
                    <a:pt x="954" y="0"/>
                  </a:cubicBezTo>
                  <a:cubicBezTo>
                    <a:pt x="951" y="2"/>
                    <a:pt x="937" y="14"/>
                    <a:pt x="918" y="14"/>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35" name="组合 34"/>
          <p:cNvGrpSpPr/>
          <p:nvPr/>
        </p:nvGrpSpPr>
        <p:grpSpPr>
          <a:xfrm>
            <a:off x="2701981" y="1956674"/>
            <a:ext cx="862341" cy="1685066"/>
            <a:chOff x="3659390" y="2662213"/>
            <a:chExt cx="1168246" cy="2293034"/>
          </a:xfrm>
          <a:solidFill>
            <a:srgbClr val="0070C0"/>
          </a:solidFill>
        </p:grpSpPr>
        <p:sp>
          <p:nvSpPr>
            <p:cNvPr id="36" name="Freeform 9"/>
            <p:cNvSpPr/>
            <p:nvPr/>
          </p:nvSpPr>
          <p:spPr bwMode="auto">
            <a:xfrm rot="5400000">
              <a:off x="2950060" y="3371543"/>
              <a:ext cx="2293034" cy="874374"/>
            </a:xfrm>
            <a:custGeom>
              <a:avLst/>
              <a:gdLst>
                <a:gd name="T0" fmla="*/ 725 w 1037"/>
                <a:gd name="T1" fmla="*/ 101 h 396"/>
                <a:gd name="T2" fmla="*/ 725 w 1037"/>
                <a:gd name="T3" fmla="*/ 101 h 396"/>
                <a:gd name="T4" fmla="*/ 312 w 1037"/>
                <a:gd name="T5" fmla="*/ 101 h 396"/>
                <a:gd name="T6" fmla="*/ 312 w 1037"/>
                <a:gd name="T7" fmla="*/ 101 h 396"/>
                <a:gd name="T8" fmla="*/ 312 w 1037"/>
                <a:gd name="T9" fmla="*/ 101 h 396"/>
                <a:gd name="T10" fmla="*/ 311 w 1037"/>
                <a:gd name="T11" fmla="*/ 101 h 396"/>
                <a:gd name="T12" fmla="*/ 311 w 1037"/>
                <a:gd name="T13" fmla="*/ 101 h 396"/>
                <a:gd name="T14" fmla="*/ 224 w 1037"/>
                <a:gd name="T15" fmla="*/ 92 h 396"/>
                <a:gd name="T16" fmla="*/ 181 w 1037"/>
                <a:gd name="T17" fmla="*/ 11 h 396"/>
                <a:gd name="T18" fmla="*/ 43 w 1037"/>
                <a:gd name="T19" fmla="*/ 88 h 396"/>
                <a:gd name="T20" fmla="*/ 310 w 1037"/>
                <a:gd name="T21" fmla="*/ 296 h 396"/>
                <a:gd name="T22" fmla="*/ 310 w 1037"/>
                <a:gd name="T23" fmla="*/ 296 h 396"/>
                <a:gd name="T24" fmla="*/ 312 w 1037"/>
                <a:gd name="T25" fmla="*/ 296 h 396"/>
                <a:gd name="T26" fmla="*/ 312 w 1037"/>
                <a:gd name="T27" fmla="*/ 296 h 396"/>
                <a:gd name="T28" fmla="*/ 312 w 1037"/>
                <a:gd name="T29" fmla="*/ 296 h 396"/>
                <a:gd name="T30" fmla="*/ 725 w 1037"/>
                <a:gd name="T31" fmla="*/ 295 h 396"/>
                <a:gd name="T32" fmla="*/ 725 w 1037"/>
                <a:gd name="T33" fmla="*/ 296 h 396"/>
                <a:gd name="T34" fmla="*/ 813 w 1037"/>
                <a:gd name="T35" fmla="*/ 305 h 396"/>
                <a:gd name="T36" fmla="*/ 856 w 1037"/>
                <a:gd name="T37" fmla="*/ 386 h 396"/>
                <a:gd name="T38" fmla="*/ 994 w 1037"/>
                <a:gd name="T39" fmla="*/ 309 h 396"/>
                <a:gd name="T40" fmla="*/ 725 w 1037"/>
                <a:gd name="T41" fmla="*/ 10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7" h="396">
                  <a:moveTo>
                    <a:pt x="725" y="101"/>
                  </a:moveTo>
                  <a:cubicBezTo>
                    <a:pt x="725" y="101"/>
                    <a:pt x="725" y="101"/>
                    <a:pt x="725" y="101"/>
                  </a:cubicBezTo>
                  <a:cubicBezTo>
                    <a:pt x="725" y="101"/>
                    <a:pt x="343" y="101"/>
                    <a:pt x="312" y="101"/>
                  </a:cubicBezTo>
                  <a:cubicBezTo>
                    <a:pt x="312" y="101"/>
                    <a:pt x="312" y="101"/>
                    <a:pt x="312" y="101"/>
                  </a:cubicBezTo>
                  <a:cubicBezTo>
                    <a:pt x="312" y="101"/>
                    <a:pt x="312" y="101"/>
                    <a:pt x="312" y="101"/>
                  </a:cubicBezTo>
                  <a:cubicBezTo>
                    <a:pt x="312" y="101"/>
                    <a:pt x="312" y="101"/>
                    <a:pt x="311" y="101"/>
                  </a:cubicBezTo>
                  <a:cubicBezTo>
                    <a:pt x="311" y="101"/>
                    <a:pt x="311" y="101"/>
                    <a:pt x="311" y="101"/>
                  </a:cubicBezTo>
                  <a:cubicBezTo>
                    <a:pt x="265" y="101"/>
                    <a:pt x="235" y="103"/>
                    <a:pt x="224" y="92"/>
                  </a:cubicBezTo>
                  <a:cubicBezTo>
                    <a:pt x="189" y="55"/>
                    <a:pt x="206" y="19"/>
                    <a:pt x="181" y="11"/>
                  </a:cubicBezTo>
                  <a:cubicBezTo>
                    <a:pt x="146" y="0"/>
                    <a:pt x="72" y="54"/>
                    <a:pt x="43" y="88"/>
                  </a:cubicBezTo>
                  <a:cubicBezTo>
                    <a:pt x="0" y="139"/>
                    <a:pt x="60" y="295"/>
                    <a:pt x="310" y="296"/>
                  </a:cubicBezTo>
                  <a:cubicBezTo>
                    <a:pt x="310" y="296"/>
                    <a:pt x="310" y="296"/>
                    <a:pt x="310" y="296"/>
                  </a:cubicBezTo>
                  <a:cubicBezTo>
                    <a:pt x="312" y="296"/>
                    <a:pt x="312" y="296"/>
                    <a:pt x="312" y="296"/>
                  </a:cubicBezTo>
                  <a:cubicBezTo>
                    <a:pt x="312" y="296"/>
                    <a:pt x="312" y="296"/>
                    <a:pt x="312" y="296"/>
                  </a:cubicBezTo>
                  <a:cubicBezTo>
                    <a:pt x="312" y="296"/>
                    <a:pt x="312" y="296"/>
                    <a:pt x="312" y="296"/>
                  </a:cubicBezTo>
                  <a:cubicBezTo>
                    <a:pt x="725" y="295"/>
                    <a:pt x="725" y="295"/>
                    <a:pt x="725" y="295"/>
                  </a:cubicBezTo>
                  <a:cubicBezTo>
                    <a:pt x="725" y="296"/>
                    <a:pt x="725" y="296"/>
                    <a:pt x="725" y="296"/>
                  </a:cubicBezTo>
                  <a:cubicBezTo>
                    <a:pt x="771" y="296"/>
                    <a:pt x="802" y="293"/>
                    <a:pt x="813" y="305"/>
                  </a:cubicBezTo>
                  <a:cubicBezTo>
                    <a:pt x="848" y="342"/>
                    <a:pt x="831" y="378"/>
                    <a:pt x="856" y="386"/>
                  </a:cubicBezTo>
                  <a:cubicBezTo>
                    <a:pt x="891" y="396"/>
                    <a:pt x="965" y="342"/>
                    <a:pt x="994" y="309"/>
                  </a:cubicBezTo>
                  <a:cubicBezTo>
                    <a:pt x="1037" y="257"/>
                    <a:pt x="976" y="101"/>
                    <a:pt x="725" y="10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lIns="128564" tIns="64282" rIns="128564" bIns="64282"/>
            <a:lstStyle/>
            <a:p>
              <a:pPr eaLnBrk="1" hangingPunct="1">
                <a:lnSpc>
                  <a:spcPct val="130000"/>
                </a:lnSpc>
                <a:defRPr/>
              </a:pPr>
              <a:endParaRPr lang="en-US" sz="240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7" name="Freeform 11"/>
            <p:cNvSpPr/>
            <p:nvPr/>
          </p:nvSpPr>
          <p:spPr bwMode="auto">
            <a:xfrm rot="5400000">
              <a:off x="3528492" y="3562974"/>
              <a:ext cx="2107811" cy="490477"/>
            </a:xfrm>
            <a:custGeom>
              <a:avLst/>
              <a:gdLst>
                <a:gd name="T0" fmla="*/ 918 w 953"/>
                <a:gd name="T1" fmla="*/ 14 h 222"/>
                <a:gd name="T2" fmla="*/ 220 w 953"/>
                <a:gd name="T3" fmla="*/ 14 h 222"/>
                <a:gd name="T4" fmla="*/ 179 w 953"/>
                <a:gd name="T5" fmla="*/ 33 h 222"/>
                <a:gd name="T6" fmla="*/ 174 w 953"/>
                <a:gd name="T7" fmla="*/ 37 h 222"/>
                <a:gd name="T8" fmla="*/ 0 w 953"/>
                <a:gd name="T9" fmla="*/ 222 h 222"/>
                <a:gd name="T10" fmla="*/ 35 w 953"/>
                <a:gd name="T11" fmla="*/ 208 h 222"/>
                <a:gd name="T12" fmla="*/ 733 w 953"/>
                <a:gd name="T13" fmla="*/ 208 h 222"/>
                <a:gd name="T14" fmla="*/ 774 w 953"/>
                <a:gd name="T15" fmla="*/ 189 h 222"/>
                <a:gd name="T16" fmla="*/ 779 w 953"/>
                <a:gd name="T17" fmla="*/ 185 h 222"/>
                <a:gd name="T18" fmla="*/ 953 w 953"/>
                <a:gd name="T19" fmla="*/ 0 h 222"/>
                <a:gd name="T20" fmla="*/ 918 w 953"/>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3" h="222">
                  <a:moveTo>
                    <a:pt x="918" y="14"/>
                  </a:moveTo>
                  <a:cubicBezTo>
                    <a:pt x="220" y="14"/>
                    <a:pt x="220" y="14"/>
                    <a:pt x="220" y="14"/>
                  </a:cubicBezTo>
                  <a:cubicBezTo>
                    <a:pt x="213" y="14"/>
                    <a:pt x="194" y="16"/>
                    <a:pt x="179" y="33"/>
                  </a:cubicBezTo>
                  <a:cubicBezTo>
                    <a:pt x="177" y="34"/>
                    <a:pt x="176" y="35"/>
                    <a:pt x="174" y="37"/>
                  </a:cubicBezTo>
                  <a:cubicBezTo>
                    <a:pt x="0" y="222"/>
                    <a:pt x="0" y="222"/>
                    <a:pt x="0" y="222"/>
                  </a:cubicBezTo>
                  <a:cubicBezTo>
                    <a:pt x="2" y="220"/>
                    <a:pt x="16" y="208"/>
                    <a:pt x="35" y="208"/>
                  </a:cubicBezTo>
                  <a:cubicBezTo>
                    <a:pt x="733" y="208"/>
                    <a:pt x="733" y="208"/>
                    <a:pt x="733" y="208"/>
                  </a:cubicBezTo>
                  <a:cubicBezTo>
                    <a:pt x="740" y="208"/>
                    <a:pt x="758" y="206"/>
                    <a:pt x="774" y="189"/>
                  </a:cubicBezTo>
                  <a:cubicBezTo>
                    <a:pt x="776" y="188"/>
                    <a:pt x="777" y="186"/>
                    <a:pt x="779" y="185"/>
                  </a:cubicBezTo>
                  <a:cubicBezTo>
                    <a:pt x="953" y="0"/>
                    <a:pt x="953" y="0"/>
                    <a:pt x="953" y="0"/>
                  </a:cubicBezTo>
                  <a:cubicBezTo>
                    <a:pt x="951" y="2"/>
                    <a:pt x="937" y="14"/>
                    <a:pt x="918" y="14"/>
                  </a:cubicBezTo>
                  <a:close/>
                </a:path>
              </a:pathLst>
            </a:custGeom>
            <a:grpFill/>
            <a:ln>
              <a:noFill/>
            </a:ln>
          </p:spPr>
          <p:txBody>
            <a:bodyPr lIns="128564" tIns="64282" rIns="128564" bIns="64282"/>
            <a:lstStyle/>
            <a:p>
              <a:pPr eaLnBrk="1" hangingPunct="1">
                <a:lnSpc>
                  <a:spcPct val="130000"/>
                </a:lnSpc>
                <a:defRPr/>
              </a:pPr>
              <a:endParaRPr lang="en-US" sz="240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38" name="TextBox 54"/>
          <p:cNvSpPr txBox="1">
            <a:spLocks noChangeArrowheads="1"/>
          </p:cNvSpPr>
          <p:nvPr/>
        </p:nvSpPr>
        <p:spPr bwMode="auto">
          <a:xfrm>
            <a:off x="1643539" y="1115153"/>
            <a:ext cx="1309053"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39" name="Rectangle 55"/>
          <p:cNvSpPr>
            <a:spLocks noChangeArrowheads="1"/>
          </p:cNvSpPr>
          <p:nvPr/>
        </p:nvSpPr>
        <p:spPr bwMode="auto">
          <a:xfrm>
            <a:off x="1643539" y="133530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a:t>
            </a:r>
            <a:endParaRPr lang="en-US"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0" name="TextBox 54"/>
          <p:cNvSpPr txBox="1">
            <a:spLocks noChangeArrowheads="1"/>
          </p:cNvSpPr>
          <p:nvPr/>
        </p:nvSpPr>
        <p:spPr bwMode="auto">
          <a:xfrm>
            <a:off x="2341404" y="3814530"/>
            <a:ext cx="1307941"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41" name="Rectangle 55"/>
          <p:cNvSpPr>
            <a:spLocks noChangeArrowheads="1"/>
          </p:cNvSpPr>
          <p:nvPr/>
        </p:nvSpPr>
        <p:spPr bwMode="auto">
          <a:xfrm>
            <a:off x="2341404" y="403357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a:t>
            </a:r>
            <a:endParaRPr lang="en-US"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2" name="TextBox 54"/>
          <p:cNvSpPr txBox="1">
            <a:spLocks noChangeArrowheads="1"/>
          </p:cNvSpPr>
          <p:nvPr/>
        </p:nvSpPr>
        <p:spPr bwMode="auto">
          <a:xfrm>
            <a:off x="3452654" y="1115153"/>
            <a:ext cx="1309053"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43" name="Rectangle 55"/>
          <p:cNvSpPr>
            <a:spLocks noChangeArrowheads="1"/>
          </p:cNvSpPr>
          <p:nvPr/>
        </p:nvSpPr>
        <p:spPr bwMode="auto">
          <a:xfrm>
            <a:off x="3452654" y="133530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a:t>
            </a:r>
            <a:endParaRPr lang="en-US"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4" name="TextBox 54"/>
          <p:cNvSpPr txBox="1">
            <a:spLocks noChangeArrowheads="1"/>
          </p:cNvSpPr>
          <p:nvPr/>
        </p:nvSpPr>
        <p:spPr bwMode="auto">
          <a:xfrm>
            <a:off x="4107180" y="3814530"/>
            <a:ext cx="1307942"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45" name="Rectangle 55"/>
          <p:cNvSpPr>
            <a:spLocks noChangeArrowheads="1"/>
          </p:cNvSpPr>
          <p:nvPr/>
        </p:nvSpPr>
        <p:spPr bwMode="auto">
          <a:xfrm>
            <a:off x="4107180" y="403357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a:t>
            </a:r>
            <a:endParaRPr lang="en-US"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6" name="TextBox 54"/>
          <p:cNvSpPr txBox="1">
            <a:spLocks noChangeArrowheads="1"/>
          </p:cNvSpPr>
          <p:nvPr/>
        </p:nvSpPr>
        <p:spPr bwMode="auto">
          <a:xfrm>
            <a:off x="5261769" y="1115153"/>
            <a:ext cx="1309053"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47" name="Rectangle 55"/>
          <p:cNvSpPr>
            <a:spLocks noChangeArrowheads="1"/>
          </p:cNvSpPr>
          <p:nvPr/>
        </p:nvSpPr>
        <p:spPr bwMode="auto">
          <a:xfrm>
            <a:off x="5261769" y="133530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a:t>
            </a:r>
            <a:endParaRPr lang="en-US"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8" name="TextBox 54"/>
          <p:cNvSpPr txBox="1">
            <a:spLocks noChangeArrowheads="1"/>
          </p:cNvSpPr>
          <p:nvPr/>
        </p:nvSpPr>
        <p:spPr bwMode="auto">
          <a:xfrm>
            <a:off x="5822950" y="3814530"/>
            <a:ext cx="1307942"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49" name="Rectangle 55"/>
          <p:cNvSpPr>
            <a:spLocks noChangeArrowheads="1"/>
          </p:cNvSpPr>
          <p:nvPr/>
        </p:nvSpPr>
        <p:spPr bwMode="auto">
          <a:xfrm>
            <a:off x="5822950" y="4033578"/>
            <a:ext cx="1400175" cy="29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just" eaLnBrk="1" hangingPunct="1">
              <a:lnSpc>
                <a:spcPct val="13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a:t>
            </a:r>
            <a:endParaRPr lang="en-US"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50" name="组合 49"/>
          <p:cNvGrpSpPr/>
          <p:nvPr/>
        </p:nvGrpSpPr>
        <p:grpSpPr>
          <a:xfrm>
            <a:off x="-27976" y="2006000"/>
            <a:ext cx="2873552" cy="1567304"/>
            <a:chOff x="-38987" y="2729334"/>
            <a:chExt cx="3892912" cy="2132784"/>
          </a:xfrm>
          <a:solidFill>
            <a:srgbClr val="00AEEF"/>
          </a:solidFill>
        </p:grpSpPr>
        <p:sp>
          <p:nvSpPr>
            <p:cNvPr id="51" name="任意多边形 50"/>
            <p:cNvSpPr/>
            <p:nvPr/>
          </p:nvSpPr>
          <p:spPr>
            <a:xfrm rot="16200000">
              <a:off x="1127315" y="1563032"/>
              <a:ext cx="1245336" cy="3577940"/>
            </a:xfrm>
            <a:custGeom>
              <a:avLst/>
              <a:gdLst>
                <a:gd name="connsiteX0" fmla="*/ 1242568 w 1245336"/>
                <a:gd name="connsiteY0" fmla="*/ 3285554 h 3577940"/>
                <a:gd name="connsiteX1" fmla="*/ 1217336 w 1245336"/>
                <a:gd name="connsiteY1" fmla="*/ 3404574 h 3577940"/>
                <a:gd name="connsiteX2" fmla="*/ 912061 w 1245336"/>
                <a:gd name="connsiteY2" fmla="*/ 3574731 h 3577940"/>
                <a:gd name="connsiteX3" fmla="*/ 816939 w 1245336"/>
                <a:gd name="connsiteY3" fmla="*/ 3395735 h 3577940"/>
                <a:gd name="connsiteX4" fmla="*/ 622271 w 1245336"/>
                <a:gd name="connsiteY4" fmla="*/ 3375846 h 3577940"/>
                <a:gd name="connsiteX5" fmla="*/ 622271 w 1245336"/>
                <a:gd name="connsiteY5" fmla="*/ 3374366 h 3577940"/>
                <a:gd name="connsiteX6" fmla="*/ 1973 w 1245336"/>
                <a:gd name="connsiteY6" fmla="*/ 3035950 h 3577940"/>
                <a:gd name="connsiteX7" fmla="*/ 2017 w 1245336"/>
                <a:gd name="connsiteY7" fmla="*/ 3031859 h 3577940"/>
                <a:gd name="connsiteX8" fmla="*/ 0 w 1245336"/>
                <a:gd name="connsiteY8" fmla="*/ 3031859 h 3577940"/>
                <a:gd name="connsiteX9" fmla="*/ 0 w 1245336"/>
                <a:gd name="connsiteY9" fmla="*/ 0 h 3577940"/>
                <a:gd name="connsiteX10" fmla="*/ 429296 w 1245336"/>
                <a:gd name="connsiteY10" fmla="*/ 0 h 3577940"/>
                <a:gd name="connsiteX11" fmla="*/ 429296 w 1245336"/>
                <a:gd name="connsiteY11" fmla="*/ 2926627 h 3577940"/>
                <a:gd name="connsiteX12" fmla="*/ 453975 w 1245336"/>
                <a:gd name="connsiteY12" fmla="*/ 2939132 h 3577940"/>
                <a:gd name="connsiteX13" fmla="*/ 622271 w 1245336"/>
                <a:gd name="connsiteY13" fmla="*/ 2945658 h 3577940"/>
                <a:gd name="connsiteX14" fmla="*/ 622271 w 1245336"/>
                <a:gd name="connsiteY14" fmla="*/ 2947139 h 3577940"/>
                <a:gd name="connsiteX15" fmla="*/ 1242568 w 1245336"/>
                <a:gd name="connsiteY15" fmla="*/ 3285554 h 357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45336" h="3577940">
                  <a:moveTo>
                    <a:pt x="1242568" y="3285554"/>
                  </a:moveTo>
                  <a:cubicBezTo>
                    <a:pt x="1250518" y="3333721"/>
                    <a:pt x="1241116" y="3376399"/>
                    <a:pt x="1217336" y="3404574"/>
                  </a:cubicBezTo>
                  <a:cubicBezTo>
                    <a:pt x="1153184" y="3479709"/>
                    <a:pt x="989486" y="3599040"/>
                    <a:pt x="912061" y="3574731"/>
                  </a:cubicBezTo>
                  <a:cubicBezTo>
                    <a:pt x="856757" y="3559263"/>
                    <a:pt x="894364" y="3477499"/>
                    <a:pt x="816939" y="3395735"/>
                  </a:cubicBezTo>
                  <a:cubicBezTo>
                    <a:pt x="792605" y="3371427"/>
                    <a:pt x="724029" y="3375846"/>
                    <a:pt x="622271" y="3375846"/>
                  </a:cubicBezTo>
                  <a:lnTo>
                    <a:pt x="622271" y="3374366"/>
                  </a:lnTo>
                  <a:cubicBezTo>
                    <a:pt x="205836" y="3374366"/>
                    <a:pt x="25823" y="3180453"/>
                    <a:pt x="1973" y="3035950"/>
                  </a:cubicBezTo>
                  <a:lnTo>
                    <a:pt x="2017" y="3031859"/>
                  </a:lnTo>
                  <a:lnTo>
                    <a:pt x="0" y="3031859"/>
                  </a:lnTo>
                  <a:lnTo>
                    <a:pt x="0" y="0"/>
                  </a:lnTo>
                  <a:lnTo>
                    <a:pt x="429296" y="0"/>
                  </a:lnTo>
                  <a:lnTo>
                    <a:pt x="429296" y="2926627"/>
                  </a:lnTo>
                  <a:lnTo>
                    <a:pt x="453975" y="2939132"/>
                  </a:lnTo>
                  <a:cubicBezTo>
                    <a:pt x="488298" y="2948144"/>
                    <a:pt x="545952" y="2945658"/>
                    <a:pt x="622271" y="2945658"/>
                  </a:cubicBezTo>
                  <a:lnTo>
                    <a:pt x="622271" y="2947139"/>
                  </a:lnTo>
                  <a:cubicBezTo>
                    <a:pt x="1038705" y="2947139"/>
                    <a:pt x="1218718" y="3141052"/>
                    <a:pt x="1242568" y="3285554"/>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ysClr val="window" lastClr="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2" name="Freeform 10"/>
            <p:cNvSpPr/>
            <p:nvPr/>
          </p:nvSpPr>
          <p:spPr bwMode="auto">
            <a:xfrm rot="5400000">
              <a:off x="2554781" y="3562974"/>
              <a:ext cx="2107811" cy="490477"/>
            </a:xfrm>
            <a:custGeom>
              <a:avLst/>
              <a:gdLst>
                <a:gd name="T0" fmla="*/ 918 w 953"/>
                <a:gd name="T1" fmla="*/ 14 h 222"/>
                <a:gd name="T2" fmla="*/ 220 w 953"/>
                <a:gd name="T3" fmla="*/ 14 h 222"/>
                <a:gd name="T4" fmla="*/ 179 w 953"/>
                <a:gd name="T5" fmla="*/ 33 h 222"/>
                <a:gd name="T6" fmla="*/ 174 w 953"/>
                <a:gd name="T7" fmla="*/ 37 h 222"/>
                <a:gd name="T8" fmla="*/ 0 w 953"/>
                <a:gd name="T9" fmla="*/ 222 h 222"/>
                <a:gd name="T10" fmla="*/ 35 w 953"/>
                <a:gd name="T11" fmla="*/ 208 h 222"/>
                <a:gd name="T12" fmla="*/ 733 w 953"/>
                <a:gd name="T13" fmla="*/ 208 h 222"/>
                <a:gd name="T14" fmla="*/ 774 w 953"/>
                <a:gd name="T15" fmla="*/ 189 h 222"/>
                <a:gd name="T16" fmla="*/ 779 w 953"/>
                <a:gd name="T17" fmla="*/ 185 h 222"/>
                <a:gd name="T18" fmla="*/ 953 w 953"/>
                <a:gd name="T19" fmla="*/ 0 h 222"/>
                <a:gd name="T20" fmla="*/ 918 w 953"/>
                <a:gd name="T21" fmla="*/ 1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3" h="222">
                  <a:moveTo>
                    <a:pt x="918" y="14"/>
                  </a:moveTo>
                  <a:cubicBezTo>
                    <a:pt x="220" y="14"/>
                    <a:pt x="220" y="14"/>
                    <a:pt x="220" y="14"/>
                  </a:cubicBezTo>
                  <a:cubicBezTo>
                    <a:pt x="213" y="14"/>
                    <a:pt x="194" y="16"/>
                    <a:pt x="179" y="33"/>
                  </a:cubicBezTo>
                  <a:cubicBezTo>
                    <a:pt x="177" y="34"/>
                    <a:pt x="176" y="35"/>
                    <a:pt x="174" y="37"/>
                  </a:cubicBezTo>
                  <a:cubicBezTo>
                    <a:pt x="0" y="222"/>
                    <a:pt x="0" y="222"/>
                    <a:pt x="0" y="222"/>
                  </a:cubicBezTo>
                  <a:cubicBezTo>
                    <a:pt x="2" y="220"/>
                    <a:pt x="16" y="208"/>
                    <a:pt x="35" y="208"/>
                  </a:cubicBezTo>
                  <a:cubicBezTo>
                    <a:pt x="733" y="208"/>
                    <a:pt x="733" y="208"/>
                    <a:pt x="733" y="208"/>
                  </a:cubicBezTo>
                  <a:cubicBezTo>
                    <a:pt x="740" y="208"/>
                    <a:pt x="758" y="206"/>
                    <a:pt x="774" y="189"/>
                  </a:cubicBezTo>
                  <a:cubicBezTo>
                    <a:pt x="776" y="187"/>
                    <a:pt x="777" y="186"/>
                    <a:pt x="779" y="185"/>
                  </a:cubicBezTo>
                  <a:cubicBezTo>
                    <a:pt x="953" y="0"/>
                    <a:pt x="953" y="0"/>
                    <a:pt x="953" y="0"/>
                  </a:cubicBezTo>
                  <a:cubicBezTo>
                    <a:pt x="951" y="2"/>
                    <a:pt x="937" y="14"/>
                    <a:pt x="918" y="14"/>
                  </a:cubicBezTo>
                  <a:close/>
                </a:path>
              </a:pathLst>
            </a:custGeom>
            <a:grpFill/>
            <a:ln w="25400" cap="flat" cmpd="sng" algn="ctr">
              <a:noFill/>
              <a:prstDash val="solid"/>
            </a:ln>
            <a:effectLst/>
          </p:spPr>
          <p:txBody>
            <a:bodyPr lIns="96417" tIns="48208" rIns="96417" bIns="48208" anchor="ctr"/>
            <a:lstStyle/>
            <a:p>
              <a:pPr algn="ctr" eaLnBrk="1" hangingPunct="1">
                <a:lnSpc>
                  <a:spcPct val="130000"/>
                </a:lnSpc>
                <a:defRPr/>
              </a:pPr>
              <a:endParaRPr lang="en-US" sz="1400" kern="0" noProof="1">
                <a:solidFill>
                  <a:sysClr val="window" lastClr="FFFFFF"/>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53" name="平行四边形 52"/>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平行四边形 53"/>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5" name="平行四边形 54"/>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平行四边形 55"/>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7" name="直接连接符 56"/>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58"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59" name="Group 7"/>
          <p:cNvGrpSpPr/>
          <p:nvPr/>
        </p:nvGrpSpPr>
        <p:grpSpPr bwMode="auto">
          <a:xfrm>
            <a:off x="180202" y="181952"/>
            <a:ext cx="216018" cy="113981"/>
            <a:chOff x="0" y="0"/>
            <a:chExt cx="1041399" cy="549275"/>
          </a:xfrm>
          <a:solidFill>
            <a:srgbClr val="133E73"/>
          </a:solidFill>
        </p:grpSpPr>
        <p:sp>
          <p:nvSpPr>
            <p:cNvPr id="60"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1"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2"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63" name="6112">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6"/>
          <a:stretch>
            <a:fillRect/>
          </a:stretch>
        </p:blipFill>
        <p:spPr>
          <a:xfrm>
            <a:off x="2268377" y="-1568065"/>
            <a:ext cx="1008084" cy="1008084"/>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9"/>
                                        </p:tgtEl>
                                        <p:attrNameLst>
                                          <p:attrName>style.visibility</p:attrName>
                                        </p:attrNameLst>
                                      </p:cBhvr>
                                      <p:to>
                                        <p:strVal val="visible"/>
                                      </p:to>
                                    </p:set>
                                    <p:anim calcmode="lin" valueType="num">
                                      <p:cBhvr additive="base">
                                        <p:cTn id="7" dur="500" fill="hold"/>
                                        <p:tgtEl>
                                          <p:spTgt spid="59"/>
                                        </p:tgtEl>
                                        <p:attrNameLst>
                                          <p:attrName>ppt_x</p:attrName>
                                        </p:attrNameLst>
                                      </p:cBhvr>
                                      <p:tavLst>
                                        <p:tav tm="0">
                                          <p:val>
                                            <p:strVal val="0-#ppt_w/2"/>
                                          </p:val>
                                        </p:tav>
                                        <p:tav tm="100000">
                                          <p:val>
                                            <p:strVal val="#ppt_x"/>
                                          </p:val>
                                        </p:tav>
                                      </p:tavLst>
                                    </p:anim>
                                    <p:anim calcmode="lin" valueType="num">
                                      <p:cBhvr additive="base">
                                        <p:cTn id="8" dur="500" fill="hold"/>
                                        <p:tgtEl>
                                          <p:spTgt spid="5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58"/>
                                        </p:tgtEl>
                                        <p:attrNameLst>
                                          <p:attrName>style.visibility</p:attrName>
                                        </p:attrNameLst>
                                      </p:cBhvr>
                                      <p:to>
                                        <p:strVal val="visible"/>
                                      </p:to>
                                    </p:set>
                                    <p:anim calcmode="lin" valueType="num">
                                      <p:cBhvr>
                                        <p:cTn id="12" dur="500" fill="hold"/>
                                        <p:tgtEl>
                                          <p:spTgt spid="5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58"/>
                                        </p:tgtEl>
                                        <p:attrNameLst>
                                          <p:attrName>ppt_y</p:attrName>
                                        </p:attrNameLst>
                                      </p:cBhvr>
                                      <p:tavLst>
                                        <p:tav tm="0">
                                          <p:val>
                                            <p:strVal val="#ppt_y"/>
                                          </p:val>
                                        </p:tav>
                                        <p:tav tm="100000">
                                          <p:val>
                                            <p:strVal val="#ppt_y"/>
                                          </p:val>
                                        </p:tav>
                                      </p:tavLst>
                                    </p:anim>
                                    <p:anim calcmode="lin" valueType="num">
                                      <p:cBhvr>
                                        <p:cTn id="14" dur="500" fill="hold"/>
                                        <p:tgtEl>
                                          <p:spTgt spid="5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5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58"/>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55"/>
                                        </p:tgtEl>
                                        <p:attrNameLst>
                                          <p:attrName>fillcolor</p:attrName>
                                        </p:attrNameLst>
                                      </p:cBhvr>
                                      <p:to>
                                        <a:srgbClr val="00AEEF"/>
                                      </p:to>
                                    </p:animClr>
                                    <p:set>
                                      <p:cBhvr>
                                        <p:cTn id="20" dur="300" fill="hold"/>
                                        <p:tgtEl>
                                          <p:spTgt spid="55"/>
                                        </p:tgtEl>
                                        <p:attrNameLst>
                                          <p:attrName>fill.type</p:attrName>
                                        </p:attrNameLst>
                                      </p:cBhvr>
                                      <p:to>
                                        <p:strVal val="solid"/>
                                      </p:to>
                                    </p:set>
                                    <p:set>
                                      <p:cBhvr>
                                        <p:cTn id="21" dur="300" fill="hold"/>
                                        <p:tgtEl>
                                          <p:spTgt spid="55"/>
                                        </p:tgtEl>
                                        <p:attrNameLst>
                                          <p:attrName>fill.on</p:attrName>
                                        </p:attrNameLst>
                                      </p:cBhvr>
                                      <p:to>
                                        <p:strVal val="true"/>
                                      </p:to>
                                    </p:se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nodeType="clickEffect">
                                  <p:stCondLst>
                                    <p:cond delay="0"/>
                                  </p:stCondLst>
                                  <p:childTnLst>
                                    <p:set>
                                      <p:cBhvr>
                                        <p:cTn id="25" dur="1" fill="hold">
                                          <p:stCondLst>
                                            <p:cond delay="0"/>
                                          </p:stCondLst>
                                        </p:cTn>
                                        <p:tgtEl>
                                          <p:spTgt spid="50"/>
                                        </p:tgtEl>
                                        <p:attrNameLst>
                                          <p:attrName>style.visibility</p:attrName>
                                        </p:attrNameLst>
                                      </p:cBhvr>
                                      <p:to>
                                        <p:strVal val="visible"/>
                                      </p:to>
                                    </p:set>
                                    <p:animEffect transition="in" filter="wipe(left)">
                                      <p:cBhvr>
                                        <p:cTn id="26" dur="500"/>
                                        <p:tgtEl>
                                          <p:spTgt spid="50"/>
                                        </p:tgtEl>
                                      </p:cBhvr>
                                    </p:animEffect>
                                  </p:childTnLst>
                                </p:cTn>
                              </p:par>
                            </p:childTnLst>
                          </p:cTn>
                        </p:par>
                        <p:par>
                          <p:cTn id="27" fill="hold">
                            <p:stCondLst>
                              <p:cond delay="500"/>
                            </p:stCondLst>
                            <p:childTnLst>
                              <p:par>
                                <p:cTn id="28" presetID="2" presetClass="entr" presetSubtype="1" fill="hold" grpId="0" nodeType="afterEffect">
                                  <p:stCondLst>
                                    <p:cond delay="0"/>
                                  </p:stCondLst>
                                  <p:childTnLst>
                                    <p:set>
                                      <p:cBhvr>
                                        <p:cTn id="29" dur="1" fill="hold">
                                          <p:stCondLst>
                                            <p:cond delay="0"/>
                                          </p:stCondLst>
                                        </p:cTn>
                                        <p:tgtEl>
                                          <p:spTgt spid="38"/>
                                        </p:tgtEl>
                                        <p:attrNameLst>
                                          <p:attrName>style.visibility</p:attrName>
                                        </p:attrNameLst>
                                      </p:cBhvr>
                                      <p:to>
                                        <p:strVal val="visible"/>
                                      </p:to>
                                    </p:set>
                                    <p:anim calcmode="lin" valueType="num">
                                      <p:cBhvr>
                                        <p:cTn id="30" dur="500" fill="hold"/>
                                        <p:tgtEl>
                                          <p:spTgt spid="38"/>
                                        </p:tgtEl>
                                        <p:attrNameLst>
                                          <p:attrName>ppt_x</p:attrName>
                                        </p:attrNameLst>
                                      </p:cBhvr>
                                      <p:tavLst>
                                        <p:tav tm="0">
                                          <p:val>
                                            <p:strVal val="#ppt_x"/>
                                          </p:val>
                                        </p:tav>
                                        <p:tav tm="100000">
                                          <p:val>
                                            <p:strVal val="#ppt_x"/>
                                          </p:val>
                                        </p:tav>
                                      </p:tavLst>
                                    </p:anim>
                                    <p:anim calcmode="lin" valueType="num">
                                      <p:cBhvr>
                                        <p:cTn id="31" dur="500" fill="hold"/>
                                        <p:tgtEl>
                                          <p:spTgt spid="38"/>
                                        </p:tgtEl>
                                        <p:attrNameLst>
                                          <p:attrName>ppt_y</p:attrName>
                                        </p:attrNameLst>
                                      </p:cBhvr>
                                      <p:tavLst>
                                        <p:tav tm="0">
                                          <p:val>
                                            <p:strVal val="0-#ppt_h/2"/>
                                          </p:val>
                                        </p:tav>
                                        <p:tav tm="100000">
                                          <p:val>
                                            <p:strVal val="#ppt_y"/>
                                          </p:val>
                                        </p:tav>
                                      </p:tavLst>
                                    </p:anim>
                                  </p:childTnLst>
                                </p:cTn>
                              </p:par>
                              <p:par>
                                <p:cTn id="32" presetID="2" presetClass="entr" presetSubtype="1" fill="hold" grpId="0" nodeType="withEffect">
                                  <p:stCondLst>
                                    <p:cond delay="0"/>
                                  </p:stCondLst>
                                  <p:childTnLst>
                                    <p:set>
                                      <p:cBhvr>
                                        <p:cTn id="33" dur="1" fill="hold">
                                          <p:stCondLst>
                                            <p:cond delay="0"/>
                                          </p:stCondLst>
                                        </p:cTn>
                                        <p:tgtEl>
                                          <p:spTgt spid="39"/>
                                        </p:tgtEl>
                                        <p:attrNameLst>
                                          <p:attrName>style.visibility</p:attrName>
                                        </p:attrNameLst>
                                      </p:cBhvr>
                                      <p:to>
                                        <p:strVal val="visible"/>
                                      </p:to>
                                    </p:set>
                                    <p:anim calcmode="lin" valueType="num">
                                      <p:cBhvr>
                                        <p:cTn id="34" dur="500" fill="hold"/>
                                        <p:tgtEl>
                                          <p:spTgt spid="39"/>
                                        </p:tgtEl>
                                        <p:attrNameLst>
                                          <p:attrName>ppt_x</p:attrName>
                                        </p:attrNameLst>
                                      </p:cBhvr>
                                      <p:tavLst>
                                        <p:tav tm="0">
                                          <p:val>
                                            <p:strVal val="#ppt_x"/>
                                          </p:val>
                                        </p:tav>
                                        <p:tav tm="100000">
                                          <p:val>
                                            <p:strVal val="#ppt_x"/>
                                          </p:val>
                                        </p:tav>
                                      </p:tavLst>
                                    </p:anim>
                                    <p:anim calcmode="lin" valueType="num">
                                      <p:cBhvr>
                                        <p:cTn id="35" dur="500" fill="hold"/>
                                        <p:tgtEl>
                                          <p:spTgt spid="39"/>
                                        </p:tgtEl>
                                        <p:attrNameLst>
                                          <p:attrName>ppt_y</p:attrName>
                                        </p:attrNameLst>
                                      </p:cBhvr>
                                      <p:tavLst>
                                        <p:tav tm="0">
                                          <p:val>
                                            <p:strVal val="0-#ppt_h/2"/>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nodeType="clickEffect">
                                  <p:stCondLst>
                                    <p:cond delay="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750"/>
                                        <p:tgtEl>
                                          <p:spTgt spid="35"/>
                                        </p:tgtEl>
                                      </p:cBhvr>
                                    </p:animEffect>
                                    <p:anim calcmode="lin" valueType="num">
                                      <p:cBhvr>
                                        <p:cTn id="41" dur="750" fill="hold"/>
                                        <p:tgtEl>
                                          <p:spTgt spid="35"/>
                                        </p:tgtEl>
                                        <p:attrNameLst>
                                          <p:attrName>ppt_x</p:attrName>
                                        </p:attrNameLst>
                                      </p:cBhvr>
                                      <p:tavLst>
                                        <p:tav tm="0">
                                          <p:val>
                                            <p:strVal val="#ppt_x"/>
                                          </p:val>
                                        </p:tav>
                                        <p:tav tm="100000">
                                          <p:val>
                                            <p:strVal val="#ppt_x"/>
                                          </p:val>
                                        </p:tav>
                                      </p:tavLst>
                                    </p:anim>
                                    <p:anim calcmode="lin" valueType="num">
                                      <p:cBhvr>
                                        <p:cTn id="42" dur="750" fill="hold"/>
                                        <p:tgtEl>
                                          <p:spTgt spid="35"/>
                                        </p:tgtEl>
                                        <p:attrNameLst>
                                          <p:attrName>ppt_y</p:attrName>
                                        </p:attrNameLst>
                                      </p:cBhvr>
                                      <p:tavLst>
                                        <p:tav tm="0">
                                          <p:val>
                                            <p:strVal val="#ppt_y+.1"/>
                                          </p:val>
                                        </p:tav>
                                        <p:tav tm="100000">
                                          <p:val>
                                            <p:strVal val="#ppt_y"/>
                                          </p:val>
                                        </p:tav>
                                      </p:tavLst>
                                    </p:anim>
                                  </p:childTnLst>
                                </p:cTn>
                              </p:par>
                            </p:childTnLst>
                          </p:cTn>
                        </p:par>
                        <p:par>
                          <p:cTn id="43" fill="hold">
                            <p:stCondLst>
                              <p:cond delay="1000"/>
                            </p:stCondLst>
                            <p:childTnLst>
                              <p:par>
                                <p:cTn id="44" presetID="2" presetClass="entr" presetSubtype="4" fill="hold" grpId="0" nodeType="afterEffect">
                                  <p:stCondLst>
                                    <p:cond delay="0"/>
                                  </p:stCondLst>
                                  <p:childTnLst>
                                    <p:set>
                                      <p:cBhvr>
                                        <p:cTn id="45" dur="1" fill="hold">
                                          <p:stCondLst>
                                            <p:cond delay="0"/>
                                          </p:stCondLst>
                                        </p:cTn>
                                        <p:tgtEl>
                                          <p:spTgt spid="40"/>
                                        </p:tgtEl>
                                        <p:attrNameLst>
                                          <p:attrName>style.visibility</p:attrName>
                                        </p:attrNameLst>
                                      </p:cBhvr>
                                      <p:to>
                                        <p:strVal val="visible"/>
                                      </p:to>
                                    </p:set>
                                    <p:anim calcmode="lin" valueType="num">
                                      <p:cBhvr>
                                        <p:cTn id="46" dur="500" fill="hold"/>
                                        <p:tgtEl>
                                          <p:spTgt spid="40"/>
                                        </p:tgtEl>
                                        <p:attrNameLst>
                                          <p:attrName>ppt_x</p:attrName>
                                        </p:attrNameLst>
                                      </p:cBhvr>
                                      <p:tavLst>
                                        <p:tav tm="0">
                                          <p:val>
                                            <p:strVal val="#ppt_x"/>
                                          </p:val>
                                        </p:tav>
                                        <p:tav tm="100000">
                                          <p:val>
                                            <p:strVal val="#ppt_x"/>
                                          </p:val>
                                        </p:tav>
                                      </p:tavLst>
                                    </p:anim>
                                    <p:anim calcmode="lin" valueType="num">
                                      <p:cBhvr>
                                        <p:cTn id="47" dur="500" fill="hold"/>
                                        <p:tgtEl>
                                          <p:spTgt spid="40"/>
                                        </p:tgtEl>
                                        <p:attrNameLst>
                                          <p:attrName>ppt_y</p:attrName>
                                        </p:attrNameLst>
                                      </p:cBhvr>
                                      <p:tavLst>
                                        <p:tav tm="0">
                                          <p:val>
                                            <p:strVal val="1+#ppt_h/2"/>
                                          </p:val>
                                        </p:tav>
                                        <p:tav tm="100000">
                                          <p:val>
                                            <p:strVal val="#ppt_y"/>
                                          </p:val>
                                        </p:tav>
                                      </p:tavLst>
                                    </p:anim>
                                  </p:childTnLst>
                                </p:cTn>
                              </p:par>
                            </p:childTnLst>
                          </p:cTn>
                        </p:par>
                        <p:par>
                          <p:cTn id="48" fill="hold">
                            <p:stCondLst>
                              <p:cond delay="1500"/>
                            </p:stCondLst>
                            <p:childTnLst>
                              <p:par>
                                <p:cTn id="49" presetID="1" presetClass="mediacall" presetSubtype="0" fill="hold" nodeType="afterEffect">
                                  <p:stCondLst>
                                    <p:cond delay="0"/>
                                  </p:stCondLst>
                                  <p:childTnLst>
                                    <p:cmd type="call" cmd="playFrom(0.0)">
                                      <p:cBhvr>
                                        <p:cTn id="50" dur="1" fill="hold"/>
                                        <p:tgtEl>
                                          <p:spTgt spid="63"/>
                                        </p:tgtEl>
                                      </p:cBhvr>
                                    </p:cmd>
                                  </p:childTnLst>
                                </p:cTn>
                              </p:par>
                              <p:par>
                                <p:cTn id="51" presetID="2" presetClass="entr" presetSubtype="4" fill="hold" grpId="0" nodeType="withEffect">
                                  <p:stCondLst>
                                    <p:cond delay="0"/>
                                  </p:stCondLst>
                                  <p:childTnLst>
                                    <p:set>
                                      <p:cBhvr>
                                        <p:cTn id="52" dur="1" fill="hold">
                                          <p:stCondLst>
                                            <p:cond delay="0"/>
                                          </p:stCondLst>
                                        </p:cTn>
                                        <p:tgtEl>
                                          <p:spTgt spid="41"/>
                                        </p:tgtEl>
                                        <p:attrNameLst>
                                          <p:attrName>style.visibility</p:attrName>
                                        </p:attrNameLst>
                                      </p:cBhvr>
                                      <p:to>
                                        <p:strVal val="visible"/>
                                      </p:to>
                                    </p:set>
                                    <p:anim calcmode="lin" valueType="num">
                                      <p:cBhvr>
                                        <p:cTn id="53" dur="500" fill="hold"/>
                                        <p:tgtEl>
                                          <p:spTgt spid="41"/>
                                        </p:tgtEl>
                                        <p:attrNameLst>
                                          <p:attrName>ppt_x</p:attrName>
                                        </p:attrNameLst>
                                      </p:cBhvr>
                                      <p:tavLst>
                                        <p:tav tm="0">
                                          <p:val>
                                            <p:strVal val="#ppt_x"/>
                                          </p:val>
                                        </p:tav>
                                        <p:tav tm="100000">
                                          <p:val>
                                            <p:strVal val="#ppt_x"/>
                                          </p:val>
                                        </p:tav>
                                      </p:tavLst>
                                    </p:anim>
                                    <p:anim calcmode="lin" valueType="num">
                                      <p:cBhvr>
                                        <p:cTn id="54" dur="500" fill="hold"/>
                                        <p:tgtEl>
                                          <p:spTgt spid="41"/>
                                        </p:tgtEl>
                                        <p:attrNameLst>
                                          <p:attrName>ppt_y</p:attrName>
                                        </p:attrNameLst>
                                      </p:cBhvr>
                                      <p:tavLst>
                                        <p:tav tm="0">
                                          <p:val>
                                            <p:strVal val="1+#ppt_h/2"/>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42" presetClass="entr" presetSubtype="0" fill="hold" nodeType="clickEffect">
                                  <p:stCondLst>
                                    <p:cond delay="0"/>
                                  </p:stCondLst>
                                  <p:childTnLst>
                                    <p:set>
                                      <p:cBhvr>
                                        <p:cTn id="58" dur="1" fill="hold">
                                          <p:stCondLst>
                                            <p:cond delay="0"/>
                                          </p:stCondLst>
                                        </p:cTn>
                                        <p:tgtEl>
                                          <p:spTgt spid="32"/>
                                        </p:tgtEl>
                                        <p:attrNameLst>
                                          <p:attrName>style.visibility</p:attrName>
                                        </p:attrNameLst>
                                      </p:cBhvr>
                                      <p:to>
                                        <p:strVal val="visible"/>
                                      </p:to>
                                    </p:set>
                                    <p:animEffect transition="in" filter="fade">
                                      <p:cBhvr>
                                        <p:cTn id="59" dur="750"/>
                                        <p:tgtEl>
                                          <p:spTgt spid="32"/>
                                        </p:tgtEl>
                                      </p:cBhvr>
                                    </p:animEffect>
                                    <p:anim calcmode="lin" valueType="num">
                                      <p:cBhvr>
                                        <p:cTn id="60" dur="750" fill="hold"/>
                                        <p:tgtEl>
                                          <p:spTgt spid="32"/>
                                        </p:tgtEl>
                                        <p:attrNameLst>
                                          <p:attrName>ppt_x</p:attrName>
                                        </p:attrNameLst>
                                      </p:cBhvr>
                                      <p:tavLst>
                                        <p:tav tm="0">
                                          <p:val>
                                            <p:strVal val="#ppt_x"/>
                                          </p:val>
                                        </p:tav>
                                        <p:tav tm="100000">
                                          <p:val>
                                            <p:strVal val="#ppt_x"/>
                                          </p:val>
                                        </p:tav>
                                      </p:tavLst>
                                    </p:anim>
                                    <p:anim calcmode="lin" valueType="num">
                                      <p:cBhvr>
                                        <p:cTn id="61" dur="750" fill="hold"/>
                                        <p:tgtEl>
                                          <p:spTgt spid="32"/>
                                        </p:tgtEl>
                                        <p:attrNameLst>
                                          <p:attrName>ppt_y</p:attrName>
                                        </p:attrNameLst>
                                      </p:cBhvr>
                                      <p:tavLst>
                                        <p:tav tm="0">
                                          <p:val>
                                            <p:strVal val="#ppt_y+.1"/>
                                          </p:val>
                                        </p:tav>
                                        <p:tav tm="100000">
                                          <p:val>
                                            <p:strVal val="#ppt_y"/>
                                          </p:val>
                                        </p:tav>
                                      </p:tavLst>
                                    </p:anim>
                                  </p:childTnLst>
                                </p:cTn>
                              </p:par>
                            </p:childTnLst>
                          </p:cTn>
                        </p:par>
                        <p:par>
                          <p:cTn id="62" fill="hold">
                            <p:stCondLst>
                              <p:cond delay="1000"/>
                            </p:stCondLst>
                            <p:childTnLst>
                              <p:par>
                                <p:cTn id="63" presetID="2" presetClass="entr" presetSubtype="1" fill="hold" grpId="0" nodeType="afterEffect">
                                  <p:stCondLst>
                                    <p:cond delay="0"/>
                                  </p:stCondLst>
                                  <p:childTnLst>
                                    <p:set>
                                      <p:cBhvr>
                                        <p:cTn id="64" dur="1" fill="hold">
                                          <p:stCondLst>
                                            <p:cond delay="0"/>
                                          </p:stCondLst>
                                        </p:cTn>
                                        <p:tgtEl>
                                          <p:spTgt spid="42"/>
                                        </p:tgtEl>
                                        <p:attrNameLst>
                                          <p:attrName>style.visibility</p:attrName>
                                        </p:attrNameLst>
                                      </p:cBhvr>
                                      <p:to>
                                        <p:strVal val="visible"/>
                                      </p:to>
                                    </p:set>
                                    <p:anim calcmode="lin" valueType="num">
                                      <p:cBhvr>
                                        <p:cTn id="65" dur="500" fill="hold"/>
                                        <p:tgtEl>
                                          <p:spTgt spid="42"/>
                                        </p:tgtEl>
                                        <p:attrNameLst>
                                          <p:attrName>ppt_x</p:attrName>
                                        </p:attrNameLst>
                                      </p:cBhvr>
                                      <p:tavLst>
                                        <p:tav tm="0">
                                          <p:val>
                                            <p:strVal val="#ppt_x"/>
                                          </p:val>
                                        </p:tav>
                                        <p:tav tm="100000">
                                          <p:val>
                                            <p:strVal val="#ppt_x"/>
                                          </p:val>
                                        </p:tav>
                                      </p:tavLst>
                                    </p:anim>
                                    <p:anim calcmode="lin" valueType="num">
                                      <p:cBhvr>
                                        <p:cTn id="66" dur="500" fill="hold"/>
                                        <p:tgtEl>
                                          <p:spTgt spid="42"/>
                                        </p:tgtEl>
                                        <p:attrNameLst>
                                          <p:attrName>ppt_y</p:attrName>
                                        </p:attrNameLst>
                                      </p:cBhvr>
                                      <p:tavLst>
                                        <p:tav tm="0">
                                          <p:val>
                                            <p:strVal val="0-#ppt_h/2"/>
                                          </p:val>
                                        </p:tav>
                                        <p:tav tm="100000">
                                          <p:val>
                                            <p:strVal val="#ppt_y"/>
                                          </p:val>
                                        </p:tav>
                                      </p:tavLst>
                                    </p:anim>
                                  </p:childTnLst>
                                </p:cTn>
                              </p:par>
                              <p:par>
                                <p:cTn id="67" presetID="2" presetClass="entr" presetSubtype="1" fill="hold" grpId="0" nodeType="withEffect">
                                  <p:stCondLst>
                                    <p:cond delay="0"/>
                                  </p:stCondLst>
                                  <p:childTnLst>
                                    <p:set>
                                      <p:cBhvr>
                                        <p:cTn id="68" dur="1" fill="hold">
                                          <p:stCondLst>
                                            <p:cond delay="0"/>
                                          </p:stCondLst>
                                        </p:cTn>
                                        <p:tgtEl>
                                          <p:spTgt spid="43"/>
                                        </p:tgtEl>
                                        <p:attrNameLst>
                                          <p:attrName>style.visibility</p:attrName>
                                        </p:attrNameLst>
                                      </p:cBhvr>
                                      <p:to>
                                        <p:strVal val="visible"/>
                                      </p:to>
                                    </p:set>
                                    <p:anim calcmode="lin" valueType="num">
                                      <p:cBhvr>
                                        <p:cTn id="69" dur="500" fill="hold"/>
                                        <p:tgtEl>
                                          <p:spTgt spid="43"/>
                                        </p:tgtEl>
                                        <p:attrNameLst>
                                          <p:attrName>ppt_x</p:attrName>
                                        </p:attrNameLst>
                                      </p:cBhvr>
                                      <p:tavLst>
                                        <p:tav tm="0">
                                          <p:val>
                                            <p:strVal val="#ppt_x"/>
                                          </p:val>
                                        </p:tav>
                                        <p:tav tm="100000">
                                          <p:val>
                                            <p:strVal val="#ppt_x"/>
                                          </p:val>
                                        </p:tav>
                                      </p:tavLst>
                                    </p:anim>
                                    <p:anim calcmode="lin" valueType="num">
                                      <p:cBhvr>
                                        <p:cTn id="70" dur="500" fill="hold"/>
                                        <p:tgtEl>
                                          <p:spTgt spid="43"/>
                                        </p:tgtEl>
                                        <p:attrNameLst>
                                          <p:attrName>ppt_y</p:attrName>
                                        </p:attrNameLst>
                                      </p:cBhvr>
                                      <p:tavLst>
                                        <p:tav tm="0">
                                          <p:val>
                                            <p:strVal val="0-#ppt_h/2"/>
                                          </p:val>
                                        </p:tav>
                                        <p:tav tm="100000">
                                          <p:val>
                                            <p:strVal val="#ppt_y"/>
                                          </p:val>
                                        </p:tav>
                                      </p:tavLst>
                                    </p:anim>
                                  </p:childTnLst>
                                </p:cTn>
                              </p:par>
                            </p:childTnLst>
                          </p:cTn>
                        </p:par>
                      </p:childTnLst>
                    </p:cTn>
                  </p:par>
                  <p:par>
                    <p:cTn id="71" fill="hold">
                      <p:stCondLst>
                        <p:cond delay="indefinite"/>
                      </p:stCondLst>
                      <p:childTnLst>
                        <p:par>
                          <p:cTn id="72" fill="hold">
                            <p:stCondLst>
                              <p:cond delay="0"/>
                            </p:stCondLst>
                            <p:childTnLst>
                              <p:par>
                                <p:cTn id="73" presetID="42" presetClass="entr" presetSubtype="0" fill="hold" nodeType="clickEffect">
                                  <p:stCondLst>
                                    <p:cond delay="0"/>
                                  </p:stCondLst>
                                  <p:childTnLst>
                                    <p:set>
                                      <p:cBhvr>
                                        <p:cTn id="74" dur="1" fill="hold">
                                          <p:stCondLst>
                                            <p:cond delay="0"/>
                                          </p:stCondLst>
                                        </p:cTn>
                                        <p:tgtEl>
                                          <p:spTgt spid="29"/>
                                        </p:tgtEl>
                                        <p:attrNameLst>
                                          <p:attrName>style.visibility</p:attrName>
                                        </p:attrNameLst>
                                      </p:cBhvr>
                                      <p:to>
                                        <p:strVal val="visible"/>
                                      </p:to>
                                    </p:set>
                                    <p:animEffect transition="in" filter="fade">
                                      <p:cBhvr>
                                        <p:cTn id="75" dur="750"/>
                                        <p:tgtEl>
                                          <p:spTgt spid="29"/>
                                        </p:tgtEl>
                                      </p:cBhvr>
                                    </p:animEffect>
                                    <p:anim calcmode="lin" valueType="num">
                                      <p:cBhvr>
                                        <p:cTn id="76" dur="750" fill="hold"/>
                                        <p:tgtEl>
                                          <p:spTgt spid="29"/>
                                        </p:tgtEl>
                                        <p:attrNameLst>
                                          <p:attrName>ppt_x</p:attrName>
                                        </p:attrNameLst>
                                      </p:cBhvr>
                                      <p:tavLst>
                                        <p:tav tm="0">
                                          <p:val>
                                            <p:strVal val="#ppt_x"/>
                                          </p:val>
                                        </p:tav>
                                        <p:tav tm="100000">
                                          <p:val>
                                            <p:strVal val="#ppt_x"/>
                                          </p:val>
                                        </p:tav>
                                      </p:tavLst>
                                    </p:anim>
                                    <p:anim calcmode="lin" valueType="num">
                                      <p:cBhvr>
                                        <p:cTn id="77" dur="750" fill="hold"/>
                                        <p:tgtEl>
                                          <p:spTgt spid="29"/>
                                        </p:tgtEl>
                                        <p:attrNameLst>
                                          <p:attrName>ppt_y</p:attrName>
                                        </p:attrNameLst>
                                      </p:cBhvr>
                                      <p:tavLst>
                                        <p:tav tm="0">
                                          <p:val>
                                            <p:strVal val="#ppt_y+.1"/>
                                          </p:val>
                                        </p:tav>
                                        <p:tav tm="100000">
                                          <p:val>
                                            <p:strVal val="#ppt_y"/>
                                          </p:val>
                                        </p:tav>
                                      </p:tavLst>
                                    </p:anim>
                                  </p:childTnLst>
                                </p:cTn>
                              </p:par>
                            </p:childTnLst>
                          </p:cTn>
                        </p:par>
                        <p:par>
                          <p:cTn id="78" fill="hold">
                            <p:stCondLst>
                              <p:cond delay="1000"/>
                            </p:stCondLst>
                            <p:childTnLst>
                              <p:par>
                                <p:cTn id="79" presetID="2" presetClass="entr" presetSubtype="4" fill="hold" grpId="0" nodeType="afterEffect">
                                  <p:stCondLst>
                                    <p:cond delay="0"/>
                                  </p:stCondLst>
                                  <p:childTnLst>
                                    <p:set>
                                      <p:cBhvr>
                                        <p:cTn id="80" dur="1" fill="hold">
                                          <p:stCondLst>
                                            <p:cond delay="0"/>
                                          </p:stCondLst>
                                        </p:cTn>
                                        <p:tgtEl>
                                          <p:spTgt spid="44"/>
                                        </p:tgtEl>
                                        <p:attrNameLst>
                                          <p:attrName>style.visibility</p:attrName>
                                        </p:attrNameLst>
                                      </p:cBhvr>
                                      <p:to>
                                        <p:strVal val="visible"/>
                                      </p:to>
                                    </p:set>
                                    <p:anim calcmode="lin" valueType="num">
                                      <p:cBhvr>
                                        <p:cTn id="81" dur="500" fill="hold"/>
                                        <p:tgtEl>
                                          <p:spTgt spid="44"/>
                                        </p:tgtEl>
                                        <p:attrNameLst>
                                          <p:attrName>ppt_x</p:attrName>
                                        </p:attrNameLst>
                                      </p:cBhvr>
                                      <p:tavLst>
                                        <p:tav tm="0">
                                          <p:val>
                                            <p:strVal val="#ppt_x"/>
                                          </p:val>
                                        </p:tav>
                                        <p:tav tm="100000">
                                          <p:val>
                                            <p:strVal val="#ppt_x"/>
                                          </p:val>
                                        </p:tav>
                                      </p:tavLst>
                                    </p:anim>
                                    <p:anim calcmode="lin" valueType="num">
                                      <p:cBhvr>
                                        <p:cTn id="82" dur="500" fill="hold"/>
                                        <p:tgtEl>
                                          <p:spTgt spid="44"/>
                                        </p:tgtEl>
                                        <p:attrNameLst>
                                          <p:attrName>ppt_y</p:attrName>
                                        </p:attrNameLst>
                                      </p:cBhvr>
                                      <p:tavLst>
                                        <p:tav tm="0">
                                          <p:val>
                                            <p:strVal val="1+#ppt_h/2"/>
                                          </p:val>
                                        </p:tav>
                                        <p:tav tm="100000">
                                          <p:val>
                                            <p:strVal val="#ppt_y"/>
                                          </p:val>
                                        </p:tav>
                                      </p:tavLst>
                                    </p:anim>
                                  </p:childTnLst>
                                </p:cTn>
                              </p:par>
                              <p:par>
                                <p:cTn id="83" presetID="2" presetClass="entr" presetSubtype="4" fill="hold" grpId="0" nodeType="withEffect">
                                  <p:stCondLst>
                                    <p:cond delay="0"/>
                                  </p:stCondLst>
                                  <p:childTnLst>
                                    <p:set>
                                      <p:cBhvr>
                                        <p:cTn id="84" dur="1" fill="hold">
                                          <p:stCondLst>
                                            <p:cond delay="0"/>
                                          </p:stCondLst>
                                        </p:cTn>
                                        <p:tgtEl>
                                          <p:spTgt spid="45"/>
                                        </p:tgtEl>
                                        <p:attrNameLst>
                                          <p:attrName>style.visibility</p:attrName>
                                        </p:attrNameLst>
                                      </p:cBhvr>
                                      <p:to>
                                        <p:strVal val="visible"/>
                                      </p:to>
                                    </p:set>
                                    <p:anim calcmode="lin" valueType="num">
                                      <p:cBhvr>
                                        <p:cTn id="85" dur="500" fill="hold"/>
                                        <p:tgtEl>
                                          <p:spTgt spid="45"/>
                                        </p:tgtEl>
                                        <p:attrNameLst>
                                          <p:attrName>ppt_x</p:attrName>
                                        </p:attrNameLst>
                                      </p:cBhvr>
                                      <p:tavLst>
                                        <p:tav tm="0">
                                          <p:val>
                                            <p:strVal val="#ppt_x"/>
                                          </p:val>
                                        </p:tav>
                                        <p:tav tm="100000">
                                          <p:val>
                                            <p:strVal val="#ppt_x"/>
                                          </p:val>
                                        </p:tav>
                                      </p:tavLst>
                                    </p:anim>
                                    <p:anim calcmode="lin" valueType="num">
                                      <p:cBhvr>
                                        <p:cTn id="86" dur="500" fill="hold"/>
                                        <p:tgtEl>
                                          <p:spTgt spid="45"/>
                                        </p:tgtEl>
                                        <p:attrNameLst>
                                          <p:attrName>ppt_y</p:attrName>
                                        </p:attrNameLst>
                                      </p:cBhvr>
                                      <p:tavLst>
                                        <p:tav tm="0">
                                          <p:val>
                                            <p:strVal val="1+#ppt_h/2"/>
                                          </p:val>
                                        </p:tav>
                                        <p:tav tm="100000">
                                          <p:val>
                                            <p:strVal val="#ppt_y"/>
                                          </p:val>
                                        </p:tav>
                                      </p:tavLst>
                                    </p:anim>
                                  </p:childTnLst>
                                </p:cTn>
                              </p:par>
                            </p:childTnLst>
                          </p:cTn>
                        </p:par>
                      </p:childTnLst>
                    </p:cTn>
                  </p:par>
                  <p:par>
                    <p:cTn id="87" fill="hold">
                      <p:stCondLst>
                        <p:cond delay="indefinite"/>
                      </p:stCondLst>
                      <p:childTnLst>
                        <p:par>
                          <p:cTn id="88" fill="hold">
                            <p:stCondLst>
                              <p:cond delay="0"/>
                            </p:stCondLst>
                            <p:childTnLst>
                              <p:par>
                                <p:cTn id="89" presetID="42" presetClass="entr" presetSubtype="0" fill="hold" nodeType="clickEffect">
                                  <p:stCondLst>
                                    <p:cond delay="0"/>
                                  </p:stCondLst>
                                  <p:childTnLst>
                                    <p:set>
                                      <p:cBhvr>
                                        <p:cTn id="90" dur="1" fill="hold">
                                          <p:stCondLst>
                                            <p:cond delay="0"/>
                                          </p:stCondLst>
                                        </p:cTn>
                                        <p:tgtEl>
                                          <p:spTgt spid="26"/>
                                        </p:tgtEl>
                                        <p:attrNameLst>
                                          <p:attrName>style.visibility</p:attrName>
                                        </p:attrNameLst>
                                      </p:cBhvr>
                                      <p:to>
                                        <p:strVal val="visible"/>
                                      </p:to>
                                    </p:set>
                                    <p:animEffect transition="in" filter="fade">
                                      <p:cBhvr>
                                        <p:cTn id="91" dur="750"/>
                                        <p:tgtEl>
                                          <p:spTgt spid="26"/>
                                        </p:tgtEl>
                                      </p:cBhvr>
                                    </p:animEffect>
                                    <p:anim calcmode="lin" valueType="num">
                                      <p:cBhvr>
                                        <p:cTn id="92" dur="750" fill="hold"/>
                                        <p:tgtEl>
                                          <p:spTgt spid="26"/>
                                        </p:tgtEl>
                                        <p:attrNameLst>
                                          <p:attrName>ppt_x</p:attrName>
                                        </p:attrNameLst>
                                      </p:cBhvr>
                                      <p:tavLst>
                                        <p:tav tm="0">
                                          <p:val>
                                            <p:strVal val="#ppt_x"/>
                                          </p:val>
                                        </p:tav>
                                        <p:tav tm="100000">
                                          <p:val>
                                            <p:strVal val="#ppt_x"/>
                                          </p:val>
                                        </p:tav>
                                      </p:tavLst>
                                    </p:anim>
                                    <p:anim calcmode="lin" valueType="num">
                                      <p:cBhvr>
                                        <p:cTn id="93" dur="750" fill="hold"/>
                                        <p:tgtEl>
                                          <p:spTgt spid="26"/>
                                        </p:tgtEl>
                                        <p:attrNameLst>
                                          <p:attrName>ppt_y</p:attrName>
                                        </p:attrNameLst>
                                      </p:cBhvr>
                                      <p:tavLst>
                                        <p:tav tm="0">
                                          <p:val>
                                            <p:strVal val="#ppt_y+.1"/>
                                          </p:val>
                                        </p:tav>
                                        <p:tav tm="100000">
                                          <p:val>
                                            <p:strVal val="#ppt_y"/>
                                          </p:val>
                                        </p:tav>
                                      </p:tavLst>
                                    </p:anim>
                                  </p:childTnLst>
                                </p:cTn>
                              </p:par>
                            </p:childTnLst>
                          </p:cTn>
                        </p:par>
                        <p:par>
                          <p:cTn id="94" fill="hold">
                            <p:stCondLst>
                              <p:cond delay="1000"/>
                            </p:stCondLst>
                            <p:childTnLst>
                              <p:par>
                                <p:cTn id="95" presetID="2" presetClass="entr" presetSubtype="1" fill="hold" grpId="0" nodeType="afterEffect">
                                  <p:stCondLst>
                                    <p:cond delay="0"/>
                                  </p:stCondLst>
                                  <p:childTnLst>
                                    <p:set>
                                      <p:cBhvr>
                                        <p:cTn id="96" dur="1" fill="hold">
                                          <p:stCondLst>
                                            <p:cond delay="0"/>
                                          </p:stCondLst>
                                        </p:cTn>
                                        <p:tgtEl>
                                          <p:spTgt spid="46"/>
                                        </p:tgtEl>
                                        <p:attrNameLst>
                                          <p:attrName>style.visibility</p:attrName>
                                        </p:attrNameLst>
                                      </p:cBhvr>
                                      <p:to>
                                        <p:strVal val="visible"/>
                                      </p:to>
                                    </p:set>
                                    <p:anim calcmode="lin" valueType="num">
                                      <p:cBhvr>
                                        <p:cTn id="97" dur="500" fill="hold"/>
                                        <p:tgtEl>
                                          <p:spTgt spid="46"/>
                                        </p:tgtEl>
                                        <p:attrNameLst>
                                          <p:attrName>ppt_x</p:attrName>
                                        </p:attrNameLst>
                                      </p:cBhvr>
                                      <p:tavLst>
                                        <p:tav tm="0">
                                          <p:val>
                                            <p:strVal val="#ppt_x"/>
                                          </p:val>
                                        </p:tav>
                                        <p:tav tm="100000">
                                          <p:val>
                                            <p:strVal val="#ppt_x"/>
                                          </p:val>
                                        </p:tav>
                                      </p:tavLst>
                                    </p:anim>
                                    <p:anim calcmode="lin" valueType="num">
                                      <p:cBhvr>
                                        <p:cTn id="98" dur="500" fill="hold"/>
                                        <p:tgtEl>
                                          <p:spTgt spid="46"/>
                                        </p:tgtEl>
                                        <p:attrNameLst>
                                          <p:attrName>ppt_y</p:attrName>
                                        </p:attrNameLst>
                                      </p:cBhvr>
                                      <p:tavLst>
                                        <p:tav tm="0">
                                          <p:val>
                                            <p:strVal val="0-#ppt_h/2"/>
                                          </p:val>
                                        </p:tav>
                                        <p:tav tm="100000">
                                          <p:val>
                                            <p:strVal val="#ppt_y"/>
                                          </p:val>
                                        </p:tav>
                                      </p:tavLst>
                                    </p:anim>
                                  </p:childTnLst>
                                </p:cTn>
                              </p:par>
                              <p:par>
                                <p:cTn id="99" presetID="2" presetClass="entr" presetSubtype="1" fill="hold" grpId="0" nodeType="withEffect">
                                  <p:stCondLst>
                                    <p:cond delay="0"/>
                                  </p:stCondLst>
                                  <p:childTnLst>
                                    <p:set>
                                      <p:cBhvr>
                                        <p:cTn id="100" dur="1" fill="hold">
                                          <p:stCondLst>
                                            <p:cond delay="0"/>
                                          </p:stCondLst>
                                        </p:cTn>
                                        <p:tgtEl>
                                          <p:spTgt spid="47"/>
                                        </p:tgtEl>
                                        <p:attrNameLst>
                                          <p:attrName>style.visibility</p:attrName>
                                        </p:attrNameLst>
                                      </p:cBhvr>
                                      <p:to>
                                        <p:strVal val="visible"/>
                                      </p:to>
                                    </p:set>
                                    <p:anim calcmode="lin" valueType="num">
                                      <p:cBhvr>
                                        <p:cTn id="101" dur="500" fill="hold"/>
                                        <p:tgtEl>
                                          <p:spTgt spid="47"/>
                                        </p:tgtEl>
                                        <p:attrNameLst>
                                          <p:attrName>ppt_x</p:attrName>
                                        </p:attrNameLst>
                                      </p:cBhvr>
                                      <p:tavLst>
                                        <p:tav tm="0">
                                          <p:val>
                                            <p:strVal val="#ppt_x"/>
                                          </p:val>
                                        </p:tav>
                                        <p:tav tm="100000">
                                          <p:val>
                                            <p:strVal val="#ppt_x"/>
                                          </p:val>
                                        </p:tav>
                                      </p:tavLst>
                                    </p:anim>
                                    <p:anim calcmode="lin" valueType="num">
                                      <p:cBhvr>
                                        <p:cTn id="102" dur="500" fill="hold"/>
                                        <p:tgtEl>
                                          <p:spTgt spid="47"/>
                                        </p:tgtEl>
                                        <p:attrNameLst>
                                          <p:attrName>ppt_y</p:attrName>
                                        </p:attrNameLst>
                                      </p:cBhvr>
                                      <p:tavLst>
                                        <p:tav tm="0">
                                          <p:val>
                                            <p:strVal val="0-#ppt_h/2"/>
                                          </p:val>
                                        </p:tav>
                                        <p:tav tm="100000">
                                          <p:val>
                                            <p:strVal val="#ppt_y"/>
                                          </p:val>
                                        </p:tav>
                                      </p:tavLst>
                                    </p:anim>
                                  </p:childTnLst>
                                </p:cTn>
                              </p:par>
                            </p:childTnLst>
                          </p:cTn>
                        </p:par>
                      </p:childTnLst>
                    </p:cTn>
                  </p:par>
                  <p:par>
                    <p:cTn id="103" fill="hold">
                      <p:stCondLst>
                        <p:cond delay="indefinite"/>
                      </p:stCondLst>
                      <p:childTnLst>
                        <p:par>
                          <p:cTn id="104" fill="hold">
                            <p:stCondLst>
                              <p:cond delay="0"/>
                            </p:stCondLst>
                            <p:childTnLst>
                              <p:par>
                                <p:cTn id="105" presetID="42" presetClass="entr" presetSubtype="0" fill="hold" nodeType="clickEffect">
                                  <p:stCondLst>
                                    <p:cond delay="0"/>
                                  </p:stCondLst>
                                  <p:childTnLst>
                                    <p:set>
                                      <p:cBhvr>
                                        <p:cTn id="106" dur="1" fill="hold">
                                          <p:stCondLst>
                                            <p:cond delay="0"/>
                                          </p:stCondLst>
                                        </p:cTn>
                                        <p:tgtEl>
                                          <p:spTgt spid="23"/>
                                        </p:tgtEl>
                                        <p:attrNameLst>
                                          <p:attrName>style.visibility</p:attrName>
                                        </p:attrNameLst>
                                      </p:cBhvr>
                                      <p:to>
                                        <p:strVal val="visible"/>
                                      </p:to>
                                    </p:set>
                                    <p:animEffect transition="in" filter="fade">
                                      <p:cBhvr>
                                        <p:cTn id="107" dur="750"/>
                                        <p:tgtEl>
                                          <p:spTgt spid="23"/>
                                        </p:tgtEl>
                                      </p:cBhvr>
                                    </p:animEffect>
                                    <p:anim calcmode="lin" valueType="num">
                                      <p:cBhvr>
                                        <p:cTn id="108" dur="750" fill="hold"/>
                                        <p:tgtEl>
                                          <p:spTgt spid="23"/>
                                        </p:tgtEl>
                                        <p:attrNameLst>
                                          <p:attrName>ppt_x</p:attrName>
                                        </p:attrNameLst>
                                      </p:cBhvr>
                                      <p:tavLst>
                                        <p:tav tm="0">
                                          <p:val>
                                            <p:strVal val="#ppt_x"/>
                                          </p:val>
                                        </p:tav>
                                        <p:tav tm="100000">
                                          <p:val>
                                            <p:strVal val="#ppt_x"/>
                                          </p:val>
                                        </p:tav>
                                      </p:tavLst>
                                    </p:anim>
                                    <p:anim calcmode="lin" valueType="num">
                                      <p:cBhvr>
                                        <p:cTn id="109" dur="750" fill="hold"/>
                                        <p:tgtEl>
                                          <p:spTgt spid="23"/>
                                        </p:tgtEl>
                                        <p:attrNameLst>
                                          <p:attrName>ppt_y</p:attrName>
                                        </p:attrNameLst>
                                      </p:cBhvr>
                                      <p:tavLst>
                                        <p:tav tm="0">
                                          <p:val>
                                            <p:strVal val="#ppt_y+.1"/>
                                          </p:val>
                                        </p:tav>
                                        <p:tav tm="100000">
                                          <p:val>
                                            <p:strVal val="#ppt_y"/>
                                          </p:val>
                                        </p:tav>
                                      </p:tavLst>
                                    </p:anim>
                                  </p:childTnLst>
                                </p:cTn>
                              </p:par>
                            </p:childTnLst>
                          </p:cTn>
                        </p:par>
                        <p:par>
                          <p:cTn id="110" fill="hold">
                            <p:stCondLst>
                              <p:cond delay="1000"/>
                            </p:stCondLst>
                            <p:childTnLst>
                              <p:par>
                                <p:cTn id="111" presetID="2" presetClass="entr" presetSubtype="4" fill="hold" grpId="0" nodeType="afterEffect">
                                  <p:stCondLst>
                                    <p:cond delay="0"/>
                                  </p:stCondLst>
                                  <p:childTnLst>
                                    <p:set>
                                      <p:cBhvr>
                                        <p:cTn id="112" dur="1" fill="hold">
                                          <p:stCondLst>
                                            <p:cond delay="0"/>
                                          </p:stCondLst>
                                        </p:cTn>
                                        <p:tgtEl>
                                          <p:spTgt spid="48"/>
                                        </p:tgtEl>
                                        <p:attrNameLst>
                                          <p:attrName>style.visibility</p:attrName>
                                        </p:attrNameLst>
                                      </p:cBhvr>
                                      <p:to>
                                        <p:strVal val="visible"/>
                                      </p:to>
                                    </p:set>
                                    <p:anim calcmode="lin" valueType="num">
                                      <p:cBhvr>
                                        <p:cTn id="113" dur="500" fill="hold"/>
                                        <p:tgtEl>
                                          <p:spTgt spid="48"/>
                                        </p:tgtEl>
                                        <p:attrNameLst>
                                          <p:attrName>ppt_x</p:attrName>
                                        </p:attrNameLst>
                                      </p:cBhvr>
                                      <p:tavLst>
                                        <p:tav tm="0">
                                          <p:val>
                                            <p:strVal val="#ppt_x"/>
                                          </p:val>
                                        </p:tav>
                                        <p:tav tm="100000">
                                          <p:val>
                                            <p:strVal val="#ppt_x"/>
                                          </p:val>
                                        </p:tav>
                                      </p:tavLst>
                                    </p:anim>
                                    <p:anim calcmode="lin" valueType="num">
                                      <p:cBhvr>
                                        <p:cTn id="114" dur="500" fill="hold"/>
                                        <p:tgtEl>
                                          <p:spTgt spid="48"/>
                                        </p:tgtEl>
                                        <p:attrNameLst>
                                          <p:attrName>ppt_y</p:attrName>
                                        </p:attrNameLst>
                                      </p:cBhvr>
                                      <p:tavLst>
                                        <p:tav tm="0">
                                          <p:val>
                                            <p:strVal val="1+#ppt_h/2"/>
                                          </p:val>
                                        </p:tav>
                                        <p:tav tm="100000">
                                          <p:val>
                                            <p:strVal val="#ppt_y"/>
                                          </p:val>
                                        </p:tav>
                                      </p:tavLst>
                                    </p:anim>
                                  </p:childTnLst>
                                </p:cTn>
                              </p:par>
                              <p:par>
                                <p:cTn id="115" presetID="2" presetClass="entr" presetSubtype="4" fill="hold" grpId="0" nodeType="withEffect">
                                  <p:stCondLst>
                                    <p:cond delay="0"/>
                                  </p:stCondLst>
                                  <p:childTnLst>
                                    <p:set>
                                      <p:cBhvr>
                                        <p:cTn id="116" dur="1" fill="hold">
                                          <p:stCondLst>
                                            <p:cond delay="0"/>
                                          </p:stCondLst>
                                        </p:cTn>
                                        <p:tgtEl>
                                          <p:spTgt spid="49"/>
                                        </p:tgtEl>
                                        <p:attrNameLst>
                                          <p:attrName>style.visibility</p:attrName>
                                        </p:attrNameLst>
                                      </p:cBhvr>
                                      <p:to>
                                        <p:strVal val="visible"/>
                                      </p:to>
                                    </p:set>
                                    <p:anim calcmode="lin" valueType="num">
                                      <p:cBhvr>
                                        <p:cTn id="117" dur="500" fill="hold"/>
                                        <p:tgtEl>
                                          <p:spTgt spid="49"/>
                                        </p:tgtEl>
                                        <p:attrNameLst>
                                          <p:attrName>ppt_x</p:attrName>
                                        </p:attrNameLst>
                                      </p:cBhvr>
                                      <p:tavLst>
                                        <p:tav tm="0">
                                          <p:val>
                                            <p:strVal val="#ppt_x"/>
                                          </p:val>
                                        </p:tav>
                                        <p:tav tm="100000">
                                          <p:val>
                                            <p:strVal val="#ppt_x"/>
                                          </p:val>
                                        </p:tav>
                                      </p:tavLst>
                                    </p:anim>
                                    <p:anim calcmode="lin" valueType="num">
                                      <p:cBhvr>
                                        <p:cTn id="118"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par>
                    <p:cTn id="119" fill="hold">
                      <p:stCondLst>
                        <p:cond delay="indefinite"/>
                      </p:stCondLst>
                      <p:childTnLst>
                        <p:par>
                          <p:cTn id="120" fill="hold">
                            <p:stCondLst>
                              <p:cond delay="0"/>
                            </p:stCondLst>
                            <p:childTnLst>
                              <p:par>
                                <p:cTn id="121" presetID="22" presetClass="entr" presetSubtype="8" fill="hold" grpId="0" nodeType="clickEffect">
                                  <p:stCondLst>
                                    <p:cond delay="0"/>
                                  </p:stCondLst>
                                  <p:childTnLst>
                                    <p:set>
                                      <p:cBhvr>
                                        <p:cTn id="122" dur="1" fill="hold">
                                          <p:stCondLst>
                                            <p:cond delay="0"/>
                                          </p:stCondLst>
                                        </p:cTn>
                                        <p:tgtEl>
                                          <p:spTgt spid="22"/>
                                        </p:tgtEl>
                                        <p:attrNameLst>
                                          <p:attrName>style.visibility</p:attrName>
                                        </p:attrNameLst>
                                      </p:cBhvr>
                                      <p:to>
                                        <p:strVal val="visible"/>
                                      </p:to>
                                    </p:set>
                                    <p:animEffect transition="in" filter="wipe(left)">
                                      <p:cBhvr>
                                        <p:cTn id="123"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24" fill="hold" display="0">
                  <p:stCondLst>
                    <p:cond delay="indefinite"/>
                  </p:stCondLst>
                  <p:endCondLst>
                    <p:cond evt="onStopAudio" delay="0">
                      <p:tgtEl>
                        <p:sldTgt/>
                      </p:tgtEl>
                    </p:cond>
                  </p:endCondLst>
                </p:cTn>
                <p:tgtEl>
                  <p:spTgt spid="63"/>
                </p:tgtEl>
              </p:cMediaNode>
            </p:audio>
          </p:childTnLst>
        </p:cTn>
      </p:par>
    </p:tnLst>
    <p:bldLst>
      <p:bldP spid="22" grpId="0" animBg="1"/>
      <p:bldP spid="38" grpId="0"/>
      <p:bldP spid="39" grpId="0"/>
      <p:bldP spid="40" grpId="0"/>
      <p:bldP spid="41" grpId="0"/>
      <p:bldP spid="42" grpId="0"/>
      <p:bldP spid="43" grpId="0"/>
      <p:bldP spid="44" grpId="0"/>
      <p:bldP spid="45" grpId="0"/>
      <p:bldP spid="46" grpId="0"/>
      <p:bldP spid="47" grpId="0"/>
      <p:bldP spid="48" grpId="0"/>
      <p:bldP spid="49" grpId="0"/>
      <p:bldP spid="55" grpId="0" animBg="1"/>
      <p:bldP spid="5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AutoShape 2"/>
          <p:cNvSpPr/>
          <p:nvPr/>
        </p:nvSpPr>
        <p:spPr bwMode="auto">
          <a:xfrm>
            <a:off x="5266214" y="3824487"/>
            <a:ext cx="405606" cy="46686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rgbClr val="0070C0"/>
          </a:solidFill>
          <a:ln>
            <a:noFill/>
          </a:ln>
          <a:effectLst/>
        </p:spPr>
        <p:txBody>
          <a:bodyPr lIns="0" tIns="0" rIns="0" bIns="0"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defRPr/>
            </a:pPr>
            <a:r>
              <a:rPr lang="es-ES" altLang="zh-CN" sz="1200" b="0" noProof="1">
                <a:solidFill>
                  <a:schemeClr val="bg1">
                    <a:lumMod val="85000"/>
                  </a:schemeClr>
                </a:solidFill>
                <a:latin typeface="Helvetica Light" charset="0"/>
                <a:sym typeface="Helvetica Light" charset="0"/>
              </a:rPr>
              <a:t> </a:t>
            </a:r>
            <a:endParaRPr lang="es-ES" altLang="zh-CN" sz="900" noProof="1">
              <a:solidFill>
                <a:schemeClr val="bg1">
                  <a:lumMod val="85000"/>
                </a:schemeClr>
              </a:solidFill>
            </a:endParaRPr>
          </a:p>
        </p:txBody>
      </p:sp>
      <p:sp>
        <p:nvSpPr>
          <p:cNvPr id="31" name="AutoShape 4"/>
          <p:cNvSpPr/>
          <p:nvPr/>
        </p:nvSpPr>
        <p:spPr bwMode="auto">
          <a:xfrm>
            <a:off x="3334862" y="2344255"/>
            <a:ext cx="406718" cy="46686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rgbClr val="0070C0"/>
          </a:solidFill>
          <a:ln>
            <a:noFill/>
          </a:ln>
          <a:effectLst/>
        </p:spPr>
        <p:txBody>
          <a:bodyPr lIns="0" tIns="0" rIns="0" bIns="0" anchor="ctr"/>
          <a:lstStyle/>
          <a:p>
            <a:pPr eaLnBrk="1" hangingPunct="1">
              <a:defRPr/>
            </a:pPr>
            <a:endParaRPr lang="es-ES" sz="1200" noProof="1">
              <a:solidFill>
                <a:schemeClr val="bg1">
                  <a:lumMod val="85000"/>
                </a:schemeClr>
              </a:solidFill>
              <a:latin typeface="Helvetica Light" charset="0"/>
              <a:ea typeface="MS PGothic" panose="020B0600070205080204" pitchFamily="34" charset="-128"/>
              <a:cs typeface="Helvetica Light" charset="0"/>
              <a:sym typeface="Helvetica Light" charset="0"/>
            </a:endParaRPr>
          </a:p>
        </p:txBody>
      </p:sp>
      <p:sp>
        <p:nvSpPr>
          <p:cNvPr id="32" name="AutoShape 6"/>
          <p:cNvSpPr/>
          <p:nvPr/>
        </p:nvSpPr>
        <p:spPr bwMode="auto">
          <a:xfrm>
            <a:off x="5256213" y="2730354"/>
            <a:ext cx="406718" cy="46575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rgbClr val="00AEEF"/>
          </a:solidFill>
          <a:ln>
            <a:noFill/>
          </a:ln>
          <a:effectLst/>
        </p:spPr>
        <p:txBody>
          <a:bodyPr lIns="0" tIns="0" rIns="0" bIns="0" anchor="ctr"/>
          <a:lstStyle/>
          <a:p>
            <a:pPr eaLnBrk="1" hangingPunct="1">
              <a:defRPr/>
            </a:pPr>
            <a:endParaRPr lang="es-ES" sz="1200" noProof="1">
              <a:solidFill>
                <a:schemeClr val="bg1">
                  <a:lumMod val="85000"/>
                </a:schemeClr>
              </a:solidFill>
              <a:latin typeface="Helvetica Light" charset="0"/>
              <a:ea typeface="MS PGothic" panose="020B0600070205080204" pitchFamily="34" charset="-128"/>
              <a:cs typeface="Helvetica Light" charset="0"/>
              <a:sym typeface="Helvetica Light" charset="0"/>
            </a:endParaRPr>
          </a:p>
        </p:txBody>
      </p:sp>
      <p:sp>
        <p:nvSpPr>
          <p:cNvPr id="33" name="AutoShape 8"/>
          <p:cNvSpPr/>
          <p:nvPr/>
        </p:nvSpPr>
        <p:spPr bwMode="auto">
          <a:xfrm>
            <a:off x="3325972" y="1374027"/>
            <a:ext cx="405606" cy="465754"/>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10800" y="0"/>
                </a:moveTo>
                <a:lnTo>
                  <a:pt x="21599" y="5400"/>
                </a:lnTo>
                <a:lnTo>
                  <a:pt x="21599" y="16200"/>
                </a:lnTo>
                <a:lnTo>
                  <a:pt x="10799" y="21599"/>
                </a:lnTo>
                <a:lnTo>
                  <a:pt x="0" y="16199"/>
                </a:lnTo>
                <a:lnTo>
                  <a:pt x="0" y="5400"/>
                </a:lnTo>
                <a:lnTo>
                  <a:pt x="10800" y="0"/>
                </a:lnTo>
                <a:close/>
              </a:path>
            </a:pathLst>
          </a:custGeom>
          <a:solidFill>
            <a:srgbClr val="00AEEF"/>
          </a:solidFill>
          <a:ln>
            <a:noFill/>
          </a:ln>
        </p:spPr>
        <p:txBody>
          <a:bodyPr lIns="0" tIns="0" rIns="0" bIns="0"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defRPr/>
            </a:pPr>
            <a:r>
              <a:rPr lang="es-ES" altLang="zh-CN" sz="1200" b="0" noProof="1">
                <a:solidFill>
                  <a:schemeClr val="bg1">
                    <a:lumMod val="85000"/>
                  </a:schemeClr>
                </a:solidFill>
                <a:latin typeface="Helvetica Light" charset="0"/>
                <a:sym typeface="Helvetica Light" charset="0"/>
              </a:rPr>
              <a:t> </a:t>
            </a:r>
            <a:endParaRPr lang="es-ES" altLang="zh-CN" sz="900" noProof="1">
              <a:solidFill>
                <a:schemeClr val="bg1">
                  <a:lumMod val="85000"/>
                </a:schemeClr>
              </a:solidFill>
            </a:endParaRPr>
          </a:p>
        </p:txBody>
      </p:sp>
      <p:sp>
        <p:nvSpPr>
          <p:cNvPr id="34" name="AutoShape 10"/>
          <p:cNvSpPr/>
          <p:nvPr/>
        </p:nvSpPr>
        <p:spPr bwMode="auto">
          <a:xfrm>
            <a:off x="3350419" y="3431750"/>
            <a:ext cx="405606" cy="46686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599" y="5400"/>
                </a:lnTo>
                <a:lnTo>
                  <a:pt x="21599" y="16200"/>
                </a:lnTo>
                <a:lnTo>
                  <a:pt x="10799" y="21599"/>
                </a:lnTo>
                <a:lnTo>
                  <a:pt x="0" y="16199"/>
                </a:lnTo>
                <a:lnTo>
                  <a:pt x="0" y="5400"/>
                </a:lnTo>
                <a:close/>
              </a:path>
            </a:pathLst>
          </a:custGeom>
          <a:solidFill>
            <a:srgbClr val="00AEEF"/>
          </a:solidFill>
          <a:ln>
            <a:noFill/>
          </a:ln>
          <a:effectLst/>
        </p:spPr>
        <p:txBody>
          <a:bodyPr lIns="0" tIns="0" rIns="0" bIns="0" anchor="ctr"/>
          <a:lstStyle/>
          <a:p>
            <a:pPr eaLnBrk="1" hangingPunct="1">
              <a:defRPr/>
            </a:pPr>
            <a:endParaRPr lang="es-ES" sz="1200" noProof="1">
              <a:solidFill>
                <a:schemeClr val="bg1">
                  <a:lumMod val="85000"/>
                </a:schemeClr>
              </a:solidFill>
              <a:latin typeface="Helvetica Light" charset="0"/>
              <a:ea typeface="MS PGothic" panose="020B0600070205080204" pitchFamily="34" charset="-128"/>
              <a:cs typeface="Helvetica Light" charset="0"/>
              <a:sym typeface="Helvetica Light" charset="0"/>
            </a:endParaRPr>
          </a:p>
        </p:txBody>
      </p:sp>
      <p:sp>
        <p:nvSpPr>
          <p:cNvPr id="35" name="AutoShape 12"/>
          <p:cNvSpPr>
            <a:spLocks noChangeArrowheads="1"/>
          </p:cNvSpPr>
          <p:nvPr/>
        </p:nvSpPr>
        <p:spPr bwMode="auto">
          <a:xfrm>
            <a:off x="5252879" y="1759021"/>
            <a:ext cx="406718" cy="466860"/>
          </a:xfrm>
          <a:custGeom>
            <a:avLst/>
            <a:gdLst>
              <a:gd name="T0" fmla="*/ 290513 w 21600"/>
              <a:gd name="T1" fmla="*/ 0 h 21600"/>
              <a:gd name="T2" fmla="*/ 580998 w 21600"/>
              <a:gd name="T3" fmla="*/ 167481 h 21600"/>
              <a:gd name="T4" fmla="*/ 580998 w 21600"/>
              <a:gd name="T5" fmla="*/ 502444 h 21600"/>
              <a:gd name="T6" fmla="*/ 290486 w 21600"/>
              <a:gd name="T7" fmla="*/ 669894 h 21600"/>
              <a:gd name="T8" fmla="*/ 0 w 21600"/>
              <a:gd name="T9" fmla="*/ 502413 h 21600"/>
              <a:gd name="T10" fmla="*/ 0 w 21600"/>
              <a:gd name="T11" fmla="*/ 167481 h 21600"/>
              <a:gd name="T12" fmla="*/ 290513 w 21600"/>
              <a:gd name="T13" fmla="*/ 0 h 2160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1600" h="21600">
                <a:moveTo>
                  <a:pt x="10800" y="0"/>
                </a:moveTo>
                <a:lnTo>
                  <a:pt x="21599" y="5400"/>
                </a:lnTo>
                <a:lnTo>
                  <a:pt x="21599" y="16200"/>
                </a:lnTo>
                <a:lnTo>
                  <a:pt x="10799" y="21599"/>
                </a:lnTo>
                <a:lnTo>
                  <a:pt x="0" y="16199"/>
                </a:lnTo>
                <a:lnTo>
                  <a:pt x="0" y="5400"/>
                </a:lnTo>
                <a:lnTo>
                  <a:pt x="10800" y="0"/>
                </a:lnTo>
                <a:close/>
              </a:path>
            </a:pathLst>
          </a:custGeom>
          <a:solidFill>
            <a:srgbClr val="0070C0"/>
          </a:solidFill>
          <a:ln>
            <a:noFill/>
          </a:ln>
        </p:spPr>
        <p:txBody>
          <a:bodyPr lIns="0" tIns="0" rIns="0" bIns="0" anchor="ctr"/>
          <a:lstStyle/>
          <a:p>
            <a:endParaRPr lang="zh-CN" altLang="en-US">
              <a:solidFill>
                <a:schemeClr val="bg1">
                  <a:lumMod val="85000"/>
                </a:schemeClr>
              </a:solidFill>
            </a:endParaRPr>
          </a:p>
        </p:txBody>
      </p:sp>
      <p:sp>
        <p:nvSpPr>
          <p:cNvPr id="36" name="Line 16"/>
          <p:cNvSpPr>
            <a:spLocks noChangeShapeType="1"/>
          </p:cNvSpPr>
          <p:nvPr/>
        </p:nvSpPr>
        <p:spPr bwMode="auto">
          <a:xfrm>
            <a:off x="3931603" y="3685093"/>
            <a:ext cx="1159034" cy="345166"/>
          </a:xfrm>
          <a:prstGeom prst="line">
            <a:avLst/>
          </a:prstGeom>
          <a:noFill/>
          <a:ln w="101600" cap="flat" cmpd="sng">
            <a:solidFill>
              <a:srgbClr val="B9B9B9"/>
            </a:solidFill>
            <a:prstDash val="solid"/>
            <a:round/>
          </a:ln>
          <a:effectLst/>
        </p:spPr>
        <p:txBody>
          <a:bodyPr lIns="0" tIns="0" rIns="0" bIns="0" anchor="ctr"/>
          <a:lstStyle/>
          <a:p>
            <a:pPr defTabSz="168275" eaLnBrk="1" hangingPunct="1">
              <a:defRPr/>
            </a:pPr>
            <a:endParaRPr lang="es-ES" sz="400" noProof="1">
              <a:solidFill>
                <a:schemeClr val="bg1">
                  <a:lumMod val="85000"/>
                </a:schemeClr>
              </a:solidFill>
              <a:latin typeface="Helvetica" panose="020B0604020202030204" charset="0"/>
              <a:ea typeface="MS PGothic" panose="020B0600070205080204" pitchFamily="34" charset="-128"/>
              <a:sym typeface="Helvetica" panose="020B0604020202030204" charset="0"/>
            </a:endParaRPr>
          </a:p>
        </p:txBody>
      </p:sp>
      <p:sp>
        <p:nvSpPr>
          <p:cNvPr id="37" name="Line 17"/>
          <p:cNvSpPr>
            <a:spLocks noChangeShapeType="1"/>
          </p:cNvSpPr>
          <p:nvPr/>
        </p:nvSpPr>
        <p:spPr bwMode="auto">
          <a:xfrm flipV="1">
            <a:off x="3932714" y="2967103"/>
            <a:ext cx="1136808" cy="708033"/>
          </a:xfrm>
          <a:prstGeom prst="line">
            <a:avLst/>
          </a:prstGeom>
          <a:noFill/>
          <a:ln w="101600" cap="flat" cmpd="sng">
            <a:solidFill>
              <a:srgbClr val="B9B9B9"/>
            </a:solidFill>
            <a:prstDash val="solid"/>
            <a:round/>
          </a:ln>
          <a:effectLst/>
        </p:spPr>
        <p:txBody>
          <a:bodyPr lIns="0" tIns="0" rIns="0" bIns="0" anchor="ctr"/>
          <a:lstStyle/>
          <a:p>
            <a:pPr defTabSz="168275" eaLnBrk="1" hangingPunct="1">
              <a:defRPr/>
            </a:pPr>
            <a:endParaRPr lang="es-ES" sz="400" noProof="1">
              <a:solidFill>
                <a:schemeClr val="bg1">
                  <a:lumMod val="85000"/>
                </a:schemeClr>
              </a:solidFill>
              <a:latin typeface="Helvetica" panose="020B0604020202030204" charset="0"/>
              <a:ea typeface="MS PGothic" panose="020B0600070205080204" pitchFamily="34" charset="-128"/>
              <a:sym typeface="Helvetica" panose="020B0604020202030204" charset="0"/>
            </a:endParaRPr>
          </a:p>
        </p:txBody>
      </p:sp>
      <p:sp>
        <p:nvSpPr>
          <p:cNvPr id="38" name="Line 18"/>
          <p:cNvSpPr>
            <a:spLocks noChangeShapeType="1"/>
          </p:cNvSpPr>
          <p:nvPr/>
        </p:nvSpPr>
        <p:spPr bwMode="auto">
          <a:xfrm>
            <a:off x="3930492" y="2583216"/>
            <a:ext cx="1137920" cy="381674"/>
          </a:xfrm>
          <a:prstGeom prst="line">
            <a:avLst/>
          </a:prstGeom>
          <a:noFill/>
          <a:ln w="101600" cap="flat" cmpd="sng">
            <a:solidFill>
              <a:srgbClr val="B9B9B9"/>
            </a:solidFill>
            <a:prstDash val="solid"/>
            <a:round/>
          </a:ln>
          <a:effectLst/>
        </p:spPr>
        <p:txBody>
          <a:bodyPr lIns="0" tIns="0" rIns="0" bIns="0" anchor="ctr"/>
          <a:lstStyle/>
          <a:p>
            <a:pPr defTabSz="168275" eaLnBrk="1" hangingPunct="1">
              <a:defRPr/>
            </a:pPr>
            <a:endParaRPr lang="es-ES" sz="400" noProof="1">
              <a:solidFill>
                <a:schemeClr val="bg1">
                  <a:lumMod val="85000"/>
                </a:schemeClr>
              </a:solidFill>
              <a:latin typeface="Helvetica" panose="020B0604020202030204" charset="0"/>
              <a:ea typeface="MS PGothic" panose="020B0600070205080204" pitchFamily="34" charset="-128"/>
              <a:sym typeface="Helvetica" panose="020B0604020202030204" charset="0"/>
            </a:endParaRPr>
          </a:p>
        </p:txBody>
      </p:sp>
      <p:sp>
        <p:nvSpPr>
          <p:cNvPr id="39" name="Line 19"/>
          <p:cNvSpPr>
            <a:spLocks noChangeShapeType="1"/>
          </p:cNvSpPr>
          <p:nvPr/>
        </p:nvSpPr>
        <p:spPr bwMode="auto">
          <a:xfrm flipV="1">
            <a:off x="3932714" y="2006833"/>
            <a:ext cx="1113473" cy="578596"/>
          </a:xfrm>
          <a:prstGeom prst="line">
            <a:avLst/>
          </a:prstGeom>
          <a:noFill/>
          <a:ln w="101600" cap="flat" cmpd="sng">
            <a:solidFill>
              <a:srgbClr val="B9B9B9"/>
            </a:solidFill>
            <a:prstDash val="solid"/>
            <a:round/>
          </a:ln>
          <a:effectLst/>
        </p:spPr>
        <p:txBody>
          <a:bodyPr lIns="0" tIns="0" rIns="0" bIns="0" anchor="ctr"/>
          <a:lstStyle/>
          <a:p>
            <a:pPr defTabSz="168275" eaLnBrk="1" hangingPunct="1">
              <a:defRPr/>
            </a:pPr>
            <a:endParaRPr lang="es-ES" sz="400" noProof="1">
              <a:solidFill>
                <a:schemeClr val="bg1">
                  <a:lumMod val="85000"/>
                </a:schemeClr>
              </a:solidFill>
              <a:latin typeface="Helvetica" panose="020B0604020202030204" charset="0"/>
              <a:ea typeface="MS PGothic" panose="020B0600070205080204" pitchFamily="34" charset="-128"/>
              <a:sym typeface="Helvetica" panose="020B0604020202030204" charset="0"/>
            </a:endParaRPr>
          </a:p>
        </p:txBody>
      </p:sp>
      <p:sp>
        <p:nvSpPr>
          <p:cNvPr id="40" name="Line 20"/>
          <p:cNvSpPr>
            <a:spLocks noChangeShapeType="1"/>
          </p:cNvSpPr>
          <p:nvPr/>
        </p:nvSpPr>
        <p:spPr bwMode="auto">
          <a:xfrm>
            <a:off x="3941604" y="1605245"/>
            <a:ext cx="1101248" cy="392737"/>
          </a:xfrm>
          <a:prstGeom prst="line">
            <a:avLst/>
          </a:prstGeom>
          <a:noFill/>
          <a:ln w="101600" cap="flat" cmpd="sng">
            <a:solidFill>
              <a:srgbClr val="B9B9B9"/>
            </a:solidFill>
            <a:prstDash val="solid"/>
            <a:round/>
          </a:ln>
          <a:effectLst/>
        </p:spPr>
        <p:txBody>
          <a:bodyPr lIns="0" tIns="0" rIns="0" bIns="0" anchor="ctr"/>
          <a:lstStyle/>
          <a:p>
            <a:pPr defTabSz="168275" eaLnBrk="1" hangingPunct="1">
              <a:defRPr/>
            </a:pPr>
            <a:endParaRPr lang="es-ES" sz="400" noProof="1">
              <a:solidFill>
                <a:schemeClr val="bg1">
                  <a:lumMod val="85000"/>
                </a:schemeClr>
              </a:solidFill>
              <a:latin typeface="Helvetica" panose="020B0604020202030204" charset="0"/>
              <a:ea typeface="MS PGothic" panose="020B0600070205080204" pitchFamily="34" charset="-128"/>
              <a:sym typeface="Helvetica" panose="020B0604020202030204" charset="0"/>
            </a:endParaRPr>
          </a:p>
        </p:txBody>
      </p:sp>
      <p:sp>
        <p:nvSpPr>
          <p:cNvPr id="41" name="AutoShape 21"/>
          <p:cNvSpPr/>
          <p:nvPr/>
        </p:nvSpPr>
        <p:spPr bwMode="auto">
          <a:xfrm>
            <a:off x="4962843" y="1915009"/>
            <a:ext cx="160020" cy="15930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defTabSz="215265" eaLnBrk="1" hangingPunct="1">
              <a:defRPr/>
            </a:pPr>
            <a:endParaRPr lang="es-ES" sz="1500" noProof="1">
              <a:solidFill>
                <a:schemeClr val="bg1">
                  <a:lumMod val="85000"/>
                </a:schemeClr>
              </a:solidFill>
              <a:effectLst>
                <a:outerShdw blurRad="38100" dist="38100" dir="2700000" algn="tl">
                  <a:srgbClr val="000000"/>
                </a:outerShdw>
              </a:effectLst>
              <a:latin typeface="Gill Sans" pitchFamily="2" charset="0"/>
              <a:ea typeface="MS PGothic" panose="020B0600070205080204" pitchFamily="34" charset="-128"/>
              <a:cs typeface="Gill Sans" pitchFamily="2" charset="0"/>
              <a:sym typeface="Gill Sans" pitchFamily="2" charset="0"/>
            </a:endParaRPr>
          </a:p>
        </p:txBody>
      </p:sp>
      <p:sp>
        <p:nvSpPr>
          <p:cNvPr id="42" name="AutoShape 22"/>
          <p:cNvSpPr/>
          <p:nvPr/>
        </p:nvSpPr>
        <p:spPr bwMode="auto">
          <a:xfrm>
            <a:off x="4987290" y="2879705"/>
            <a:ext cx="160020" cy="158201"/>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defTabSz="215265" eaLnBrk="1" hangingPunct="1">
              <a:defRPr/>
            </a:pPr>
            <a:endParaRPr lang="es-ES" sz="1500" noProof="1">
              <a:solidFill>
                <a:schemeClr val="bg1">
                  <a:lumMod val="85000"/>
                </a:schemeClr>
              </a:solidFill>
              <a:effectLst>
                <a:outerShdw blurRad="38100" dist="38100" dir="2700000" algn="tl">
                  <a:srgbClr val="000000"/>
                </a:outerShdw>
              </a:effectLst>
              <a:latin typeface="Gill Sans" pitchFamily="2" charset="0"/>
              <a:ea typeface="MS PGothic" panose="020B0600070205080204" pitchFamily="34" charset="-128"/>
              <a:cs typeface="Gill Sans" pitchFamily="2" charset="0"/>
              <a:sym typeface="Gill Sans" pitchFamily="2" charset="0"/>
            </a:endParaRPr>
          </a:p>
        </p:txBody>
      </p:sp>
      <p:sp>
        <p:nvSpPr>
          <p:cNvPr id="43" name="AutoShape 23"/>
          <p:cNvSpPr/>
          <p:nvPr/>
        </p:nvSpPr>
        <p:spPr bwMode="auto">
          <a:xfrm>
            <a:off x="5019517" y="3962775"/>
            <a:ext cx="158908" cy="158202"/>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defTabSz="215265" eaLnBrk="1" hangingPunct="1">
              <a:defRPr/>
            </a:pPr>
            <a:endParaRPr lang="es-ES" sz="1500" noProof="1">
              <a:solidFill>
                <a:schemeClr val="bg1">
                  <a:lumMod val="85000"/>
                </a:schemeClr>
              </a:solidFill>
              <a:effectLst>
                <a:outerShdw blurRad="38100" dist="38100" dir="2700000" algn="tl">
                  <a:srgbClr val="000000"/>
                </a:outerShdw>
              </a:effectLst>
              <a:latin typeface="Gill Sans" pitchFamily="2" charset="0"/>
              <a:ea typeface="MS PGothic" panose="020B0600070205080204" pitchFamily="34" charset="-128"/>
              <a:cs typeface="Gill Sans" pitchFamily="2" charset="0"/>
              <a:sym typeface="Gill Sans" pitchFamily="2" charset="0"/>
            </a:endParaRPr>
          </a:p>
        </p:txBody>
      </p:sp>
      <p:sp>
        <p:nvSpPr>
          <p:cNvPr id="44" name="AutoShape 24"/>
          <p:cNvSpPr/>
          <p:nvPr/>
        </p:nvSpPr>
        <p:spPr bwMode="auto">
          <a:xfrm>
            <a:off x="3872707" y="1523378"/>
            <a:ext cx="160020" cy="158201"/>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algn="r" defTabSz="215265" eaLnBrk="1" hangingPunct="1">
              <a:defRPr/>
            </a:pPr>
            <a:endParaRPr lang="es-ES" sz="1500" noProof="1">
              <a:solidFill>
                <a:schemeClr val="bg1">
                  <a:lumMod val="85000"/>
                </a:schemeClr>
              </a:solidFill>
              <a:effectLst>
                <a:outerShdw blurRad="38100" dist="38100" dir="2700000" algn="tl">
                  <a:srgbClr val="000000"/>
                </a:outerShdw>
              </a:effectLst>
              <a:latin typeface="Gill Sans" pitchFamily="2" charset="0"/>
              <a:ea typeface="MS PGothic" panose="020B0600070205080204" pitchFamily="34" charset="-128"/>
              <a:cs typeface="Gill Sans" pitchFamily="2" charset="0"/>
              <a:sym typeface="Gill Sans" pitchFamily="2" charset="0"/>
            </a:endParaRPr>
          </a:p>
        </p:txBody>
      </p:sp>
      <p:sp>
        <p:nvSpPr>
          <p:cNvPr id="45" name="AutoShape 25"/>
          <p:cNvSpPr/>
          <p:nvPr/>
        </p:nvSpPr>
        <p:spPr bwMode="auto">
          <a:xfrm>
            <a:off x="3860483" y="2493605"/>
            <a:ext cx="158909" cy="15930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algn="r" defTabSz="215265" eaLnBrk="1" hangingPunct="1">
              <a:defRPr/>
            </a:pPr>
            <a:endParaRPr lang="es-ES" sz="1500" noProof="1">
              <a:solidFill>
                <a:schemeClr val="bg1">
                  <a:lumMod val="85000"/>
                </a:schemeClr>
              </a:solidFill>
              <a:effectLst>
                <a:outerShdw blurRad="38100" dist="38100" dir="2700000" algn="tl">
                  <a:srgbClr val="000000"/>
                </a:outerShdw>
              </a:effectLst>
              <a:latin typeface="Gill Sans" pitchFamily="2" charset="0"/>
              <a:ea typeface="MS PGothic" panose="020B0600070205080204" pitchFamily="34" charset="-128"/>
              <a:cs typeface="Gill Sans" pitchFamily="2" charset="0"/>
              <a:sym typeface="Gill Sans" pitchFamily="2" charset="0"/>
            </a:endParaRPr>
          </a:p>
        </p:txBody>
      </p:sp>
      <p:sp>
        <p:nvSpPr>
          <p:cNvPr id="46" name="AutoShape 26"/>
          <p:cNvSpPr/>
          <p:nvPr/>
        </p:nvSpPr>
        <p:spPr bwMode="auto">
          <a:xfrm>
            <a:off x="3854927" y="3588844"/>
            <a:ext cx="158908" cy="15930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algn="r" defTabSz="215265" eaLnBrk="1" hangingPunct="1">
              <a:defRPr/>
            </a:pPr>
            <a:endParaRPr lang="es-ES" sz="1500" noProof="1">
              <a:solidFill>
                <a:schemeClr val="bg1">
                  <a:lumMod val="85000"/>
                </a:schemeClr>
              </a:solidFill>
              <a:effectLst>
                <a:outerShdw blurRad="38100" dist="38100" dir="2700000" algn="tl">
                  <a:srgbClr val="000000"/>
                </a:outerShdw>
              </a:effectLst>
              <a:latin typeface="Gill Sans" pitchFamily="2" charset="0"/>
              <a:ea typeface="MS PGothic" panose="020B0600070205080204" pitchFamily="34" charset="-128"/>
              <a:cs typeface="Gill Sans" pitchFamily="2" charset="0"/>
              <a:sym typeface="Gill Sans" pitchFamily="2" charset="0"/>
            </a:endParaRPr>
          </a:p>
        </p:txBody>
      </p:sp>
      <p:sp>
        <p:nvSpPr>
          <p:cNvPr id="47" name="TextBox 23"/>
          <p:cNvSpPr txBox="1">
            <a:spLocks noChangeArrowheads="1"/>
          </p:cNvSpPr>
          <p:nvPr/>
        </p:nvSpPr>
        <p:spPr bwMode="auto">
          <a:xfrm>
            <a:off x="1044575" y="1574268"/>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48" name="TextBox 24"/>
          <p:cNvSpPr txBox="1">
            <a:spLocks noChangeArrowheads="1"/>
          </p:cNvSpPr>
          <p:nvPr/>
        </p:nvSpPr>
        <p:spPr bwMode="auto">
          <a:xfrm>
            <a:off x="1716882" y="1374027"/>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algn="r" eaLnBrk="1" hangingPunct="1"/>
            <a:r>
              <a:rPr lang="zh-CN" altLang="en-US" sz="1100">
                <a:solidFill>
                  <a:schemeClr val="bg1">
                    <a:lumMod val="85000"/>
                  </a:schemeClr>
                </a:solidFill>
                <a:ea typeface="微软雅黑" panose="020B0503020204020204" pitchFamily="34" charset="-122"/>
              </a:rPr>
              <a:t>请替换文字内容</a:t>
            </a:r>
          </a:p>
        </p:txBody>
      </p:sp>
      <p:sp>
        <p:nvSpPr>
          <p:cNvPr id="49" name="TextBox 23"/>
          <p:cNvSpPr txBox="1">
            <a:spLocks noChangeArrowheads="1"/>
          </p:cNvSpPr>
          <p:nvPr/>
        </p:nvSpPr>
        <p:spPr bwMode="auto">
          <a:xfrm>
            <a:off x="1044575" y="2527901"/>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0" name="TextBox 24"/>
          <p:cNvSpPr txBox="1">
            <a:spLocks noChangeArrowheads="1"/>
          </p:cNvSpPr>
          <p:nvPr/>
        </p:nvSpPr>
        <p:spPr bwMode="auto">
          <a:xfrm>
            <a:off x="1716882" y="2326554"/>
            <a:ext cx="1134586" cy="236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algn="r" eaLnBrk="1" hangingPunct="1"/>
            <a:r>
              <a:rPr lang="zh-CN" altLang="en-US" sz="1100">
                <a:solidFill>
                  <a:schemeClr val="bg1">
                    <a:lumMod val="85000"/>
                  </a:schemeClr>
                </a:solidFill>
                <a:ea typeface="微软雅黑" panose="020B0503020204020204" pitchFamily="34" charset="-122"/>
              </a:rPr>
              <a:t>请替换文字内容</a:t>
            </a:r>
          </a:p>
        </p:txBody>
      </p:sp>
      <p:sp>
        <p:nvSpPr>
          <p:cNvPr id="51" name="TextBox 23"/>
          <p:cNvSpPr txBox="1">
            <a:spLocks noChangeArrowheads="1"/>
          </p:cNvSpPr>
          <p:nvPr/>
        </p:nvSpPr>
        <p:spPr bwMode="auto">
          <a:xfrm>
            <a:off x="1044575" y="3524679"/>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algn="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2" name="TextBox 24"/>
          <p:cNvSpPr txBox="1">
            <a:spLocks noChangeArrowheads="1"/>
          </p:cNvSpPr>
          <p:nvPr/>
        </p:nvSpPr>
        <p:spPr bwMode="auto">
          <a:xfrm>
            <a:off x="1716882" y="3324439"/>
            <a:ext cx="1134586"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algn="r" eaLnBrk="1" hangingPunct="1"/>
            <a:r>
              <a:rPr lang="zh-CN" altLang="en-US" sz="1100">
                <a:solidFill>
                  <a:schemeClr val="bg1">
                    <a:lumMod val="85000"/>
                  </a:schemeClr>
                </a:solidFill>
                <a:ea typeface="微软雅黑" panose="020B0503020204020204" pitchFamily="34" charset="-122"/>
              </a:rPr>
              <a:t>请替换文字内容</a:t>
            </a:r>
          </a:p>
        </p:txBody>
      </p:sp>
      <p:sp>
        <p:nvSpPr>
          <p:cNvPr id="53" name="TextBox 23"/>
          <p:cNvSpPr txBox="1">
            <a:spLocks noChangeArrowheads="1"/>
          </p:cNvSpPr>
          <p:nvPr/>
        </p:nvSpPr>
        <p:spPr bwMode="auto">
          <a:xfrm>
            <a:off x="6191885" y="1715875"/>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4" name="TextBox 24"/>
          <p:cNvSpPr txBox="1">
            <a:spLocks noChangeArrowheads="1"/>
          </p:cNvSpPr>
          <p:nvPr/>
        </p:nvSpPr>
        <p:spPr bwMode="auto">
          <a:xfrm>
            <a:off x="6191885" y="1525591"/>
            <a:ext cx="1134587" cy="235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55" name="TextBox 23"/>
          <p:cNvSpPr txBox="1">
            <a:spLocks noChangeArrowheads="1"/>
          </p:cNvSpPr>
          <p:nvPr/>
        </p:nvSpPr>
        <p:spPr bwMode="auto">
          <a:xfrm>
            <a:off x="6191885" y="2669508"/>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6" name="TextBox 24"/>
          <p:cNvSpPr txBox="1">
            <a:spLocks noChangeArrowheads="1"/>
          </p:cNvSpPr>
          <p:nvPr/>
        </p:nvSpPr>
        <p:spPr bwMode="auto">
          <a:xfrm>
            <a:off x="6191885" y="2478117"/>
            <a:ext cx="1134587" cy="236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57" name="TextBox 23"/>
          <p:cNvSpPr txBox="1">
            <a:spLocks noChangeArrowheads="1"/>
          </p:cNvSpPr>
          <p:nvPr/>
        </p:nvSpPr>
        <p:spPr bwMode="auto">
          <a:xfrm>
            <a:off x="6191885" y="3666286"/>
            <a:ext cx="1806893"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8" name="TextBox 24"/>
          <p:cNvSpPr txBox="1">
            <a:spLocks noChangeArrowheads="1"/>
          </p:cNvSpPr>
          <p:nvPr/>
        </p:nvSpPr>
        <p:spPr bwMode="auto">
          <a:xfrm>
            <a:off x="6191885" y="3476002"/>
            <a:ext cx="1134587" cy="236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59" name="平行四边形 58"/>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平行四边形 59"/>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平行四边形 60"/>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平行四边形 61"/>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3" name="直接连接符 62"/>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4"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65" name="Group 7"/>
          <p:cNvGrpSpPr/>
          <p:nvPr/>
        </p:nvGrpSpPr>
        <p:grpSpPr bwMode="auto">
          <a:xfrm>
            <a:off x="180202" y="181952"/>
            <a:ext cx="216018" cy="113981"/>
            <a:chOff x="0" y="0"/>
            <a:chExt cx="1041399" cy="549275"/>
          </a:xfrm>
          <a:solidFill>
            <a:srgbClr val="133E73"/>
          </a:solidFill>
        </p:grpSpPr>
        <p:sp>
          <p:nvSpPr>
            <p:cNvPr id="66"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7"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8"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69"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65"/>
                                        </p:tgtEl>
                                        <p:attrNameLst>
                                          <p:attrName>style.visibility</p:attrName>
                                        </p:attrNameLst>
                                      </p:cBhvr>
                                      <p:to>
                                        <p:strVal val="visible"/>
                                      </p:to>
                                    </p:set>
                                    <p:anim calcmode="lin" valueType="num">
                                      <p:cBhvr additive="base">
                                        <p:cTn id="7" dur="500" fill="hold"/>
                                        <p:tgtEl>
                                          <p:spTgt spid="65"/>
                                        </p:tgtEl>
                                        <p:attrNameLst>
                                          <p:attrName>ppt_x</p:attrName>
                                        </p:attrNameLst>
                                      </p:cBhvr>
                                      <p:tavLst>
                                        <p:tav tm="0">
                                          <p:val>
                                            <p:strVal val="0-#ppt_w/2"/>
                                          </p:val>
                                        </p:tav>
                                        <p:tav tm="100000">
                                          <p:val>
                                            <p:strVal val="#ppt_x"/>
                                          </p:val>
                                        </p:tav>
                                      </p:tavLst>
                                    </p:anim>
                                    <p:anim calcmode="lin" valueType="num">
                                      <p:cBhvr additive="base">
                                        <p:cTn id="8" dur="500" fill="hold"/>
                                        <p:tgtEl>
                                          <p:spTgt spid="6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64"/>
                                        </p:tgtEl>
                                        <p:attrNameLst>
                                          <p:attrName>style.visibility</p:attrName>
                                        </p:attrNameLst>
                                      </p:cBhvr>
                                      <p:to>
                                        <p:strVal val="visible"/>
                                      </p:to>
                                    </p:set>
                                    <p:anim calcmode="lin" valueType="num">
                                      <p:cBhvr>
                                        <p:cTn id="12" dur="500" fill="hold"/>
                                        <p:tgtEl>
                                          <p:spTgt spid="64"/>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64"/>
                                        </p:tgtEl>
                                        <p:attrNameLst>
                                          <p:attrName>ppt_y</p:attrName>
                                        </p:attrNameLst>
                                      </p:cBhvr>
                                      <p:tavLst>
                                        <p:tav tm="0">
                                          <p:val>
                                            <p:strVal val="#ppt_y"/>
                                          </p:val>
                                        </p:tav>
                                        <p:tav tm="100000">
                                          <p:val>
                                            <p:strVal val="#ppt_y"/>
                                          </p:val>
                                        </p:tav>
                                      </p:tavLst>
                                    </p:anim>
                                    <p:anim calcmode="lin" valueType="num">
                                      <p:cBhvr>
                                        <p:cTn id="14" dur="500" fill="hold"/>
                                        <p:tgtEl>
                                          <p:spTgt spid="64"/>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64"/>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64"/>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61"/>
                                        </p:tgtEl>
                                        <p:attrNameLst>
                                          <p:attrName>fillcolor</p:attrName>
                                        </p:attrNameLst>
                                      </p:cBhvr>
                                      <p:to>
                                        <a:srgbClr val="00AEEF"/>
                                      </p:to>
                                    </p:animClr>
                                    <p:set>
                                      <p:cBhvr>
                                        <p:cTn id="20" dur="300" fill="hold"/>
                                        <p:tgtEl>
                                          <p:spTgt spid="61"/>
                                        </p:tgtEl>
                                        <p:attrNameLst>
                                          <p:attrName>fill.type</p:attrName>
                                        </p:attrNameLst>
                                      </p:cBhvr>
                                      <p:to>
                                        <p:strVal val="solid"/>
                                      </p:to>
                                    </p:set>
                                    <p:set>
                                      <p:cBhvr>
                                        <p:cTn id="21" dur="300" fill="hold"/>
                                        <p:tgtEl>
                                          <p:spTgt spid="61"/>
                                        </p:tgtEl>
                                        <p:attrNameLst>
                                          <p:attrName>fill.on</p:attrName>
                                        </p:attrNameLst>
                                      </p:cBhvr>
                                      <p:to>
                                        <p:strVal val="true"/>
                                      </p:to>
                                    </p:set>
                                  </p:childTnLst>
                                </p:cTn>
                              </p:par>
                            </p:childTnLst>
                          </p:cTn>
                        </p:par>
                        <p:par>
                          <p:cTn id="22" fill="hold">
                            <p:stCondLst>
                              <p:cond delay="1799"/>
                            </p:stCondLst>
                            <p:childTnLst>
                              <p:par>
                                <p:cTn id="23" presetID="9" presetClass="entr" presetSubtype="0" fill="hold" grpId="0" nodeType="afterEffect">
                                  <p:stCondLst>
                                    <p:cond delay="100"/>
                                  </p:stCondLst>
                                  <p:childTnLst>
                                    <p:set>
                                      <p:cBhvr>
                                        <p:cTn id="24" dur="1" fill="hold">
                                          <p:stCondLst>
                                            <p:cond delay="0"/>
                                          </p:stCondLst>
                                        </p:cTn>
                                        <p:tgtEl>
                                          <p:spTgt spid="33"/>
                                        </p:tgtEl>
                                        <p:attrNameLst>
                                          <p:attrName>style.visibility</p:attrName>
                                        </p:attrNameLst>
                                      </p:cBhvr>
                                      <p:to>
                                        <p:strVal val="visible"/>
                                      </p:to>
                                    </p:set>
                                    <p:animEffect transition="in" filter="dissolve">
                                      <p:cBhvr>
                                        <p:cTn id="25" dur="500"/>
                                        <p:tgtEl>
                                          <p:spTgt spid="33"/>
                                        </p:tgtEl>
                                      </p:cBhvr>
                                    </p:animEffect>
                                  </p:childTnLst>
                                </p:cTn>
                              </p:par>
                            </p:childTnLst>
                          </p:cTn>
                        </p:par>
                        <p:par>
                          <p:cTn id="26" fill="hold">
                            <p:stCondLst>
                              <p:cond delay="2399"/>
                            </p:stCondLst>
                            <p:childTnLst>
                              <p:par>
                                <p:cTn id="27" presetID="9" presetClass="entr" presetSubtype="0" fill="hold" grpId="0" nodeType="afterEffect">
                                  <p:stCondLst>
                                    <p:cond delay="100"/>
                                  </p:stCondLst>
                                  <p:childTnLst>
                                    <p:set>
                                      <p:cBhvr>
                                        <p:cTn id="28" dur="1" fill="hold">
                                          <p:stCondLst>
                                            <p:cond delay="0"/>
                                          </p:stCondLst>
                                        </p:cTn>
                                        <p:tgtEl>
                                          <p:spTgt spid="35"/>
                                        </p:tgtEl>
                                        <p:attrNameLst>
                                          <p:attrName>style.visibility</p:attrName>
                                        </p:attrNameLst>
                                      </p:cBhvr>
                                      <p:to>
                                        <p:strVal val="visible"/>
                                      </p:to>
                                    </p:set>
                                    <p:animEffect transition="in" filter="dissolve">
                                      <p:cBhvr>
                                        <p:cTn id="29" dur="500"/>
                                        <p:tgtEl>
                                          <p:spTgt spid="35"/>
                                        </p:tgtEl>
                                      </p:cBhvr>
                                    </p:animEffect>
                                  </p:childTnLst>
                                </p:cTn>
                              </p:par>
                            </p:childTnLst>
                          </p:cTn>
                        </p:par>
                        <p:par>
                          <p:cTn id="30" fill="hold">
                            <p:stCondLst>
                              <p:cond delay="2999"/>
                            </p:stCondLst>
                            <p:childTnLst>
                              <p:par>
                                <p:cTn id="31" presetID="9" presetClass="entr" presetSubtype="0" fill="hold" nodeType="afterEffect">
                                  <p:stCondLst>
                                    <p:cond delay="100"/>
                                  </p:stCondLst>
                                  <p:childTnLst>
                                    <p:set>
                                      <p:cBhvr>
                                        <p:cTn id="32" dur="1" fill="hold">
                                          <p:stCondLst>
                                            <p:cond delay="0"/>
                                          </p:stCondLst>
                                        </p:cTn>
                                        <p:tgtEl>
                                          <p:spTgt spid="31"/>
                                        </p:tgtEl>
                                        <p:attrNameLst>
                                          <p:attrName>style.visibility</p:attrName>
                                        </p:attrNameLst>
                                      </p:cBhvr>
                                      <p:to>
                                        <p:strVal val="visible"/>
                                      </p:to>
                                    </p:set>
                                    <p:animEffect transition="in" filter="dissolve">
                                      <p:cBhvr>
                                        <p:cTn id="33" dur="500"/>
                                        <p:tgtEl>
                                          <p:spTgt spid="31"/>
                                        </p:tgtEl>
                                      </p:cBhvr>
                                    </p:animEffect>
                                  </p:childTnLst>
                                </p:cTn>
                              </p:par>
                            </p:childTnLst>
                          </p:cTn>
                        </p:par>
                        <p:par>
                          <p:cTn id="34" fill="hold">
                            <p:stCondLst>
                              <p:cond delay="3599"/>
                            </p:stCondLst>
                            <p:childTnLst>
                              <p:par>
                                <p:cTn id="35" presetID="9" presetClass="entr" presetSubtype="0" fill="hold" nodeType="afterEffect">
                                  <p:stCondLst>
                                    <p:cond delay="100"/>
                                  </p:stCondLst>
                                  <p:childTnLst>
                                    <p:set>
                                      <p:cBhvr>
                                        <p:cTn id="36" dur="1" fill="hold">
                                          <p:stCondLst>
                                            <p:cond delay="0"/>
                                          </p:stCondLst>
                                        </p:cTn>
                                        <p:tgtEl>
                                          <p:spTgt spid="32"/>
                                        </p:tgtEl>
                                        <p:attrNameLst>
                                          <p:attrName>style.visibility</p:attrName>
                                        </p:attrNameLst>
                                      </p:cBhvr>
                                      <p:to>
                                        <p:strVal val="visible"/>
                                      </p:to>
                                    </p:set>
                                    <p:animEffect transition="in" filter="dissolve">
                                      <p:cBhvr>
                                        <p:cTn id="37" dur="500"/>
                                        <p:tgtEl>
                                          <p:spTgt spid="32"/>
                                        </p:tgtEl>
                                      </p:cBhvr>
                                    </p:animEffect>
                                  </p:childTnLst>
                                </p:cTn>
                              </p:par>
                            </p:childTnLst>
                          </p:cTn>
                        </p:par>
                        <p:par>
                          <p:cTn id="38" fill="hold">
                            <p:stCondLst>
                              <p:cond delay="4199"/>
                            </p:stCondLst>
                            <p:childTnLst>
                              <p:par>
                                <p:cTn id="39" presetID="9" presetClass="entr" presetSubtype="0" fill="hold" nodeType="afterEffect">
                                  <p:stCondLst>
                                    <p:cond delay="100"/>
                                  </p:stCondLst>
                                  <p:childTnLst>
                                    <p:set>
                                      <p:cBhvr>
                                        <p:cTn id="40" dur="1" fill="hold">
                                          <p:stCondLst>
                                            <p:cond delay="0"/>
                                          </p:stCondLst>
                                        </p:cTn>
                                        <p:tgtEl>
                                          <p:spTgt spid="34"/>
                                        </p:tgtEl>
                                        <p:attrNameLst>
                                          <p:attrName>style.visibility</p:attrName>
                                        </p:attrNameLst>
                                      </p:cBhvr>
                                      <p:to>
                                        <p:strVal val="visible"/>
                                      </p:to>
                                    </p:set>
                                    <p:animEffect transition="in" filter="dissolve">
                                      <p:cBhvr>
                                        <p:cTn id="41" dur="500"/>
                                        <p:tgtEl>
                                          <p:spTgt spid="34"/>
                                        </p:tgtEl>
                                      </p:cBhvr>
                                    </p:animEffect>
                                  </p:childTnLst>
                                </p:cTn>
                              </p:par>
                            </p:childTnLst>
                          </p:cTn>
                        </p:par>
                        <p:par>
                          <p:cTn id="42" fill="hold">
                            <p:stCondLst>
                              <p:cond delay="4799"/>
                            </p:stCondLst>
                            <p:childTnLst>
                              <p:par>
                                <p:cTn id="43" presetID="9" presetClass="entr" presetSubtype="0" fill="hold" grpId="0" nodeType="afterEffect">
                                  <p:stCondLst>
                                    <p:cond delay="100"/>
                                  </p:stCondLst>
                                  <p:childTnLst>
                                    <p:set>
                                      <p:cBhvr>
                                        <p:cTn id="44" dur="1" fill="hold">
                                          <p:stCondLst>
                                            <p:cond delay="0"/>
                                          </p:stCondLst>
                                        </p:cTn>
                                        <p:tgtEl>
                                          <p:spTgt spid="30"/>
                                        </p:tgtEl>
                                        <p:attrNameLst>
                                          <p:attrName>style.visibility</p:attrName>
                                        </p:attrNameLst>
                                      </p:cBhvr>
                                      <p:to>
                                        <p:strVal val="visible"/>
                                      </p:to>
                                    </p:set>
                                    <p:animEffect transition="in" filter="dissolve">
                                      <p:cBhvr>
                                        <p:cTn id="45" dur="500"/>
                                        <p:tgtEl>
                                          <p:spTgt spid="30"/>
                                        </p:tgtEl>
                                      </p:cBhvr>
                                    </p:animEffect>
                                  </p:childTnLst>
                                </p:cTn>
                              </p:par>
                            </p:childTnLst>
                          </p:cTn>
                        </p:par>
                        <p:par>
                          <p:cTn id="46" fill="hold">
                            <p:stCondLst>
                              <p:cond delay="5399"/>
                            </p:stCondLst>
                            <p:childTnLst>
                              <p:par>
                                <p:cTn id="47" presetID="9" presetClass="entr" presetSubtype="0" fill="hold" nodeType="afterEffect">
                                  <p:stCondLst>
                                    <p:cond delay="100"/>
                                  </p:stCondLst>
                                  <p:childTnLst>
                                    <p:set>
                                      <p:cBhvr>
                                        <p:cTn id="48" dur="1" fill="hold">
                                          <p:stCondLst>
                                            <p:cond delay="0"/>
                                          </p:stCondLst>
                                        </p:cTn>
                                        <p:tgtEl>
                                          <p:spTgt spid="41"/>
                                        </p:tgtEl>
                                        <p:attrNameLst>
                                          <p:attrName>style.visibility</p:attrName>
                                        </p:attrNameLst>
                                      </p:cBhvr>
                                      <p:to>
                                        <p:strVal val="visible"/>
                                      </p:to>
                                    </p:set>
                                    <p:animEffect transition="in" filter="dissolve">
                                      <p:cBhvr>
                                        <p:cTn id="49" dur="500"/>
                                        <p:tgtEl>
                                          <p:spTgt spid="41"/>
                                        </p:tgtEl>
                                      </p:cBhvr>
                                    </p:animEffect>
                                  </p:childTnLst>
                                </p:cTn>
                              </p:par>
                            </p:childTnLst>
                          </p:cTn>
                        </p:par>
                        <p:par>
                          <p:cTn id="50" fill="hold">
                            <p:stCondLst>
                              <p:cond delay="5999"/>
                            </p:stCondLst>
                            <p:childTnLst>
                              <p:par>
                                <p:cTn id="51" presetID="9" presetClass="entr" presetSubtype="0" fill="hold" nodeType="afterEffect">
                                  <p:stCondLst>
                                    <p:cond delay="100"/>
                                  </p:stCondLst>
                                  <p:childTnLst>
                                    <p:set>
                                      <p:cBhvr>
                                        <p:cTn id="52" dur="1" fill="hold">
                                          <p:stCondLst>
                                            <p:cond delay="0"/>
                                          </p:stCondLst>
                                        </p:cTn>
                                        <p:tgtEl>
                                          <p:spTgt spid="42"/>
                                        </p:tgtEl>
                                        <p:attrNameLst>
                                          <p:attrName>style.visibility</p:attrName>
                                        </p:attrNameLst>
                                      </p:cBhvr>
                                      <p:to>
                                        <p:strVal val="visible"/>
                                      </p:to>
                                    </p:set>
                                    <p:animEffect transition="in" filter="dissolve">
                                      <p:cBhvr>
                                        <p:cTn id="53" dur="500"/>
                                        <p:tgtEl>
                                          <p:spTgt spid="42"/>
                                        </p:tgtEl>
                                      </p:cBhvr>
                                    </p:animEffect>
                                  </p:childTnLst>
                                </p:cTn>
                              </p:par>
                            </p:childTnLst>
                          </p:cTn>
                        </p:par>
                        <p:par>
                          <p:cTn id="54" fill="hold">
                            <p:stCondLst>
                              <p:cond delay="6599"/>
                            </p:stCondLst>
                            <p:childTnLst>
                              <p:par>
                                <p:cTn id="55" presetID="9" presetClass="entr" presetSubtype="0" fill="hold" nodeType="afterEffect">
                                  <p:stCondLst>
                                    <p:cond delay="100"/>
                                  </p:stCondLst>
                                  <p:childTnLst>
                                    <p:set>
                                      <p:cBhvr>
                                        <p:cTn id="56" dur="1" fill="hold">
                                          <p:stCondLst>
                                            <p:cond delay="0"/>
                                          </p:stCondLst>
                                        </p:cTn>
                                        <p:tgtEl>
                                          <p:spTgt spid="43"/>
                                        </p:tgtEl>
                                        <p:attrNameLst>
                                          <p:attrName>style.visibility</p:attrName>
                                        </p:attrNameLst>
                                      </p:cBhvr>
                                      <p:to>
                                        <p:strVal val="visible"/>
                                      </p:to>
                                    </p:set>
                                    <p:animEffect transition="in" filter="dissolve">
                                      <p:cBhvr>
                                        <p:cTn id="57" dur="500"/>
                                        <p:tgtEl>
                                          <p:spTgt spid="43"/>
                                        </p:tgtEl>
                                      </p:cBhvr>
                                    </p:animEffect>
                                  </p:childTnLst>
                                </p:cTn>
                              </p:par>
                            </p:childTnLst>
                          </p:cTn>
                        </p:par>
                        <p:par>
                          <p:cTn id="58" fill="hold">
                            <p:stCondLst>
                              <p:cond delay="7199"/>
                            </p:stCondLst>
                            <p:childTnLst>
                              <p:par>
                                <p:cTn id="59" presetID="9" presetClass="entr" presetSubtype="0" fill="hold" nodeType="afterEffect">
                                  <p:stCondLst>
                                    <p:cond delay="100"/>
                                  </p:stCondLst>
                                  <p:childTnLst>
                                    <p:set>
                                      <p:cBhvr>
                                        <p:cTn id="60" dur="1" fill="hold">
                                          <p:stCondLst>
                                            <p:cond delay="0"/>
                                          </p:stCondLst>
                                        </p:cTn>
                                        <p:tgtEl>
                                          <p:spTgt spid="44"/>
                                        </p:tgtEl>
                                        <p:attrNameLst>
                                          <p:attrName>style.visibility</p:attrName>
                                        </p:attrNameLst>
                                      </p:cBhvr>
                                      <p:to>
                                        <p:strVal val="visible"/>
                                      </p:to>
                                    </p:set>
                                    <p:animEffect transition="in" filter="dissolve">
                                      <p:cBhvr>
                                        <p:cTn id="61" dur="500"/>
                                        <p:tgtEl>
                                          <p:spTgt spid="44"/>
                                        </p:tgtEl>
                                      </p:cBhvr>
                                    </p:animEffect>
                                  </p:childTnLst>
                                </p:cTn>
                              </p:par>
                            </p:childTnLst>
                          </p:cTn>
                        </p:par>
                        <p:par>
                          <p:cTn id="62" fill="hold">
                            <p:stCondLst>
                              <p:cond delay="7799"/>
                            </p:stCondLst>
                            <p:childTnLst>
                              <p:par>
                                <p:cTn id="63" presetID="9" presetClass="entr" presetSubtype="0" fill="hold" nodeType="afterEffect">
                                  <p:stCondLst>
                                    <p:cond delay="100"/>
                                  </p:stCondLst>
                                  <p:childTnLst>
                                    <p:set>
                                      <p:cBhvr>
                                        <p:cTn id="64" dur="1" fill="hold">
                                          <p:stCondLst>
                                            <p:cond delay="0"/>
                                          </p:stCondLst>
                                        </p:cTn>
                                        <p:tgtEl>
                                          <p:spTgt spid="45"/>
                                        </p:tgtEl>
                                        <p:attrNameLst>
                                          <p:attrName>style.visibility</p:attrName>
                                        </p:attrNameLst>
                                      </p:cBhvr>
                                      <p:to>
                                        <p:strVal val="visible"/>
                                      </p:to>
                                    </p:set>
                                    <p:animEffect transition="in" filter="dissolve">
                                      <p:cBhvr>
                                        <p:cTn id="65" dur="500"/>
                                        <p:tgtEl>
                                          <p:spTgt spid="45"/>
                                        </p:tgtEl>
                                      </p:cBhvr>
                                    </p:animEffect>
                                  </p:childTnLst>
                                </p:cTn>
                              </p:par>
                            </p:childTnLst>
                          </p:cTn>
                        </p:par>
                        <p:par>
                          <p:cTn id="66" fill="hold">
                            <p:stCondLst>
                              <p:cond delay="8399"/>
                            </p:stCondLst>
                            <p:childTnLst>
                              <p:par>
                                <p:cTn id="67" presetID="9" presetClass="entr" presetSubtype="0" fill="hold" nodeType="afterEffect">
                                  <p:stCondLst>
                                    <p:cond delay="100"/>
                                  </p:stCondLst>
                                  <p:childTnLst>
                                    <p:set>
                                      <p:cBhvr>
                                        <p:cTn id="68" dur="1" fill="hold">
                                          <p:stCondLst>
                                            <p:cond delay="0"/>
                                          </p:stCondLst>
                                        </p:cTn>
                                        <p:tgtEl>
                                          <p:spTgt spid="46"/>
                                        </p:tgtEl>
                                        <p:attrNameLst>
                                          <p:attrName>style.visibility</p:attrName>
                                        </p:attrNameLst>
                                      </p:cBhvr>
                                      <p:to>
                                        <p:strVal val="visible"/>
                                      </p:to>
                                    </p:set>
                                    <p:animEffect transition="in" filter="dissolve">
                                      <p:cBhvr>
                                        <p:cTn id="69" dur="500"/>
                                        <p:tgtEl>
                                          <p:spTgt spid="46"/>
                                        </p:tgtEl>
                                      </p:cBhvr>
                                    </p:animEffect>
                                  </p:childTnLst>
                                </p:cTn>
                              </p:par>
                            </p:childTnLst>
                          </p:cTn>
                        </p:par>
                        <p:par>
                          <p:cTn id="70" fill="hold">
                            <p:stCondLst>
                              <p:cond delay="8999"/>
                            </p:stCondLst>
                            <p:childTnLst>
                              <p:par>
                                <p:cTn id="71" presetID="1" presetClass="mediacall" presetSubtype="0" fill="hold" nodeType="afterEffect">
                                  <p:stCondLst>
                                    <p:cond delay="0"/>
                                  </p:stCondLst>
                                  <p:childTnLst>
                                    <p:cmd type="call" cmd="playFrom(0.0)">
                                      <p:cBhvr>
                                        <p:cTn id="72" dur="1" fill="hold"/>
                                        <p:tgtEl>
                                          <p:spTgt spid="69"/>
                                        </p:tgtEl>
                                      </p:cBhvr>
                                    </p:cmd>
                                  </p:childTnLst>
                                </p:cTn>
                              </p:par>
                            </p:childTnLst>
                          </p:cTn>
                        </p:par>
                        <p:par>
                          <p:cTn id="73" fill="hold">
                            <p:stCondLst>
                              <p:cond delay="8999"/>
                            </p:stCondLst>
                            <p:childTnLst>
                              <p:par>
                                <p:cTn id="74" presetID="9" presetClass="entr" presetSubtype="0" fill="hold" nodeType="afterEffect">
                                  <p:stCondLst>
                                    <p:cond delay="100"/>
                                  </p:stCondLst>
                                  <p:childTnLst>
                                    <p:set>
                                      <p:cBhvr>
                                        <p:cTn id="75" dur="1" fill="hold">
                                          <p:stCondLst>
                                            <p:cond delay="0"/>
                                          </p:stCondLst>
                                        </p:cTn>
                                        <p:tgtEl>
                                          <p:spTgt spid="40"/>
                                        </p:tgtEl>
                                        <p:attrNameLst>
                                          <p:attrName>style.visibility</p:attrName>
                                        </p:attrNameLst>
                                      </p:cBhvr>
                                      <p:to>
                                        <p:strVal val="visible"/>
                                      </p:to>
                                    </p:set>
                                    <p:animEffect transition="in" filter="dissolve">
                                      <p:cBhvr>
                                        <p:cTn id="76" dur="500"/>
                                        <p:tgtEl>
                                          <p:spTgt spid="40"/>
                                        </p:tgtEl>
                                      </p:cBhvr>
                                    </p:animEffect>
                                  </p:childTnLst>
                                </p:cTn>
                              </p:par>
                            </p:childTnLst>
                          </p:cTn>
                        </p:par>
                        <p:par>
                          <p:cTn id="77" fill="hold">
                            <p:stCondLst>
                              <p:cond delay="9599"/>
                            </p:stCondLst>
                            <p:childTnLst>
                              <p:par>
                                <p:cTn id="78" presetID="9" presetClass="entr" presetSubtype="0" fill="hold" nodeType="afterEffect">
                                  <p:stCondLst>
                                    <p:cond delay="100"/>
                                  </p:stCondLst>
                                  <p:childTnLst>
                                    <p:set>
                                      <p:cBhvr>
                                        <p:cTn id="79" dur="1" fill="hold">
                                          <p:stCondLst>
                                            <p:cond delay="0"/>
                                          </p:stCondLst>
                                        </p:cTn>
                                        <p:tgtEl>
                                          <p:spTgt spid="39"/>
                                        </p:tgtEl>
                                        <p:attrNameLst>
                                          <p:attrName>style.visibility</p:attrName>
                                        </p:attrNameLst>
                                      </p:cBhvr>
                                      <p:to>
                                        <p:strVal val="visible"/>
                                      </p:to>
                                    </p:set>
                                    <p:animEffect transition="in" filter="dissolve">
                                      <p:cBhvr>
                                        <p:cTn id="80" dur="500"/>
                                        <p:tgtEl>
                                          <p:spTgt spid="39"/>
                                        </p:tgtEl>
                                      </p:cBhvr>
                                    </p:animEffect>
                                  </p:childTnLst>
                                </p:cTn>
                              </p:par>
                            </p:childTnLst>
                          </p:cTn>
                        </p:par>
                        <p:par>
                          <p:cTn id="81" fill="hold">
                            <p:stCondLst>
                              <p:cond delay="10199"/>
                            </p:stCondLst>
                            <p:childTnLst>
                              <p:par>
                                <p:cTn id="82" presetID="9" presetClass="entr" presetSubtype="0" fill="hold" nodeType="afterEffect">
                                  <p:stCondLst>
                                    <p:cond delay="100"/>
                                  </p:stCondLst>
                                  <p:childTnLst>
                                    <p:set>
                                      <p:cBhvr>
                                        <p:cTn id="83" dur="1" fill="hold">
                                          <p:stCondLst>
                                            <p:cond delay="0"/>
                                          </p:stCondLst>
                                        </p:cTn>
                                        <p:tgtEl>
                                          <p:spTgt spid="38"/>
                                        </p:tgtEl>
                                        <p:attrNameLst>
                                          <p:attrName>style.visibility</p:attrName>
                                        </p:attrNameLst>
                                      </p:cBhvr>
                                      <p:to>
                                        <p:strVal val="visible"/>
                                      </p:to>
                                    </p:set>
                                    <p:animEffect transition="in" filter="dissolve">
                                      <p:cBhvr>
                                        <p:cTn id="84" dur="500"/>
                                        <p:tgtEl>
                                          <p:spTgt spid="38"/>
                                        </p:tgtEl>
                                      </p:cBhvr>
                                    </p:animEffect>
                                  </p:childTnLst>
                                </p:cTn>
                              </p:par>
                            </p:childTnLst>
                          </p:cTn>
                        </p:par>
                        <p:par>
                          <p:cTn id="85" fill="hold">
                            <p:stCondLst>
                              <p:cond delay="10799"/>
                            </p:stCondLst>
                            <p:childTnLst>
                              <p:par>
                                <p:cTn id="86" presetID="9" presetClass="entr" presetSubtype="0" fill="hold" nodeType="afterEffect">
                                  <p:stCondLst>
                                    <p:cond delay="100"/>
                                  </p:stCondLst>
                                  <p:childTnLst>
                                    <p:set>
                                      <p:cBhvr>
                                        <p:cTn id="87" dur="1" fill="hold">
                                          <p:stCondLst>
                                            <p:cond delay="0"/>
                                          </p:stCondLst>
                                        </p:cTn>
                                        <p:tgtEl>
                                          <p:spTgt spid="37"/>
                                        </p:tgtEl>
                                        <p:attrNameLst>
                                          <p:attrName>style.visibility</p:attrName>
                                        </p:attrNameLst>
                                      </p:cBhvr>
                                      <p:to>
                                        <p:strVal val="visible"/>
                                      </p:to>
                                    </p:set>
                                    <p:animEffect transition="in" filter="dissolve">
                                      <p:cBhvr>
                                        <p:cTn id="88" dur="500"/>
                                        <p:tgtEl>
                                          <p:spTgt spid="37"/>
                                        </p:tgtEl>
                                      </p:cBhvr>
                                    </p:animEffect>
                                  </p:childTnLst>
                                </p:cTn>
                              </p:par>
                            </p:childTnLst>
                          </p:cTn>
                        </p:par>
                        <p:par>
                          <p:cTn id="89" fill="hold">
                            <p:stCondLst>
                              <p:cond delay="11399"/>
                            </p:stCondLst>
                            <p:childTnLst>
                              <p:par>
                                <p:cTn id="90" presetID="9" presetClass="entr" presetSubtype="0" fill="hold" nodeType="afterEffect">
                                  <p:stCondLst>
                                    <p:cond delay="100"/>
                                  </p:stCondLst>
                                  <p:childTnLst>
                                    <p:set>
                                      <p:cBhvr>
                                        <p:cTn id="91" dur="1" fill="hold">
                                          <p:stCondLst>
                                            <p:cond delay="0"/>
                                          </p:stCondLst>
                                        </p:cTn>
                                        <p:tgtEl>
                                          <p:spTgt spid="36"/>
                                        </p:tgtEl>
                                        <p:attrNameLst>
                                          <p:attrName>style.visibility</p:attrName>
                                        </p:attrNameLst>
                                      </p:cBhvr>
                                      <p:to>
                                        <p:strVal val="visible"/>
                                      </p:to>
                                    </p:set>
                                    <p:animEffect transition="in" filter="dissolve">
                                      <p:cBhvr>
                                        <p:cTn id="92" dur="500"/>
                                        <p:tgtEl>
                                          <p:spTgt spid="36"/>
                                        </p:tgtEl>
                                      </p:cBhvr>
                                    </p:animEffect>
                                  </p:childTnLst>
                                </p:cTn>
                              </p:par>
                            </p:childTnLst>
                          </p:cTn>
                        </p:par>
                        <p:par>
                          <p:cTn id="93" fill="hold">
                            <p:stCondLst>
                              <p:cond delay="11999"/>
                            </p:stCondLst>
                            <p:childTnLst>
                              <p:par>
                                <p:cTn id="94" presetID="12" presetClass="entr" presetSubtype="4" fill="hold" grpId="0" nodeType="afterEffect">
                                  <p:stCondLst>
                                    <p:cond delay="0"/>
                                  </p:stCondLst>
                                  <p:childTnLst>
                                    <p:set>
                                      <p:cBhvr>
                                        <p:cTn id="95" dur="1" fill="hold">
                                          <p:stCondLst>
                                            <p:cond delay="0"/>
                                          </p:stCondLst>
                                        </p:cTn>
                                        <p:tgtEl>
                                          <p:spTgt spid="47"/>
                                        </p:tgtEl>
                                        <p:attrNameLst>
                                          <p:attrName>style.visibility</p:attrName>
                                        </p:attrNameLst>
                                      </p:cBhvr>
                                      <p:to>
                                        <p:strVal val="visible"/>
                                      </p:to>
                                    </p:set>
                                    <p:anim calcmode="lin" valueType="num">
                                      <p:cBhvr>
                                        <p:cTn id="96" dur="500"/>
                                        <p:tgtEl>
                                          <p:spTgt spid="47"/>
                                        </p:tgtEl>
                                        <p:attrNameLst>
                                          <p:attrName>ppt_y</p:attrName>
                                        </p:attrNameLst>
                                      </p:cBhvr>
                                      <p:tavLst>
                                        <p:tav tm="0">
                                          <p:val>
                                            <p:strVal val="#ppt_y+#ppt_h*1.125000"/>
                                          </p:val>
                                        </p:tav>
                                        <p:tav tm="100000">
                                          <p:val>
                                            <p:strVal val="#ppt_y"/>
                                          </p:val>
                                        </p:tav>
                                      </p:tavLst>
                                    </p:anim>
                                    <p:animEffect transition="in" filter="wipe(up)">
                                      <p:cBhvr>
                                        <p:cTn id="97" dur="500"/>
                                        <p:tgtEl>
                                          <p:spTgt spid="47"/>
                                        </p:tgtEl>
                                      </p:cBhvr>
                                    </p:animEffect>
                                  </p:childTnLst>
                                </p:cTn>
                              </p:par>
                              <p:par>
                                <p:cTn id="98" presetID="12" presetClass="entr" presetSubtype="1" fill="hold" grpId="0" nodeType="withEffect">
                                  <p:stCondLst>
                                    <p:cond delay="0"/>
                                  </p:stCondLst>
                                  <p:childTnLst>
                                    <p:set>
                                      <p:cBhvr>
                                        <p:cTn id="99" dur="1" fill="hold">
                                          <p:stCondLst>
                                            <p:cond delay="0"/>
                                          </p:stCondLst>
                                        </p:cTn>
                                        <p:tgtEl>
                                          <p:spTgt spid="48"/>
                                        </p:tgtEl>
                                        <p:attrNameLst>
                                          <p:attrName>style.visibility</p:attrName>
                                        </p:attrNameLst>
                                      </p:cBhvr>
                                      <p:to>
                                        <p:strVal val="visible"/>
                                      </p:to>
                                    </p:set>
                                    <p:anim calcmode="lin" valueType="num">
                                      <p:cBhvr>
                                        <p:cTn id="100" dur="500"/>
                                        <p:tgtEl>
                                          <p:spTgt spid="48"/>
                                        </p:tgtEl>
                                        <p:attrNameLst>
                                          <p:attrName>ppt_y</p:attrName>
                                        </p:attrNameLst>
                                      </p:cBhvr>
                                      <p:tavLst>
                                        <p:tav tm="0">
                                          <p:val>
                                            <p:strVal val="#ppt_y-#ppt_h*1.125000"/>
                                          </p:val>
                                        </p:tav>
                                        <p:tav tm="100000">
                                          <p:val>
                                            <p:strVal val="#ppt_y"/>
                                          </p:val>
                                        </p:tav>
                                      </p:tavLst>
                                    </p:anim>
                                    <p:animEffect transition="in" filter="wipe(down)">
                                      <p:cBhvr>
                                        <p:cTn id="101" dur="500"/>
                                        <p:tgtEl>
                                          <p:spTgt spid="48"/>
                                        </p:tgtEl>
                                      </p:cBhvr>
                                    </p:animEffect>
                                  </p:childTnLst>
                                </p:cTn>
                              </p:par>
                            </p:childTnLst>
                          </p:cTn>
                        </p:par>
                        <p:par>
                          <p:cTn id="102" fill="hold">
                            <p:stCondLst>
                              <p:cond delay="12499"/>
                            </p:stCondLst>
                            <p:childTnLst>
                              <p:par>
                                <p:cTn id="103" presetID="12" presetClass="entr" presetSubtype="4" fill="hold" grpId="0" nodeType="afterEffect">
                                  <p:stCondLst>
                                    <p:cond delay="0"/>
                                  </p:stCondLst>
                                  <p:childTnLst>
                                    <p:set>
                                      <p:cBhvr>
                                        <p:cTn id="104" dur="1" fill="hold">
                                          <p:stCondLst>
                                            <p:cond delay="0"/>
                                          </p:stCondLst>
                                        </p:cTn>
                                        <p:tgtEl>
                                          <p:spTgt spid="49"/>
                                        </p:tgtEl>
                                        <p:attrNameLst>
                                          <p:attrName>style.visibility</p:attrName>
                                        </p:attrNameLst>
                                      </p:cBhvr>
                                      <p:to>
                                        <p:strVal val="visible"/>
                                      </p:to>
                                    </p:set>
                                    <p:anim calcmode="lin" valueType="num">
                                      <p:cBhvr>
                                        <p:cTn id="105" dur="500"/>
                                        <p:tgtEl>
                                          <p:spTgt spid="49"/>
                                        </p:tgtEl>
                                        <p:attrNameLst>
                                          <p:attrName>ppt_y</p:attrName>
                                        </p:attrNameLst>
                                      </p:cBhvr>
                                      <p:tavLst>
                                        <p:tav tm="0">
                                          <p:val>
                                            <p:strVal val="#ppt_y+#ppt_h*1.125000"/>
                                          </p:val>
                                        </p:tav>
                                        <p:tav tm="100000">
                                          <p:val>
                                            <p:strVal val="#ppt_y"/>
                                          </p:val>
                                        </p:tav>
                                      </p:tavLst>
                                    </p:anim>
                                    <p:animEffect transition="in" filter="wipe(up)">
                                      <p:cBhvr>
                                        <p:cTn id="106" dur="500"/>
                                        <p:tgtEl>
                                          <p:spTgt spid="49"/>
                                        </p:tgtEl>
                                      </p:cBhvr>
                                    </p:animEffect>
                                  </p:childTnLst>
                                </p:cTn>
                              </p:par>
                              <p:par>
                                <p:cTn id="107" presetID="12" presetClass="entr" presetSubtype="1" fill="hold" grpId="0" nodeType="withEffect">
                                  <p:stCondLst>
                                    <p:cond delay="0"/>
                                  </p:stCondLst>
                                  <p:childTnLst>
                                    <p:set>
                                      <p:cBhvr>
                                        <p:cTn id="108" dur="1" fill="hold">
                                          <p:stCondLst>
                                            <p:cond delay="0"/>
                                          </p:stCondLst>
                                        </p:cTn>
                                        <p:tgtEl>
                                          <p:spTgt spid="50"/>
                                        </p:tgtEl>
                                        <p:attrNameLst>
                                          <p:attrName>style.visibility</p:attrName>
                                        </p:attrNameLst>
                                      </p:cBhvr>
                                      <p:to>
                                        <p:strVal val="visible"/>
                                      </p:to>
                                    </p:set>
                                    <p:anim calcmode="lin" valueType="num">
                                      <p:cBhvr>
                                        <p:cTn id="109" dur="500"/>
                                        <p:tgtEl>
                                          <p:spTgt spid="50"/>
                                        </p:tgtEl>
                                        <p:attrNameLst>
                                          <p:attrName>ppt_y</p:attrName>
                                        </p:attrNameLst>
                                      </p:cBhvr>
                                      <p:tavLst>
                                        <p:tav tm="0">
                                          <p:val>
                                            <p:strVal val="#ppt_y-#ppt_h*1.125000"/>
                                          </p:val>
                                        </p:tav>
                                        <p:tav tm="100000">
                                          <p:val>
                                            <p:strVal val="#ppt_y"/>
                                          </p:val>
                                        </p:tav>
                                      </p:tavLst>
                                    </p:anim>
                                    <p:animEffect transition="in" filter="wipe(down)">
                                      <p:cBhvr>
                                        <p:cTn id="110" dur="500"/>
                                        <p:tgtEl>
                                          <p:spTgt spid="50"/>
                                        </p:tgtEl>
                                      </p:cBhvr>
                                    </p:animEffect>
                                  </p:childTnLst>
                                </p:cTn>
                              </p:par>
                            </p:childTnLst>
                          </p:cTn>
                        </p:par>
                        <p:par>
                          <p:cTn id="111" fill="hold">
                            <p:stCondLst>
                              <p:cond delay="12999"/>
                            </p:stCondLst>
                            <p:childTnLst>
                              <p:par>
                                <p:cTn id="112" presetID="12" presetClass="entr" presetSubtype="4" fill="hold" grpId="0" nodeType="afterEffect">
                                  <p:stCondLst>
                                    <p:cond delay="0"/>
                                  </p:stCondLst>
                                  <p:childTnLst>
                                    <p:set>
                                      <p:cBhvr>
                                        <p:cTn id="113" dur="1" fill="hold">
                                          <p:stCondLst>
                                            <p:cond delay="0"/>
                                          </p:stCondLst>
                                        </p:cTn>
                                        <p:tgtEl>
                                          <p:spTgt spid="51"/>
                                        </p:tgtEl>
                                        <p:attrNameLst>
                                          <p:attrName>style.visibility</p:attrName>
                                        </p:attrNameLst>
                                      </p:cBhvr>
                                      <p:to>
                                        <p:strVal val="visible"/>
                                      </p:to>
                                    </p:set>
                                    <p:anim calcmode="lin" valueType="num">
                                      <p:cBhvr>
                                        <p:cTn id="114" dur="500"/>
                                        <p:tgtEl>
                                          <p:spTgt spid="51"/>
                                        </p:tgtEl>
                                        <p:attrNameLst>
                                          <p:attrName>ppt_y</p:attrName>
                                        </p:attrNameLst>
                                      </p:cBhvr>
                                      <p:tavLst>
                                        <p:tav tm="0">
                                          <p:val>
                                            <p:strVal val="#ppt_y+#ppt_h*1.125000"/>
                                          </p:val>
                                        </p:tav>
                                        <p:tav tm="100000">
                                          <p:val>
                                            <p:strVal val="#ppt_y"/>
                                          </p:val>
                                        </p:tav>
                                      </p:tavLst>
                                    </p:anim>
                                    <p:animEffect transition="in" filter="wipe(up)">
                                      <p:cBhvr>
                                        <p:cTn id="115" dur="500"/>
                                        <p:tgtEl>
                                          <p:spTgt spid="51"/>
                                        </p:tgtEl>
                                      </p:cBhvr>
                                    </p:animEffect>
                                  </p:childTnLst>
                                </p:cTn>
                              </p:par>
                              <p:par>
                                <p:cTn id="116" presetID="12" presetClass="entr" presetSubtype="1" fill="hold" grpId="0" nodeType="withEffect">
                                  <p:stCondLst>
                                    <p:cond delay="0"/>
                                  </p:stCondLst>
                                  <p:childTnLst>
                                    <p:set>
                                      <p:cBhvr>
                                        <p:cTn id="117" dur="1" fill="hold">
                                          <p:stCondLst>
                                            <p:cond delay="0"/>
                                          </p:stCondLst>
                                        </p:cTn>
                                        <p:tgtEl>
                                          <p:spTgt spid="52"/>
                                        </p:tgtEl>
                                        <p:attrNameLst>
                                          <p:attrName>style.visibility</p:attrName>
                                        </p:attrNameLst>
                                      </p:cBhvr>
                                      <p:to>
                                        <p:strVal val="visible"/>
                                      </p:to>
                                    </p:set>
                                    <p:anim calcmode="lin" valueType="num">
                                      <p:cBhvr>
                                        <p:cTn id="118" dur="500"/>
                                        <p:tgtEl>
                                          <p:spTgt spid="52"/>
                                        </p:tgtEl>
                                        <p:attrNameLst>
                                          <p:attrName>ppt_y</p:attrName>
                                        </p:attrNameLst>
                                      </p:cBhvr>
                                      <p:tavLst>
                                        <p:tav tm="0">
                                          <p:val>
                                            <p:strVal val="#ppt_y-#ppt_h*1.125000"/>
                                          </p:val>
                                        </p:tav>
                                        <p:tav tm="100000">
                                          <p:val>
                                            <p:strVal val="#ppt_y"/>
                                          </p:val>
                                        </p:tav>
                                      </p:tavLst>
                                    </p:anim>
                                    <p:animEffect transition="in" filter="wipe(down)">
                                      <p:cBhvr>
                                        <p:cTn id="119" dur="500"/>
                                        <p:tgtEl>
                                          <p:spTgt spid="52"/>
                                        </p:tgtEl>
                                      </p:cBhvr>
                                    </p:animEffect>
                                  </p:childTnLst>
                                </p:cTn>
                              </p:par>
                            </p:childTnLst>
                          </p:cTn>
                        </p:par>
                        <p:par>
                          <p:cTn id="120" fill="hold">
                            <p:stCondLst>
                              <p:cond delay="13499"/>
                            </p:stCondLst>
                            <p:childTnLst>
                              <p:par>
                                <p:cTn id="121" presetID="12" presetClass="entr" presetSubtype="4" fill="hold" grpId="0" nodeType="afterEffect">
                                  <p:stCondLst>
                                    <p:cond delay="0"/>
                                  </p:stCondLst>
                                  <p:childTnLst>
                                    <p:set>
                                      <p:cBhvr>
                                        <p:cTn id="122" dur="1" fill="hold">
                                          <p:stCondLst>
                                            <p:cond delay="0"/>
                                          </p:stCondLst>
                                        </p:cTn>
                                        <p:tgtEl>
                                          <p:spTgt spid="53"/>
                                        </p:tgtEl>
                                        <p:attrNameLst>
                                          <p:attrName>style.visibility</p:attrName>
                                        </p:attrNameLst>
                                      </p:cBhvr>
                                      <p:to>
                                        <p:strVal val="visible"/>
                                      </p:to>
                                    </p:set>
                                    <p:anim calcmode="lin" valueType="num">
                                      <p:cBhvr>
                                        <p:cTn id="123" dur="500"/>
                                        <p:tgtEl>
                                          <p:spTgt spid="53"/>
                                        </p:tgtEl>
                                        <p:attrNameLst>
                                          <p:attrName>ppt_y</p:attrName>
                                        </p:attrNameLst>
                                      </p:cBhvr>
                                      <p:tavLst>
                                        <p:tav tm="0">
                                          <p:val>
                                            <p:strVal val="#ppt_y+#ppt_h*1.125000"/>
                                          </p:val>
                                        </p:tav>
                                        <p:tav tm="100000">
                                          <p:val>
                                            <p:strVal val="#ppt_y"/>
                                          </p:val>
                                        </p:tav>
                                      </p:tavLst>
                                    </p:anim>
                                    <p:animEffect transition="in" filter="wipe(up)">
                                      <p:cBhvr>
                                        <p:cTn id="124" dur="500"/>
                                        <p:tgtEl>
                                          <p:spTgt spid="53"/>
                                        </p:tgtEl>
                                      </p:cBhvr>
                                    </p:animEffect>
                                  </p:childTnLst>
                                </p:cTn>
                              </p:par>
                              <p:par>
                                <p:cTn id="125" presetID="12" presetClass="entr" presetSubtype="1" fill="hold" grpId="0" nodeType="withEffect">
                                  <p:stCondLst>
                                    <p:cond delay="0"/>
                                  </p:stCondLst>
                                  <p:childTnLst>
                                    <p:set>
                                      <p:cBhvr>
                                        <p:cTn id="126" dur="1" fill="hold">
                                          <p:stCondLst>
                                            <p:cond delay="0"/>
                                          </p:stCondLst>
                                        </p:cTn>
                                        <p:tgtEl>
                                          <p:spTgt spid="54"/>
                                        </p:tgtEl>
                                        <p:attrNameLst>
                                          <p:attrName>style.visibility</p:attrName>
                                        </p:attrNameLst>
                                      </p:cBhvr>
                                      <p:to>
                                        <p:strVal val="visible"/>
                                      </p:to>
                                    </p:set>
                                    <p:anim calcmode="lin" valueType="num">
                                      <p:cBhvr>
                                        <p:cTn id="127" dur="500"/>
                                        <p:tgtEl>
                                          <p:spTgt spid="54"/>
                                        </p:tgtEl>
                                        <p:attrNameLst>
                                          <p:attrName>ppt_y</p:attrName>
                                        </p:attrNameLst>
                                      </p:cBhvr>
                                      <p:tavLst>
                                        <p:tav tm="0">
                                          <p:val>
                                            <p:strVal val="#ppt_y-#ppt_h*1.125000"/>
                                          </p:val>
                                        </p:tav>
                                        <p:tav tm="100000">
                                          <p:val>
                                            <p:strVal val="#ppt_y"/>
                                          </p:val>
                                        </p:tav>
                                      </p:tavLst>
                                    </p:anim>
                                    <p:animEffect transition="in" filter="wipe(down)">
                                      <p:cBhvr>
                                        <p:cTn id="128" dur="500"/>
                                        <p:tgtEl>
                                          <p:spTgt spid="54"/>
                                        </p:tgtEl>
                                      </p:cBhvr>
                                    </p:animEffect>
                                  </p:childTnLst>
                                </p:cTn>
                              </p:par>
                            </p:childTnLst>
                          </p:cTn>
                        </p:par>
                        <p:par>
                          <p:cTn id="129" fill="hold">
                            <p:stCondLst>
                              <p:cond delay="13999"/>
                            </p:stCondLst>
                            <p:childTnLst>
                              <p:par>
                                <p:cTn id="130" presetID="12" presetClass="entr" presetSubtype="4" fill="hold" grpId="0" nodeType="afterEffect">
                                  <p:stCondLst>
                                    <p:cond delay="0"/>
                                  </p:stCondLst>
                                  <p:childTnLst>
                                    <p:set>
                                      <p:cBhvr>
                                        <p:cTn id="131" dur="1" fill="hold">
                                          <p:stCondLst>
                                            <p:cond delay="0"/>
                                          </p:stCondLst>
                                        </p:cTn>
                                        <p:tgtEl>
                                          <p:spTgt spid="55"/>
                                        </p:tgtEl>
                                        <p:attrNameLst>
                                          <p:attrName>style.visibility</p:attrName>
                                        </p:attrNameLst>
                                      </p:cBhvr>
                                      <p:to>
                                        <p:strVal val="visible"/>
                                      </p:to>
                                    </p:set>
                                    <p:anim calcmode="lin" valueType="num">
                                      <p:cBhvr>
                                        <p:cTn id="132" dur="500"/>
                                        <p:tgtEl>
                                          <p:spTgt spid="55"/>
                                        </p:tgtEl>
                                        <p:attrNameLst>
                                          <p:attrName>ppt_y</p:attrName>
                                        </p:attrNameLst>
                                      </p:cBhvr>
                                      <p:tavLst>
                                        <p:tav tm="0">
                                          <p:val>
                                            <p:strVal val="#ppt_y+#ppt_h*1.125000"/>
                                          </p:val>
                                        </p:tav>
                                        <p:tav tm="100000">
                                          <p:val>
                                            <p:strVal val="#ppt_y"/>
                                          </p:val>
                                        </p:tav>
                                      </p:tavLst>
                                    </p:anim>
                                    <p:animEffect transition="in" filter="wipe(up)">
                                      <p:cBhvr>
                                        <p:cTn id="133" dur="500"/>
                                        <p:tgtEl>
                                          <p:spTgt spid="55"/>
                                        </p:tgtEl>
                                      </p:cBhvr>
                                    </p:animEffect>
                                  </p:childTnLst>
                                </p:cTn>
                              </p:par>
                              <p:par>
                                <p:cTn id="134" presetID="12" presetClass="entr" presetSubtype="1" fill="hold" grpId="0" nodeType="withEffect">
                                  <p:stCondLst>
                                    <p:cond delay="0"/>
                                  </p:stCondLst>
                                  <p:childTnLst>
                                    <p:set>
                                      <p:cBhvr>
                                        <p:cTn id="135" dur="1" fill="hold">
                                          <p:stCondLst>
                                            <p:cond delay="0"/>
                                          </p:stCondLst>
                                        </p:cTn>
                                        <p:tgtEl>
                                          <p:spTgt spid="56"/>
                                        </p:tgtEl>
                                        <p:attrNameLst>
                                          <p:attrName>style.visibility</p:attrName>
                                        </p:attrNameLst>
                                      </p:cBhvr>
                                      <p:to>
                                        <p:strVal val="visible"/>
                                      </p:to>
                                    </p:set>
                                    <p:anim calcmode="lin" valueType="num">
                                      <p:cBhvr>
                                        <p:cTn id="136" dur="500"/>
                                        <p:tgtEl>
                                          <p:spTgt spid="56"/>
                                        </p:tgtEl>
                                        <p:attrNameLst>
                                          <p:attrName>ppt_y</p:attrName>
                                        </p:attrNameLst>
                                      </p:cBhvr>
                                      <p:tavLst>
                                        <p:tav tm="0">
                                          <p:val>
                                            <p:strVal val="#ppt_y-#ppt_h*1.125000"/>
                                          </p:val>
                                        </p:tav>
                                        <p:tav tm="100000">
                                          <p:val>
                                            <p:strVal val="#ppt_y"/>
                                          </p:val>
                                        </p:tav>
                                      </p:tavLst>
                                    </p:anim>
                                    <p:animEffect transition="in" filter="wipe(down)">
                                      <p:cBhvr>
                                        <p:cTn id="137" dur="500"/>
                                        <p:tgtEl>
                                          <p:spTgt spid="56"/>
                                        </p:tgtEl>
                                      </p:cBhvr>
                                    </p:animEffect>
                                  </p:childTnLst>
                                </p:cTn>
                              </p:par>
                            </p:childTnLst>
                          </p:cTn>
                        </p:par>
                        <p:par>
                          <p:cTn id="138" fill="hold">
                            <p:stCondLst>
                              <p:cond delay="14499"/>
                            </p:stCondLst>
                            <p:childTnLst>
                              <p:par>
                                <p:cTn id="139" presetID="12" presetClass="entr" presetSubtype="4" fill="hold" grpId="0" nodeType="afterEffect">
                                  <p:stCondLst>
                                    <p:cond delay="0"/>
                                  </p:stCondLst>
                                  <p:childTnLst>
                                    <p:set>
                                      <p:cBhvr>
                                        <p:cTn id="140" dur="1" fill="hold">
                                          <p:stCondLst>
                                            <p:cond delay="0"/>
                                          </p:stCondLst>
                                        </p:cTn>
                                        <p:tgtEl>
                                          <p:spTgt spid="57"/>
                                        </p:tgtEl>
                                        <p:attrNameLst>
                                          <p:attrName>style.visibility</p:attrName>
                                        </p:attrNameLst>
                                      </p:cBhvr>
                                      <p:to>
                                        <p:strVal val="visible"/>
                                      </p:to>
                                    </p:set>
                                    <p:anim calcmode="lin" valueType="num">
                                      <p:cBhvr>
                                        <p:cTn id="141" dur="500"/>
                                        <p:tgtEl>
                                          <p:spTgt spid="57"/>
                                        </p:tgtEl>
                                        <p:attrNameLst>
                                          <p:attrName>ppt_y</p:attrName>
                                        </p:attrNameLst>
                                      </p:cBhvr>
                                      <p:tavLst>
                                        <p:tav tm="0">
                                          <p:val>
                                            <p:strVal val="#ppt_y+#ppt_h*1.125000"/>
                                          </p:val>
                                        </p:tav>
                                        <p:tav tm="100000">
                                          <p:val>
                                            <p:strVal val="#ppt_y"/>
                                          </p:val>
                                        </p:tav>
                                      </p:tavLst>
                                    </p:anim>
                                    <p:animEffect transition="in" filter="wipe(up)">
                                      <p:cBhvr>
                                        <p:cTn id="142" dur="500"/>
                                        <p:tgtEl>
                                          <p:spTgt spid="57"/>
                                        </p:tgtEl>
                                      </p:cBhvr>
                                    </p:animEffect>
                                  </p:childTnLst>
                                </p:cTn>
                              </p:par>
                              <p:par>
                                <p:cTn id="143" presetID="12" presetClass="entr" presetSubtype="1" fill="hold" grpId="0" nodeType="withEffect">
                                  <p:stCondLst>
                                    <p:cond delay="0"/>
                                  </p:stCondLst>
                                  <p:childTnLst>
                                    <p:set>
                                      <p:cBhvr>
                                        <p:cTn id="144" dur="1" fill="hold">
                                          <p:stCondLst>
                                            <p:cond delay="0"/>
                                          </p:stCondLst>
                                        </p:cTn>
                                        <p:tgtEl>
                                          <p:spTgt spid="58"/>
                                        </p:tgtEl>
                                        <p:attrNameLst>
                                          <p:attrName>style.visibility</p:attrName>
                                        </p:attrNameLst>
                                      </p:cBhvr>
                                      <p:to>
                                        <p:strVal val="visible"/>
                                      </p:to>
                                    </p:set>
                                    <p:anim calcmode="lin" valueType="num">
                                      <p:cBhvr>
                                        <p:cTn id="145" dur="500"/>
                                        <p:tgtEl>
                                          <p:spTgt spid="58"/>
                                        </p:tgtEl>
                                        <p:attrNameLst>
                                          <p:attrName>ppt_y</p:attrName>
                                        </p:attrNameLst>
                                      </p:cBhvr>
                                      <p:tavLst>
                                        <p:tav tm="0">
                                          <p:val>
                                            <p:strVal val="#ppt_y-#ppt_h*1.125000"/>
                                          </p:val>
                                        </p:tav>
                                        <p:tav tm="100000">
                                          <p:val>
                                            <p:strVal val="#ppt_y"/>
                                          </p:val>
                                        </p:tav>
                                      </p:tavLst>
                                    </p:anim>
                                    <p:animEffect transition="in" filter="wipe(down)">
                                      <p:cBhvr>
                                        <p:cTn id="146"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47" fill="hold" display="0">
                  <p:stCondLst>
                    <p:cond delay="indefinite"/>
                  </p:stCondLst>
                  <p:endCondLst>
                    <p:cond evt="onStopAudio" delay="0">
                      <p:tgtEl>
                        <p:sldTgt/>
                      </p:tgtEl>
                    </p:cond>
                  </p:endCondLst>
                </p:cTn>
                <p:tgtEl>
                  <p:spTgt spid="69"/>
                </p:tgtEl>
              </p:cMediaNode>
            </p:audio>
          </p:childTnLst>
        </p:cTn>
      </p:par>
    </p:tnLst>
    <p:bldLst>
      <p:bldP spid="30" grpId="0" animBg="1"/>
      <p:bldP spid="33" grpId="0" animBg="1"/>
      <p:bldP spid="35" grpId="0" animBg="1"/>
      <p:bldP spid="47" grpId="0"/>
      <p:bldP spid="48" grpId="0"/>
      <p:bldP spid="49" grpId="0"/>
      <p:bldP spid="50" grpId="0"/>
      <p:bldP spid="51" grpId="0"/>
      <p:bldP spid="52" grpId="0"/>
      <p:bldP spid="53" grpId="0"/>
      <p:bldP spid="54" grpId="0"/>
      <p:bldP spid="55" grpId="0"/>
      <p:bldP spid="56" grpId="0"/>
      <p:bldP spid="57" grpId="0"/>
      <p:bldP spid="58" grpId="0"/>
      <p:bldP spid="61" grpId="0" animBg="1"/>
      <p:bldP spid="6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组合 13"/>
          <p:cNvGrpSpPr/>
          <p:nvPr/>
        </p:nvGrpSpPr>
        <p:grpSpPr>
          <a:xfrm>
            <a:off x="4744036" y="1277584"/>
            <a:ext cx="2474665" cy="253257"/>
            <a:chOff x="6425869" y="1500376"/>
            <a:chExt cx="3352800" cy="344678"/>
          </a:xfrm>
        </p:grpSpPr>
        <p:cxnSp>
          <p:nvCxnSpPr>
            <p:cNvPr id="31" name="直接连接符 18"/>
            <p:cNvCxnSpPr/>
            <p:nvPr/>
          </p:nvCxnSpPr>
          <p:spPr>
            <a:xfrm flipV="1">
              <a:off x="6425869" y="1500376"/>
              <a:ext cx="523875" cy="34467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2" name="直接连接符 20"/>
            <p:cNvCxnSpPr/>
            <p:nvPr/>
          </p:nvCxnSpPr>
          <p:spPr>
            <a:xfrm>
              <a:off x="6949744" y="1500376"/>
              <a:ext cx="282892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33" name="组合 14"/>
          <p:cNvGrpSpPr/>
          <p:nvPr/>
        </p:nvGrpSpPr>
        <p:grpSpPr>
          <a:xfrm>
            <a:off x="6022071" y="2527759"/>
            <a:ext cx="2474665" cy="253257"/>
            <a:chOff x="8157414" y="3201844"/>
            <a:chExt cx="3352800" cy="344678"/>
          </a:xfrm>
        </p:grpSpPr>
        <p:cxnSp>
          <p:nvCxnSpPr>
            <p:cNvPr id="34" name="直接连接符 21"/>
            <p:cNvCxnSpPr/>
            <p:nvPr/>
          </p:nvCxnSpPr>
          <p:spPr>
            <a:xfrm flipV="1">
              <a:off x="8157414" y="3201844"/>
              <a:ext cx="523875" cy="34467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5" name="直接连接符 22"/>
            <p:cNvCxnSpPr/>
            <p:nvPr/>
          </p:nvCxnSpPr>
          <p:spPr>
            <a:xfrm>
              <a:off x="8681289" y="3201844"/>
              <a:ext cx="282892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36" name="组合 16"/>
          <p:cNvGrpSpPr/>
          <p:nvPr/>
        </p:nvGrpSpPr>
        <p:grpSpPr>
          <a:xfrm>
            <a:off x="798815" y="2093134"/>
            <a:ext cx="2427867" cy="464462"/>
            <a:chOff x="859010" y="4001456"/>
            <a:chExt cx="3289396" cy="632124"/>
          </a:xfrm>
        </p:grpSpPr>
        <p:cxnSp>
          <p:nvCxnSpPr>
            <p:cNvPr id="37" name="直接连接符 19"/>
            <p:cNvCxnSpPr/>
            <p:nvPr/>
          </p:nvCxnSpPr>
          <p:spPr>
            <a:xfrm>
              <a:off x="3687935" y="4001456"/>
              <a:ext cx="460471" cy="632124"/>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8" name="直接连接符 23"/>
            <p:cNvCxnSpPr/>
            <p:nvPr/>
          </p:nvCxnSpPr>
          <p:spPr>
            <a:xfrm>
              <a:off x="859010" y="4001457"/>
              <a:ext cx="282892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39" name="组合 15"/>
          <p:cNvGrpSpPr/>
          <p:nvPr/>
        </p:nvGrpSpPr>
        <p:grpSpPr>
          <a:xfrm>
            <a:off x="1390556" y="3880711"/>
            <a:ext cx="2474665" cy="253257"/>
            <a:chOff x="2417853" y="5824691"/>
            <a:chExt cx="3352800" cy="344678"/>
          </a:xfrm>
        </p:grpSpPr>
        <p:cxnSp>
          <p:nvCxnSpPr>
            <p:cNvPr id="40" name="直接连接符 24"/>
            <p:cNvCxnSpPr/>
            <p:nvPr/>
          </p:nvCxnSpPr>
          <p:spPr>
            <a:xfrm flipV="1">
              <a:off x="5246778" y="5824691"/>
              <a:ext cx="523875" cy="34467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41" name="直接连接符 25"/>
            <p:cNvCxnSpPr/>
            <p:nvPr/>
          </p:nvCxnSpPr>
          <p:spPr>
            <a:xfrm>
              <a:off x="2417853" y="6169369"/>
              <a:ext cx="2828925"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42" name="Group 86"/>
          <p:cNvGrpSpPr/>
          <p:nvPr/>
        </p:nvGrpSpPr>
        <p:grpSpPr>
          <a:xfrm>
            <a:off x="2859503" y="2267127"/>
            <a:ext cx="1342787" cy="1336735"/>
            <a:chOff x="2904457" y="2313472"/>
            <a:chExt cx="1364456" cy="1364456"/>
          </a:xfrm>
        </p:grpSpPr>
        <p:sp>
          <p:nvSpPr>
            <p:cNvPr id="43" name="矩形 2"/>
            <p:cNvSpPr/>
            <p:nvPr/>
          </p:nvSpPr>
          <p:spPr>
            <a:xfrm rot="2703315">
              <a:off x="2904457" y="2313472"/>
              <a:ext cx="1364456" cy="1364456"/>
            </a:xfrm>
            <a:prstGeom prst="rect">
              <a:avLst/>
            </a:prstGeom>
            <a:solidFill>
              <a:srgbClr val="0070C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sp>
          <p:nvSpPr>
            <p:cNvPr id="44" name="直角三角形 3"/>
            <p:cNvSpPr/>
            <p:nvPr/>
          </p:nvSpPr>
          <p:spPr>
            <a:xfrm rot="2703315">
              <a:off x="2904457" y="2313472"/>
              <a:ext cx="1364456" cy="1364456"/>
            </a:xfrm>
            <a:prstGeom prst="rtTriangl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dirty="0">
                <a:solidFill>
                  <a:schemeClr val="bg1">
                    <a:lumMod val="85000"/>
                  </a:schemeClr>
                </a:solidFill>
              </a:endParaRPr>
            </a:p>
          </p:txBody>
        </p:sp>
        <p:pic>
          <p:nvPicPr>
            <p:cNvPr id="45" name="Picture 5"/>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3111305" y="2609965"/>
              <a:ext cx="950758" cy="783893"/>
            </a:xfrm>
            <a:prstGeom prst="rect">
              <a:avLst/>
            </a:prstGeom>
            <a:noFill/>
            <a:ln>
              <a:noFill/>
            </a:ln>
            <a:effectLst/>
          </p:spPr>
        </p:pic>
      </p:grpSp>
      <p:grpSp>
        <p:nvGrpSpPr>
          <p:cNvPr id="46" name="Group 89"/>
          <p:cNvGrpSpPr/>
          <p:nvPr/>
        </p:nvGrpSpPr>
        <p:grpSpPr>
          <a:xfrm>
            <a:off x="4848051" y="2267128"/>
            <a:ext cx="1342787" cy="1336735"/>
            <a:chOff x="4925095" y="2313472"/>
            <a:chExt cx="1364456" cy="1364457"/>
          </a:xfrm>
        </p:grpSpPr>
        <p:sp>
          <p:nvSpPr>
            <p:cNvPr id="47" name="矩形 7"/>
            <p:cNvSpPr/>
            <p:nvPr/>
          </p:nvSpPr>
          <p:spPr>
            <a:xfrm rot="2703315">
              <a:off x="4925095" y="2313473"/>
              <a:ext cx="1364456" cy="1364456"/>
            </a:xfrm>
            <a:prstGeom prst="rect">
              <a:avLst/>
            </a:prstGeom>
            <a:solidFill>
              <a:srgbClr val="0070C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dirty="0">
                <a:solidFill>
                  <a:schemeClr val="bg1">
                    <a:lumMod val="85000"/>
                  </a:schemeClr>
                </a:solidFill>
              </a:endParaRPr>
            </a:p>
          </p:txBody>
        </p:sp>
        <p:sp>
          <p:nvSpPr>
            <p:cNvPr id="48" name="直角三角形 8"/>
            <p:cNvSpPr/>
            <p:nvPr/>
          </p:nvSpPr>
          <p:spPr>
            <a:xfrm rot="2703315">
              <a:off x="4925095" y="2313472"/>
              <a:ext cx="1364456" cy="1364456"/>
            </a:xfrm>
            <a:prstGeom prst="rtTriangl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sp>
          <p:nvSpPr>
            <p:cNvPr id="49" name="Freeform 15"/>
            <p:cNvSpPr>
              <a:spLocks noEditPoints="1"/>
            </p:cNvSpPr>
            <p:nvPr/>
          </p:nvSpPr>
          <p:spPr bwMode="black">
            <a:xfrm>
              <a:off x="5220354" y="2609965"/>
              <a:ext cx="722861" cy="713313"/>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0" tIns="54847" rIns="109693" bIns="54847" numCol="1" anchor="t" anchorCtr="0" compatLnSpc="1"/>
            <a:lstStyle/>
            <a:p>
              <a:pPr algn="ctr"/>
              <a:endParaRPr lang="en-US" sz="1200" dirty="0">
                <a:solidFill>
                  <a:schemeClr val="bg1">
                    <a:lumMod val="85000"/>
                  </a:schemeClr>
                </a:solidFill>
              </a:endParaRPr>
            </a:p>
          </p:txBody>
        </p:sp>
      </p:grpSp>
      <p:grpSp>
        <p:nvGrpSpPr>
          <p:cNvPr id="50" name="Group 88"/>
          <p:cNvGrpSpPr/>
          <p:nvPr/>
        </p:nvGrpSpPr>
        <p:grpSpPr>
          <a:xfrm>
            <a:off x="3853777" y="1281849"/>
            <a:ext cx="1342787" cy="1336735"/>
            <a:chOff x="3914776" y="1307760"/>
            <a:chExt cx="1364456" cy="1364456"/>
          </a:xfrm>
        </p:grpSpPr>
        <p:sp>
          <p:nvSpPr>
            <p:cNvPr id="51" name="矩形 1"/>
            <p:cNvSpPr/>
            <p:nvPr/>
          </p:nvSpPr>
          <p:spPr>
            <a:xfrm rot="2703315">
              <a:off x="3914776" y="1307760"/>
              <a:ext cx="1364456" cy="1364456"/>
            </a:xfrm>
            <a:prstGeom prst="rect">
              <a:avLst/>
            </a:prstGeom>
            <a:solidFill>
              <a:srgbClr val="0070C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sp>
          <p:nvSpPr>
            <p:cNvPr id="52" name="直角三角形 4"/>
            <p:cNvSpPr/>
            <p:nvPr/>
          </p:nvSpPr>
          <p:spPr>
            <a:xfrm rot="2703315">
              <a:off x="3914776" y="1307760"/>
              <a:ext cx="1364456" cy="1364456"/>
            </a:xfrm>
            <a:prstGeom prst="rtTriangl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pic>
          <p:nvPicPr>
            <p:cNvPr id="53" name="Picture 30" descr="service-based.png"/>
            <p:cNvPicPr>
              <a:picLocks noChangeAspect="1"/>
            </p:cNvPicPr>
            <p:nvPr/>
          </p:nvPicPr>
          <p:blipFill>
            <a:blip r:embed="rId7" cstate="print"/>
            <a:srcRect/>
            <a:stretch>
              <a:fillRect/>
            </a:stretch>
          </p:blipFill>
          <p:spPr bwMode="auto">
            <a:xfrm>
              <a:off x="4058503" y="1522900"/>
              <a:ext cx="1048883" cy="1087065"/>
            </a:xfrm>
            <a:prstGeom prst="rect">
              <a:avLst/>
            </a:prstGeom>
            <a:noFill/>
            <a:ln>
              <a:noFill/>
            </a:ln>
          </p:spPr>
        </p:pic>
      </p:grpSp>
      <p:grpSp>
        <p:nvGrpSpPr>
          <p:cNvPr id="54" name="Group 91"/>
          <p:cNvGrpSpPr/>
          <p:nvPr/>
        </p:nvGrpSpPr>
        <p:grpSpPr>
          <a:xfrm>
            <a:off x="3875186" y="3251276"/>
            <a:ext cx="1342787" cy="1336735"/>
            <a:chOff x="3936529" y="3318030"/>
            <a:chExt cx="1364457" cy="1364456"/>
          </a:xfrm>
        </p:grpSpPr>
        <p:sp>
          <p:nvSpPr>
            <p:cNvPr id="55" name="直角三角形 4"/>
            <p:cNvSpPr/>
            <p:nvPr/>
          </p:nvSpPr>
          <p:spPr>
            <a:xfrm rot="2703315">
              <a:off x="3936529" y="3318030"/>
              <a:ext cx="1364456" cy="1364456"/>
            </a:xfrm>
            <a:prstGeom prst="r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solidFill>
                  <a:schemeClr val="bg1">
                    <a:lumMod val="85000"/>
                  </a:schemeClr>
                </a:solidFill>
              </a:endParaRPr>
            </a:p>
          </p:txBody>
        </p:sp>
        <p:grpSp>
          <p:nvGrpSpPr>
            <p:cNvPr id="56" name="Group 90"/>
            <p:cNvGrpSpPr/>
            <p:nvPr/>
          </p:nvGrpSpPr>
          <p:grpSpPr>
            <a:xfrm>
              <a:off x="3936530" y="3318030"/>
              <a:ext cx="1364456" cy="1364456"/>
              <a:chOff x="3653942" y="3445038"/>
              <a:chExt cx="1364456" cy="1364456"/>
            </a:xfrm>
          </p:grpSpPr>
          <p:sp>
            <p:nvSpPr>
              <p:cNvPr id="57" name="矩形 1"/>
              <p:cNvSpPr/>
              <p:nvPr/>
            </p:nvSpPr>
            <p:spPr>
              <a:xfrm rot="2703315">
                <a:off x="3653942" y="3445038"/>
                <a:ext cx="1364456" cy="1364456"/>
              </a:xfrm>
              <a:prstGeom prst="rect">
                <a:avLst/>
              </a:prstGeom>
              <a:solidFill>
                <a:srgbClr val="00AEEF">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dirty="0">
                  <a:solidFill>
                    <a:schemeClr val="bg1">
                      <a:lumMod val="85000"/>
                    </a:schemeClr>
                  </a:solidFill>
                </a:endParaRPr>
              </a:p>
            </p:txBody>
          </p:sp>
          <p:pic>
            <p:nvPicPr>
              <p:cNvPr id="58" name="Picture 186"/>
              <p:cNvPicPr/>
              <p:nvPr>
                <p:custDataLst>
                  <p:tags r:id="rId3"/>
                </p:custDataLst>
              </p:nvPr>
            </p:nvPicPr>
            <p:blipFill>
              <a:blip r:embed="rId8" cstate="print">
                <a:extLst>
                  <a:ext uri="{28A0092B-C50C-407E-A947-70E740481C1C}">
                    <a14:useLocalDpi xmlns:a14="http://schemas.microsoft.com/office/drawing/2010/main" val="0"/>
                  </a:ext>
                </a:extLst>
              </a:blip>
              <a:stretch>
                <a:fillRect/>
              </a:stretch>
            </p:blipFill>
            <p:spPr>
              <a:xfrm rot="1200739">
                <a:off x="3958409" y="3717998"/>
                <a:ext cx="787452" cy="739052"/>
              </a:xfrm>
              <a:prstGeom prst="rect">
                <a:avLst/>
              </a:prstGeom>
              <a:effectLst/>
            </p:spPr>
          </p:pic>
        </p:grpSp>
      </p:grpSp>
      <p:grpSp>
        <p:nvGrpSpPr>
          <p:cNvPr id="59" name="组合 25"/>
          <p:cNvGrpSpPr/>
          <p:nvPr/>
        </p:nvGrpSpPr>
        <p:grpSpPr>
          <a:xfrm>
            <a:off x="5215785" y="981734"/>
            <a:ext cx="3036219" cy="827568"/>
            <a:chOff x="503238" y="2746886"/>
            <a:chExt cx="2174935" cy="844731"/>
          </a:xfrm>
        </p:grpSpPr>
        <p:sp>
          <p:nvSpPr>
            <p:cNvPr id="60" name="矩形 26"/>
            <p:cNvSpPr/>
            <p:nvPr/>
          </p:nvSpPr>
          <p:spPr>
            <a:xfrm>
              <a:off x="503238" y="3053880"/>
              <a:ext cx="2174935" cy="537737"/>
            </a:xfrm>
            <a:prstGeom prst="rect">
              <a:avLst/>
            </a:prstGeom>
          </p:spPr>
          <p:txBody>
            <a:bodyPr wrap="square">
              <a:spAutoFit/>
            </a:bodyPr>
            <a:lstStyle/>
            <a:p>
              <a:pPr algn="just">
                <a:lnSpc>
                  <a:spcPct val="150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p:txBody>
        </p:sp>
        <p:sp>
          <p:nvSpPr>
            <p:cNvPr id="61" name="矩形 27"/>
            <p:cNvSpPr/>
            <p:nvPr/>
          </p:nvSpPr>
          <p:spPr>
            <a:xfrm>
              <a:off x="550382" y="2746886"/>
              <a:ext cx="903925" cy="314160"/>
            </a:xfrm>
            <a:prstGeom prst="rect">
              <a:avLst/>
            </a:prstGeom>
          </p:spPr>
          <p:txBody>
            <a:bodyPr wrap="none">
              <a:spAutoFit/>
            </a:bodyPr>
            <a:lstStyle/>
            <a:p>
              <a:pPr algn="l">
                <a:defRPr/>
              </a:pPr>
              <a:r>
                <a:rPr lang="zh-CN" altLang="en-US" sz="1400" dirty="0">
                  <a:solidFill>
                    <a:schemeClr val="bg1">
                      <a:lumMod val="85000"/>
                    </a:schemeClr>
                  </a:solidFill>
                  <a:latin typeface="微软雅黑" panose="020B0503020204020204" pitchFamily="34" charset="-122"/>
                  <a:ea typeface="微软雅黑" panose="020B0503020204020204" pitchFamily="34" charset="-122"/>
                </a:rPr>
                <a:t>点击添加标题</a:t>
              </a:r>
              <a:endParaRPr lang="en-US" altLang="zh-CN" sz="14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62" name="组合 25"/>
          <p:cNvGrpSpPr/>
          <p:nvPr/>
        </p:nvGrpSpPr>
        <p:grpSpPr>
          <a:xfrm>
            <a:off x="6468939" y="2227367"/>
            <a:ext cx="2367401" cy="1085586"/>
            <a:chOff x="503239" y="2746886"/>
            <a:chExt cx="1695841" cy="1108100"/>
          </a:xfrm>
        </p:grpSpPr>
        <p:sp>
          <p:nvSpPr>
            <p:cNvPr id="63" name="矩形 26"/>
            <p:cNvSpPr/>
            <p:nvPr/>
          </p:nvSpPr>
          <p:spPr>
            <a:xfrm>
              <a:off x="503239" y="3053880"/>
              <a:ext cx="1695841" cy="801106"/>
            </a:xfrm>
            <a:prstGeom prst="rect">
              <a:avLst/>
            </a:prstGeom>
          </p:spPr>
          <p:txBody>
            <a:bodyPr wrap="square">
              <a:spAutoFit/>
            </a:bodyPr>
            <a:lstStyle/>
            <a:p>
              <a:pPr algn="just">
                <a:lnSpc>
                  <a:spcPct val="150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p:txBody>
        </p:sp>
        <p:sp>
          <p:nvSpPr>
            <p:cNvPr id="64" name="矩形 27"/>
            <p:cNvSpPr/>
            <p:nvPr/>
          </p:nvSpPr>
          <p:spPr>
            <a:xfrm>
              <a:off x="550382" y="2746886"/>
              <a:ext cx="903926" cy="314160"/>
            </a:xfrm>
            <a:prstGeom prst="rect">
              <a:avLst/>
            </a:prstGeom>
          </p:spPr>
          <p:txBody>
            <a:bodyPr wrap="none">
              <a:spAutoFit/>
            </a:bodyPr>
            <a:lstStyle/>
            <a:p>
              <a:pPr algn="l">
                <a:defRPr/>
              </a:pPr>
              <a:r>
                <a:rPr lang="zh-CN" altLang="en-US" sz="1400" dirty="0">
                  <a:solidFill>
                    <a:schemeClr val="bg1">
                      <a:lumMod val="85000"/>
                    </a:schemeClr>
                  </a:solidFill>
                  <a:latin typeface="微软雅黑" panose="020B0503020204020204" pitchFamily="34" charset="-122"/>
                  <a:ea typeface="微软雅黑" panose="020B0503020204020204" pitchFamily="34" charset="-122"/>
                </a:rPr>
                <a:t>点击添加标题</a:t>
              </a:r>
              <a:endParaRPr lang="en-US" altLang="zh-CN" sz="14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65" name="组合 25"/>
          <p:cNvGrpSpPr/>
          <p:nvPr/>
        </p:nvGrpSpPr>
        <p:grpSpPr>
          <a:xfrm>
            <a:off x="340087" y="1787266"/>
            <a:ext cx="2546724" cy="1085586"/>
            <a:chOff x="174639" y="2746886"/>
            <a:chExt cx="1423165" cy="1108100"/>
          </a:xfrm>
        </p:grpSpPr>
        <p:sp>
          <p:nvSpPr>
            <p:cNvPr id="66" name="矩形 26"/>
            <p:cNvSpPr/>
            <p:nvPr/>
          </p:nvSpPr>
          <p:spPr>
            <a:xfrm>
              <a:off x="174639" y="3053880"/>
              <a:ext cx="1423165" cy="801106"/>
            </a:xfrm>
            <a:prstGeom prst="rect">
              <a:avLst/>
            </a:prstGeom>
          </p:spPr>
          <p:txBody>
            <a:bodyPr wrap="square">
              <a:spAutoFit/>
            </a:bodyPr>
            <a:lstStyle/>
            <a:p>
              <a:pPr algn="just">
                <a:lnSpc>
                  <a:spcPct val="150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p:txBody>
        </p:sp>
        <p:sp>
          <p:nvSpPr>
            <p:cNvPr id="67" name="矩形 27"/>
            <p:cNvSpPr/>
            <p:nvPr/>
          </p:nvSpPr>
          <p:spPr>
            <a:xfrm>
              <a:off x="834164" y="2746886"/>
              <a:ext cx="705168" cy="314160"/>
            </a:xfrm>
            <a:prstGeom prst="rect">
              <a:avLst/>
            </a:prstGeom>
          </p:spPr>
          <p:txBody>
            <a:bodyPr wrap="none">
              <a:spAutoFit/>
            </a:bodyPr>
            <a:lstStyle/>
            <a:p>
              <a:pPr algn="r">
                <a:defRPr/>
              </a:pPr>
              <a:r>
                <a:rPr lang="zh-CN" altLang="en-US" sz="1400" dirty="0">
                  <a:solidFill>
                    <a:schemeClr val="bg1">
                      <a:lumMod val="85000"/>
                    </a:schemeClr>
                  </a:solidFill>
                  <a:latin typeface="微软雅黑" panose="020B0503020204020204" pitchFamily="34" charset="-122"/>
                  <a:ea typeface="微软雅黑" panose="020B0503020204020204" pitchFamily="34" charset="-122"/>
                </a:rPr>
                <a:t>点击添加标题</a:t>
              </a:r>
              <a:endParaRPr lang="en-US" altLang="zh-CN" sz="1400" dirty="0">
                <a:solidFill>
                  <a:schemeClr val="bg1">
                    <a:lumMod val="85000"/>
                  </a:schemeClr>
                </a:solidFill>
                <a:latin typeface="微软雅黑" panose="020B0503020204020204" pitchFamily="34" charset="-122"/>
                <a:ea typeface="微软雅黑" panose="020B0503020204020204" pitchFamily="34" charset="-122"/>
              </a:endParaRPr>
            </a:p>
          </p:txBody>
        </p:sp>
      </p:grpSp>
      <p:grpSp>
        <p:nvGrpSpPr>
          <p:cNvPr id="68" name="组合 25"/>
          <p:cNvGrpSpPr/>
          <p:nvPr/>
        </p:nvGrpSpPr>
        <p:grpSpPr>
          <a:xfrm>
            <a:off x="655630" y="3795217"/>
            <a:ext cx="2853516" cy="827568"/>
            <a:chOff x="3197" y="2746886"/>
            <a:chExt cx="1594607" cy="844731"/>
          </a:xfrm>
        </p:grpSpPr>
        <p:sp>
          <p:nvSpPr>
            <p:cNvPr id="69" name="矩形 26"/>
            <p:cNvSpPr/>
            <p:nvPr/>
          </p:nvSpPr>
          <p:spPr>
            <a:xfrm>
              <a:off x="3197" y="3053880"/>
              <a:ext cx="1594607" cy="537737"/>
            </a:xfrm>
            <a:prstGeom prst="rect">
              <a:avLst/>
            </a:prstGeom>
          </p:spPr>
          <p:txBody>
            <a:bodyPr wrap="square">
              <a:spAutoFit/>
            </a:bodyPr>
            <a:lstStyle/>
            <a:p>
              <a:pPr algn="just">
                <a:lnSpc>
                  <a:spcPct val="150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p:txBody>
        </p:sp>
        <p:sp>
          <p:nvSpPr>
            <p:cNvPr id="70" name="矩形 27"/>
            <p:cNvSpPr/>
            <p:nvPr/>
          </p:nvSpPr>
          <p:spPr>
            <a:xfrm>
              <a:off x="834164" y="2746886"/>
              <a:ext cx="705168" cy="314160"/>
            </a:xfrm>
            <a:prstGeom prst="rect">
              <a:avLst/>
            </a:prstGeom>
          </p:spPr>
          <p:txBody>
            <a:bodyPr wrap="none">
              <a:spAutoFit/>
            </a:bodyPr>
            <a:lstStyle/>
            <a:p>
              <a:pPr algn="r">
                <a:defRPr/>
              </a:pPr>
              <a:r>
                <a:rPr lang="zh-CN" altLang="en-US" sz="1400" dirty="0">
                  <a:solidFill>
                    <a:schemeClr val="bg1">
                      <a:lumMod val="85000"/>
                    </a:schemeClr>
                  </a:solidFill>
                  <a:latin typeface="微软雅黑" panose="020B0503020204020204" pitchFamily="34" charset="-122"/>
                  <a:ea typeface="微软雅黑" panose="020B0503020204020204" pitchFamily="34" charset="-122"/>
                </a:rPr>
                <a:t>点击添加标题</a:t>
              </a:r>
              <a:endParaRPr lang="en-US" altLang="zh-CN" sz="1400" dirty="0">
                <a:solidFill>
                  <a:schemeClr val="bg1">
                    <a:lumMod val="85000"/>
                  </a:schemeClr>
                </a:solidFill>
                <a:latin typeface="微软雅黑" panose="020B0503020204020204" pitchFamily="34" charset="-122"/>
                <a:ea typeface="微软雅黑" panose="020B0503020204020204" pitchFamily="34" charset="-122"/>
              </a:endParaRPr>
            </a:p>
          </p:txBody>
        </p:sp>
      </p:grpSp>
      <p:sp>
        <p:nvSpPr>
          <p:cNvPr id="71" name="平行四边形 70"/>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2" name="平行四边形 71"/>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3" name="平行四边形 72"/>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4" name="平行四边形 73"/>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75" name="直接连接符 74"/>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76"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77" name="Group 7"/>
          <p:cNvGrpSpPr/>
          <p:nvPr/>
        </p:nvGrpSpPr>
        <p:grpSpPr bwMode="auto">
          <a:xfrm>
            <a:off x="180202" y="181952"/>
            <a:ext cx="216018" cy="113981"/>
            <a:chOff x="0" y="0"/>
            <a:chExt cx="1041399" cy="549275"/>
          </a:xfrm>
          <a:solidFill>
            <a:srgbClr val="133E73"/>
          </a:solidFill>
        </p:grpSpPr>
        <p:sp>
          <p:nvSpPr>
            <p:cNvPr id="78"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79"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0"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81"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9"/>
          <a:stretch>
            <a:fillRect/>
          </a:stretch>
        </p:blipFill>
        <p:spPr>
          <a:xfrm>
            <a:off x="2268377" y="-1568065"/>
            <a:ext cx="1008084" cy="1008084"/>
          </a:xfrm>
          <a:prstGeom prst="rect">
            <a:avLst/>
          </a:prstGeom>
        </p:spPr>
      </p:pic>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77"/>
                                        </p:tgtEl>
                                        <p:attrNameLst>
                                          <p:attrName>style.visibility</p:attrName>
                                        </p:attrNameLst>
                                      </p:cBhvr>
                                      <p:to>
                                        <p:strVal val="visible"/>
                                      </p:to>
                                    </p:set>
                                    <p:anim calcmode="lin" valueType="num">
                                      <p:cBhvr additive="base">
                                        <p:cTn id="7" dur="500" fill="hold"/>
                                        <p:tgtEl>
                                          <p:spTgt spid="77"/>
                                        </p:tgtEl>
                                        <p:attrNameLst>
                                          <p:attrName>ppt_x</p:attrName>
                                        </p:attrNameLst>
                                      </p:cBhvr>
                                      <p:tavLst>
                                        <p:tav tm="0">
                                          <p:val>
                                            <p:strVal val="0-#ppt_w/2"/>
                                          </p:val>
                                        </p:tav>
                                        <p:tav tm="100000">
                                          <p:val>
                                            <p:strVal val="#ppt_x"/>
                                          </p:val>
                                        </p:tav>
                                      </p:tavLst>
                                    </p:anim>
                                    <p:anim calcmode="lin" valueType="num">
                                      <p:cBhvr additive="base">
                                        <p:cTn id="8" dur="500" fill="hold"/>
                                        <p:tgtEl>
                                          <p:spTgt spid="7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76"/>
                                        </p:tgtEl>
                                        <p:attrNameLst>
                                          <p:attrName>style.visibility</p:attrName>
                                        </p:attrNameLst>
                                      </p:cBhvr>
                                      <p:to>
                                        <p:strVal val="visible"/>
                                      </p:to>
                                    </p:set>
                                    <p:anim calcmode="lin" valueType="num">
                                      <p:cBhvr>
                                        <p:cTn id="12" dur="500" fill="hold"/>
                                        <p:tgtEl>
                                          <p:spTgt spid="76"/>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76"/>
                                        </p:tgtEl>
                                        <p:attrNameLst>
                                          <p:attrName>ppt_y</p:attrName>
                                        </p:attrNameLst>
                                      </p:cBhvr>
                                      <p:tavLst>
                                        <p:tav tm="0">
                                          <p:val>
                                            <p:strVal val="#ppt_y"/>
                                          </p:val>
                                        </p:tav>
                                        <p:tav tm="100000">
                                          <p:val>
                                            <p:strVal val="#ppt_y"/>
                                          </p:val>
                                        </p:tav>
                                      </p:tavLst>
                                    </p:anim>
                                    <p:anim calcmode="lin" valueType="num">
                                      <p:cBhvr>
                                        <p:cTn id="14" dur="500" fill="hold"/>
                                        <p:tgtEl>
                                          <p:spTgt spid="76"/>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76"/>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76"/>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73"/>
                                        </p:tgtEl>
                                        <p:attrNameLst>
                                          <p:attrName>fillcolor</p:attrName>
                                        </p:attrNameLst>
                                      </p:cBhvr>
                                      <p:to>
                                        <a:srgbClr val="00AEEF"/>
                                      </p:to>
                                    </p:animClr>
                                    <p:set>
                                      <p:cBhvr>
                                        <p:cTn id="20" dur="300" fill="hold"/>
                                        <p:tgtEl>
                                          <p:spTgt spid="73"/>
                                        </p:tgtEl>
                                        <p:attrNameLst>
                                          <p:attrName>fill.type</p:attrName>
                                        </p:attrNameLst>
                                      </p:cBhvr>
                                      <p:to>
                                        <p:strVal val="solid"/>
                                      </p:to>
                                    </p:set>
                                    <p:set>
                                      <p:cBhvr>
                                        <p:cTn id="21" dur="300" fill="hold"/>
                                        <p:tgtEl>
                                          <p:spTgt spid="73"/>
                                        </p:tgtEl>
                                        <p:attrNameLst>
                                          <p:attrName>fill.on</p:attrName>
                                        </p:attrNameLst>
                                      </p:cBhvr>
                                      <p:to>
                                        <p:strVal val="true"/>
                                      </p:to>
                                    </p:set>
                                  </p:childTnLst>
                                </p:cTn>
                              </p:par>
                            </p:childTnLst>
                          </p:cTn>
                        </p:par>
                        <p:par>
                          <p:cTn id="22" fill="hold">
                            <p:stCondLst>
                              <p:cond delay="1799"/>
                            </p:stCondLst>
                            <p:childTnLst>
                              <p:par>
                                <p:cTn id="23" presetID="30" presetClass="entr" presetSubtype="0" fill="hold" nodeType="afterEffect">
                                  <p:stCondLst>
                                    <p:cond delay="0"/>
                                  </p:stCondLst>
                                  <p:childTnLst>
                                    <p:set>
                                      <p:cBhvr>
                                        <p:cTn id="24" dur="1" fill="hold">
                                          <p:stCondLst>
                                            <p:cond delay="0"/>
                                          </p:stCondLst>
                                        </p:cTn>
                                        <p:tgtEl>
                                          <p:spTgt spid="42"/>
                                        </p:tgtEl>
                                        <p:attrNameLst>
                                          <p:attrName>style.visibility</p:attrName>
                                        </p:attrNameLst>
                                      </p:cBhvr>
                                      <p:to>
                                        <p:strVal val="visible"/>
                                      </p:to>
                                    </p:set>
                                    <p:animEffect transition="in" filter="fade">
                                      <p:cBhvr>
                                        <p:cTn id="25" dur="800" decel="100000"/>
                                        <p:tgtEl>
                                          <p:spTgt spid="42"/>
                                        </p:tgtEl>
                                      </p:cBhvr>
                                    </p:animEffect>
                                    <p:anim calcmode="lin" valueType="num">
                                      <p:cBhvr>
                                        <p:cTn id="26" dur="800" decel="100000" fill="hold"/>
                                        <p:tgtEl>
                                          <p:spTgt spid="42"/>
                                        </p:tgtEl>
                                        <p:attrNameLst>
                                          <p:attrName>style.rotation</p:attrName>
                                        </p:attrNameLst>
                                      </p:cBhvr>
                                      <p:tavLst>
                                        <p:tav tm="0">
                                          <p:val>
                                            <p:fltVal val="-90"/>
                                          </p:val>
                                        </p:tav>
                                        <p:tav tm="100000">
                                          <p:val>
                                            <p:fltVal val="0"/>
                                          </p:val>
                                        </p:tav>
                                      </p:tavLst>
                                    </p:anim>
                                    <p:anim calcmode="lin" valueType="num">
                                      <p:cBhvr>
                                        <p:cTn id="27" dur="800" decel="100000" fill="hold"/>
                                        <p:tgtEl>
                                          <p:spTgt spid="42"/>
                                        </p:tgtEl>
                                        <p:attrNameLst>
                                          <p:attrName>ppt_x</p:attrName>
                                        </p:attrNameLst>
                                      </p:cBhvr>
                                      <p:tavLst>
                                        <p:tav tm="0">
                                          <p:val>
                                            <p:strVal val="#ppt_x+0.4"/>
                                          </p:val>
                                        </p:tav>
                                        <p:tav tm="100000">
                                          <p:val>
                                            <p:strVal val="#ppt_x-0.05"/>
                                          </p:val>
                                        </p:tav>
                                      </p:tavLst>
                                    </p:anim>
                                    <p:anim calcmode="lin" valueType="num">
                                      <p:cBhvr>
                                        <p:cTn id="28" dur="800" decel="100000" fill="hold"/>
                                        <p:tgtEl>
                                          <p:spTgt spid="42"/>
                                        </p:tgtEl>
                                        <p:attrNameLst>
                                          <p:attrName>ppt_y</p:attrName>
                                        </p:attrNameLst>
                                      </p:cBhvr>
                                      <p:tavLst>
                                        <p:tav tm="0">
                                          <p:val>
                                            <p:strVal val="#ppt_y-0.4"/>
                                          </p:val>
                                        </p:tav>
                                        <p:tav tm="100000">
                                          <p:val>
                                            <p:strVal val="#ppt_y+0.1"/>
                                          </p:val>
                                        </p:tav>
                                      </p:tavLst>
                                    </p:anim>
                                    <p:anim calcmode="lin" valueType="num">
                                      <p:cBhvr>
                                        <p:cTn id="29" dur="200" accel="100000" fill="hold">
                                          <p:stCondLst>
                                            <p:cond delay="800"/>
                                          </p:stCondLst>
                                        </p:cTn>
                                        <p:tgtEl>
                                          <p:spTgt spid="42"/>
                                        </p:tgtEl>
                                        <p:attrNameLst>
                                          <p:attrName>ppt_x</p:attrName>
                                        </p:attrNameLst>
                                      </p:cBhvr>
                                      <p:tavLst>
                                        <p:tav tm="0">
                                          <p:val>
                                            <p:strVal val="#ppt_x-0.05"/>
                                          </p:val>
                                        </p:tav>
                                        <p:tav tm="100000">
                                          <p:val>
                                            <p:strVal val="#ppt_x"/>
                                          </p:val>
                                        </p:tav>
                                      </p:tavLst>
                                    </p:anim>
                                    <p:anim calcmode="lin" valueType="num">
                                      <p:cBhvr>
                                        <p:cTn id="30" dur="200" accel="100000" fill="hold">
                                          <p:stCondLst>
                                            <p:cond delay="800"/>
                                          </p:stCondLst>
                                        </p:cTn>
                                        <p:tgtEl>
                                          <p:spTgt spid="42"/>
                                        </p:tgtEl>
                                        <p:attrNameLst>
                                          <p:attrName>ppt_y</p:attrName>
                                        </p:attrNameLst>
                                      </p:cBhvr>
                                      <p:tavLst>
                                        <p:tav tm="0">
                                          <p:val>
                                            <p:strVal val="#ppt_y+0.1"/>
                                          </p:val>
                                        </p:tav>
                                        <p:tav tm="100000">
                                          <p:val>
                                            <p:strVal val="#ppt_y"/>
                                          </p:val>
                                        </p:tav>
                                      </p:tavLst>
                                    </p:anim>
                                  </p:childTnLst>
                                </p:cTn>
                              </p:par>
                            </p:childTnLst>
                          </p:cTn>
                        </p:par>
                        <p:par>
                          <p:cTn id="31" fill="hold">
                            <p:stCondLst>
                              <p:cond delay="2799"/>
                            </p:stCondLst>
                            <p:childTnLst>
                              <p:par>
                                <p:cTn id="32" presetID="30" presetClass="entr" presetSubtype="0" fill="hold" nodeType="afterEffect">
                                  <p:stCondLst>
                                    <p:cond delay="0"/>
                                  </p:stCondLst>
                                  <p:childTnLst>
                                    <p:set>
                                      <p:cBhvr>
                                        <p:cTn id="33" dur="1" fill="hold">
                                          <p:stCondLst>
                                            <p:cond delay="0"/>
                                          </p:stCondLst>
                                        </p:cTn>
                                        <p:tgtEl>
                                          <p:spTgt spid="50"/>
                                        </p:tgtEl>
                                        <p:attrNameLst>
                                          <p:attrName>style.visibility</p:attrName>
                                        </p:attrNameLst>
                                      </p:cBhvr>
                                      <p:to>
                                        <p:strVal val="visible"/>
                                      </p:to>
                                    </p:set>
                                    <p:animEffect transition="in" filter="fade">
                                      <p:cBhvr>
                                        <p:cTn id="34" dur="800" decel="100000"/>
                                        <p:tgtEl>
                                          <p:spTgt spid="50"/>
                                        </p:tgtEl>
                                      </p:cBhvr>
                                    </p:animEffect>
                                    <p:anim calcmode="lin" valueType="num">
                                      <p:cBhvr>
                                        <p:cTn id="35" dur="800" decel="100000" fill="hold"/>
                                        <p:tgtEl>
                                          <p:spTgt spid="50"/>
                                        </p:tgtEl>
                                        <p:attrNameLst>
                                          <p:attrName>style.rotation</p:attrName>
                                        </p:attrNameLst>
                                      </p:cBhvr>
                                      <p:tavLst>
                                        <p:tav tm="0">
                                          <p:val>
                                            <p:fltVal val="-90"/>
                                          </p:val>
                                        </p:tav>
                                        <p:tav tm="100000">
                                          <p:val>
                                            <p:fltVal val="0"/>
                                          </p:val>
                                        </p:tav>
                                      </p:tavLst>
                                    </p:anim>
                                    <p:anim calcmode="lin" valueType="num">
                                      <p:cBhvr>
                                        <p:cTn id="36" dur="800" decel="100000" fill="hold"/>
                                        <p:tgtEl>
                                          <p:spTgt spid="50"/>
                                        </p:tgtEl>
                                        <p:attrNameLst>
                                          <p:attrName>ppt_x</p:attrName>
                                        </p:attrNameLst>
                                      </p:cBhvr>
                                      <p:tavLst>
                                        <p:tav tm="0">
                                          <p:val>
                                            <p:strVal val="#ppt_x+0.4"/>
                                          </p:val>
                                        </p:tav>
                                        <p:tav tm="100000">
                                          <p:val>
                                            <p:strVal val="#ppt_x-0.05"/>
                                          </p:val>
                                        </p:tav>
                                      </p:tavLst>
                                    </p:anim>
                                    <p:anim calcmode="lin" valueType="num">
                                      <p:cBhvr>
                                        <p:cTn id="37" dur="800" decel="100000" fill="hold"/>
                                        <p:tgtEl>
                                          <p:spTgt spid="50"/>
                                        </p:tgtEl>
                                        <p:attrNameLst>
                                          <p:attrName>ppt_y</p:attrName>
                                        </p:attrNameLst>
                                      </p:cBhvr>
                                      <p:tavLst>
                                        <p:tav tm="0">
                                          <p:val>
                                            <p:strVal val="#ppt_y-0.4"/>
                                          </p:val>
                                        </p:tav>
                                        <p:tav tm="100000">
                                          <p:val>
                                            <p:strVal val="#ppt_y+0.1"/>
                                          </p:val>
                                        </p:tav>
                                      </p:tavLst>
                                    </p:anim>
                                    <p:anim calcmode="lin" valueType="num">
                                      <p:cBhvr>
                                        <p:cTn id="38" dur="200" accel="100000" fill="hold">
                                          <p:stCondLst>
                                            <p:cond delay="800"/>
                                          </p:stCondLst>
                                        </p:cTn>
                                        <p:tgtEl>
                                          <p:spTgt spid="50"/>
                                        </p:tgtEl>
                                        <p:attrNameLst>
                                          <p:attrName>ppt_x</p:attrName>
                                        </p:attrNameLst>
                                      </p:cBhvr>
                                      <p:tavLst>
                                        <p:tav tm="0">
                                          <p:val>
                                            <p:strVal val="#ppt_x-0.05"/>
                                          </p:val>
                                        </p:tav>
                                        <p:tav tm="100000">
                                          <p:val>
                                            <p:strVal val="#ppt_x"/>
                                          </p:val>
                                        </p:tav>
                                      </p:tavLst>
                                    </p:anim>
                                    <p:anim calcmode="lin" valueType="num">
                                      <p:cBhvr>
                                        <p:cTn id="39" dur="200" accel="100000" fill="hold">
                                          <p:stCondLst>
                                            <p:cond delay="800"/>
                                          </p:stCondLst>
                                        </p:cTn>
                                        <p:tgtEl>
                                          <p:spTgt spid="50"/>
                                        </p:tgtEl>
                                        <p:attrNameLst>
                                          <p:attrName>ppt_y</p:attrName>
                                        </p:attrNameLst>
                                      </p:cBhvr>
                                      <p:tavLst>
                                        <p:tav tm="0">
                                          <p:val>
                                            <p:strVal val="#ppt_y+0.1"/>
                                          </p:val>
                                        </p:tav>
                                        <p:tav tm="100000">
                                          <p:val>
                                            <p:strVal val="#ppt_y"/>
                                          </p:val>
                                        </p:tav>
                                      </p:tavLst>
                                    </p:anim>
                                  </p:childTnLst>
                                </p:cTn>
                              </p:par>
                            </p:childTnLst>
                          </p:cTn>
                        </p:par>
                        <p:par>
                          <p:cTn id="40" fill="hold">
                            <p:stCondLst>
                              <p:cond delay="3799"/>
                            </p:stCondLst>
                            <p:childTnLst>
                              <p:par>
                                <p:cTn id="41" presetID="30" presetClass="entr" presetSubtype="0" fill="hold" nodeType="afterEffect">
                                  <p:stCondLst>
                                    <p:cond delay="0"/>
                                  </p:stCondLst>
                                  <p:childTnLst>
                                    <p:set>
                                      <p:cBhvr>
                                        <p:cTn id="42" dur="1" fill="hold">
                                          <p:stCondLst>
                                            <p:cond delay="0"/>
                                          </p:stCondLst>
                                        </p:cTn>
                                        <p:tgtEl>
                                          <p:spTgt spid="46"/>
                                        </p:tgtEl>
                                        <p:attrNameLst>
                                          <p:attrName>style.visibility</p:attrName>
                                        </p:attrNameLst>
                                      </p:cBhvr>
                                      <p:to>
                                        <p:strVal val="visible"/>
                                      </p:to>
                                    </p:set>
                                    <p:animEffect transition="in" filter="fade">
                                      <p:cBhvr>
                                        <p:cTn id="43" dur="800" decel="100000"/>
                                        <p:tgtEl>
                                          <p:spTgt spid="46"/>
                                        </p:tgtEl>
                                      </p:cBhvr>
                                    </p:animEffect>
                                    <p:anim calcmode="lin" valueType="num">
                                      <p:cBhvr>
                                        <p:cTn id="44" dur="800" decel="100000" fill="hold"/>
                                        <p:tgtEl>
                                          <p:spTgt spid="46"/>
                                        </p:tgtEl>
                                        <p:attrNameLst>
                                          <p:attrName>style.rotation</p:attrName>
                                        </p:attrNameLst>
                                      </p:cBhvr>
                                      <p:tavLst>
                                        <p:tav tm="0">
                                          <p:val>
                                            <p:fltVal val="-90"/>
                                          </p:val>
                                        </p:tav>
                                        <p:tav tm="100000">
                                          <p:val>
                                            <p:fltVal val="0"/>
                                          </p:val>
                                        </p:tav>
                                      </p:tavLst>
                                    </p:anim>
                                    <p:anim calcmode="lin" valueType="num">
                                      <p:cBhvr>
                                        <p:cTn id="45" dur="800" decel="100000" fill="hold"/>
                                        <p:tgtEl>
                                          <p:spTgt spid="46"/>
                                        </p:tgtEl>
                                        <p:attrNameLst>
                                          <p:attrName>ppt_x</p:attrName>
                                        </p:attrNameLst>
                                      </p:cBhvr>
                                      <p:tavLst>
                                        <p:tav tm="0">
                                          <p:val>
                                            <p:strVal val="#ppt_x+0.4"/>
                                          </p:val>
                                        </p:tav>
                                        <p:tav tm="100000">
                                          <p:val>
                                            <p:strVal val="#ppt_x-0.05"/>
                                          </p:val>
                                        </p:tav>
                                      </p:tavLst>
                                    </p:anim>
                                    <p:anim calcmode="lin" valueType="num">
                                      <p:cBhvr>
                                        <p:cTn id="46" dur="800" decel="100000" fill="hold"/>
                                        <p:tgtEl>
                                          <p:spTgt spid="46"/>
                                        </p:tgtEl>
                                        <p:attrNameLst>
                                          <p:attrName>ppt_y</p:attrName>
                                        </p:attrNameLst>
                                      </p:cBhvr>
                                      <p:tavLst>
                                        <p:tav tm="0">
                                          <p:val>
                                            <p:strVal val="#ppt_y-0.4"/>
                                          </p:val>
                                        </p:tav>
                                        <p:tav tm="100000">
                                          <p:val>
                                            <p:strVal val="#ppt_y+0.1"/>
                                          </p:val>
                                        </p:tav>
                                      </p:tavLst>
                                    </p:anim>
                                    <p:anim calcmode="lin" valueType="num">
                                      <p:cBhvr>
                                        <p:cTn id="47" dur="200" accel="100000" fill="hold">
                                          <p:stCondLst>
                                            <p:cond delay="800"/>
                                          </p:stCondLst>
                                        </p:cTn>
                                        <p:tgtEl>
                                          <p:spTgt spid="46"/>
                                        </p:tgtEl>
                                        <p:attrNameLst>
                                          <p:attrName>ppt_x</p:attrName>
                                        </p:attrNameLst>
                                      </p:cBhvr>
                                      <p:tavLst>
                                        <p:tav tm="0">
                                          <p:val>
                                            <p:strVal val="#ppt_x-0.05"/>
                                          </p:val>
                                        </p:tav>
                                        <p:tav tm="100000">
                                          <p:val>
                                            <p:strVal val="#ppt_x"/>
                                          </p:val>
                                        </p:tav>
                                      </p:tavLst>
                                    </p:anim>
                                    <p:anim calcmode="lin" valueType="num">
                                      <p:cBhvr>
                                        <p:cTn id="48" dur="200" accel="100000" fill="hold">
                                          <p:stCondLst>
                                            <p:cond delay="800"/>
                                          </p:stCondLst>
                                        </p:cTn>
                                        <p:tgtEl>
                                          <p:spTgt spid="46"/>
                                        </p:tgtEl>
                                        <p:attrNameLst>
                                          <p:attrName>ppt_y</p:attrName>
                                        </p:attrNameLst>
                                      </p:cBhvr>
                                      <p:tavLst>
                                        <p:tav tm="0">
                                          <p:val>
                                            <p:strVal val="#ppt_y+0.1"/>
                                          </p:val>
                                        </p:tav>
                                        <p:tav tm="100000">
                                          <p:val>
                                            <p:strVal val="#ppt_y"/>
                                          </p:val>
                                        </p:tav>
                                      </p:tavLst>
                                    </p:anim>
                                  </p:childTnLst>
                                </p:cTn>
                              </p:par>
                            </p:childTnLst>
                          </p:cTn>
                        </p:par>
                        <p:par>
                          <p:cTn id="49" fill="hold">
                            <p:stCondLst>
                              <p:cond delay="4799"/>
                            </p:stCondLst>
                            <p:childTnLst>
                              <p:par>
                                <p:cTn id="50" presetID="30" presetClass="entr" presetSubtype="0" fill="hold" nodeType="afterEffect">
                                  <p:stCondLst>
                                    <p:cond delay="0"/>
                                  </p:stCondLst>
                                  <p:childTnLst>
                                    <p:set>
                                      <p:cBhvr>
                                        <p:cTn id="51" dur="1" fill="hold">
                                          <p:stCondLst>
                                            <p:cond delay="0"/>
                                          </p:stCondLst>
                                        </p:cTn>
                                        <p:tgtEl>
                                          <p:spTgt spid="54"/>
                                        </p:tgtEl>
                                        <p:attrNameLst>
                                          <p:attrName>style.visibility</p:attrName>
                                        </p:attrNameLst>
                                      </p:cBhvr>
                                      <p:to>
                                        <p:strVal val="visible"/>
                                      </p:to>
                                    </p:set>
                                    <p:animEffect transition="in" filter="fade">
                                      <p:cBhvr>
                                        <p:cTn id="52" dur="800" decel="100000"/>
                                        <p:tgtEl>
                                          <p:spTgt spid="54"/>
                                        </p:tgtEl>
                                      </p:cBhvr>
                                    </p:animEffect>
                                    <p:anim calcmode="lin" valueType="num">
                                      <p:cBhvr>
                                        <p:cTn id="53" dur="800" decel="100000" fill="hold"/>
                                        <p:tgtEl>
                                          <p:spTgt spid="54"/>
                                        </p:tgtEl>
                                        <p:attrNameLst>
                                          <p:attrName>style.rotation</p:attrName>
                                        </p:attrNameLst>
                                      </p:cBhvr>
                                      <p:tavLst>
                                        <p:tav tm="0">
                                          <p:val>
                                            <p:fltVal val="-90"/>
                                          </p:val>
                                        </p:tav>
                                        <p:tav tm="100000">
                                          <p:val>
                                            <p:fltVal val="0"/>
                                          </p:val>
                                        </p:tav>
                                      </p:tavLst>
                                    </p:anim>
                                    <p:anim calcmode="lin" valueType="num">
                                      <p:cBhvr>
                                        <p:cTn id="54" dur="800" decel="100000" fill="hold"/>
                                        <p:tgtEl>
                                          <p:spTgt spid="54"/>
                                        </p:tgtEl>
                                        <p:attrNameLst>
                                          <p:attrName>ppt_x</p:attrName>
                                        </p:attrNameLst>
                                      </p:cBhvr>
                                      <p:tavLst>
                                        <p:tav tm="0">
                                          <p:val>
                                            <p:strVal val="#ppt_x+0.4"/>
                                          </p:val>
                                        </p:tav>
                                        <p:tav tm="100000">
                                          <p:val>
                                            <p:strVal val="#ppt_x-0.05"/>
                                          </p:val>
                                        </p:tav>
                                      </p:tavLst>
                                    </p:anim>
                                    <p:anim calcmode="lin" valueType="num">
                                      <p:cBhvr>
                                        <p:cTn id="55" dur="800" decel="100000" fill="hold"/>
                                        <p:tgtEl>
                                          <p:spTgt spid="54"/>
                                        </p:tgtEl>
                                        <p:attrNameLst>
                                          <p:attrName>ppt_y</p:attrName>
                                        </p:attrNameLst>
                                      </p:cBhvr>
                                      <p:tavLst>
                                        <p:tav tm="0">
                                          <p:val>
                                            <p:strVal val="#ppt_y-0.4"/>
                                          </p:val>
                                        </p:tav>
                                        <p:tav tm="100000">
                                          <p:val>
                                            <p:strVal val="#ppt_y+0.1"/>
                                          </p:val>
                                        </p:tav>
                                      </p:tavLst>
                                    </p:anim>
                                    <p:anim calcmode="lin" valueType="num">
                                      <p:cBhvr>
                                        <p:cTn id="56" dur="200" accel="100000" fill="hold">
                                          <p:stCondLst>
                                            <p:cond delay="800"/>
                                          </p:stCondLst>
                                        </p:cTn>
                                        <p:tgtEl>
                                          <p:spTgt spid="54"/>
                                        </p:tgtEl>
                                        <p:attrNameLst>
                                          <p:attrName>ppt_x</p:attrName>
                                        </p:attrNameLst>
                                      </p:cBhvr>
                                      <p:tavLst>
                                        <p:tav tm="0">
                                          <p:val>
                                            <p:strVal val="#ppt_x-0.05"/>
                                          </p:val>
                                        </p:tav>
                                        <p:tav tm="100000">
                                          <p:val>
                                            <p:strVal val="#ppt_x"/>
                                          </p:val>
                                        </p:tav>
                                      </p:tavLst>
                                    </p:anim>
                                    <p:anim calcmode="lin" valueType="num">
                                      <p:cBhvr>
                                        <p:cTn id="57" dur="200" accel="100000" fill="hold">
                                          <p:stCondLst>
                                            <p:cond delay="800"/>
                                          </p:stCondLst>
                                        </p:cTn>
                                        <p:tgtEl>
                                          <p:spTgt spid="54"/>
                                        </p:tgtEl>
                                        <p:attrNameLst>
                                          <p:attrName>ppt_y</p:attrName>
                                        </p:attrNameLst>
                                      </p:cBhvr>
                                      <p:tavLst>
                                        <p:tav tm="0">
                                          <p:val>
                                            <p:strVal val="#ppt_y+0.1"/>
                                          </p:val>
                                        </p:tav>
                                        <p:tav tm="100000">
                                          <p:val>
                                            <p:strVal val="#ppt_y"/>
                                          </p:val>
                                        </p:tav>
                                      </p:tavLst>
                                    </p:anim>
                                  </p:childTnLst>
                                </p:cTn>
                              </p:par>
                            </p:childTnLst>
                          </p:cTn>
                        </p:par>
                        <p:par>
                          <p:cTn id="58" fill="hold">
                            <p:stCondLst>
                              <p:cond delay="5799"/>
                            </p:stCondLst>
                            <p:childTnLst>
                              <p:par>
                                <p:cTn id="59" presetID="10" presetClass="entr" presetSubtype="0" fill="hold" nodeType="afterEffect">
                                  <p:stCondLst>
                                    <p:cond delay="0"/>
                                  </p:stCondLst>
                                  <p:childTnLst>
                                    <p:set>
                                      <p:cBhvr>
                                        <p:cTn id="60" dur="1" fill="hold">
                                          <p:stCondLst>
                                            <p:cond delay="0"/>
                                          </p:stCondLst>
                                        </p:cTn>
                                        <p:tgtEl>
                                          <p:spTgt spid="36"/>
                                        </p:tgtEl>
                                        <p:attrNameLst>
                                          <p:attrName>style.visibility</p:attrName>
                                        </p:attrNameLst>
                                      </p:cBhvr>
                                      <p:to>
                                        <p:strVal val="visible"/>
                                      </p:to>
                                    </p:set>
                                    <p:animEffect transition="in" filter="fade">
                                      <p:cBhvr>
                                        <p:cTn id="61" dur="500"/>
                                        <p:tgtEl>
                                          <p:spTgt spid="36"/>
                                        </p:tgtEl>
                                      </p:cBhvr>
                                    </p:animEffect>
                                  </p:childTnLst>
                                </p:cTn>
                              </p:par>
                              <p:par>
                                <p:cTn id="62" presetID="10" presetClass="entr" presetSubtype="0" fill="hold" nodeType="withEffect">
                                  <p:stCondLst>
                                    <p:cond delay="0"/>
                                  </p:stCondLst>
                                  <p:childTnLst>
                                    <p:set>
                                      <p:cBhvr>
                                        <p:cTn id="63" dur="1" fill="hold">
                                          <p:stCondLst>
                                            <p:cond delay="0"/>
                                          </p:stCondLst>
                                        </p:cTn>
                                        <p:tgtEl>
                                          <p:spTgt spid="30"/>
                                        </p:tgtEl>
                                        <p:attrNameLst>
                                          <p:attrName>style.visibility</p:attrName>
                                        </p:attrNameLst>
                                      </p:cBhvr>
                                      <p:to>
                                        <p:strVal val="visible"/>
                                      </p:to>
                                    </p:set>
                                    <p:animEffect transition="in" filter="fade">
                                      <p:cBhvr>
                                        <p:cTn id="64" dur="500"/>
                                        <p:tgtEl>
                                          <p:spTgt spid="30"/>
                                        </p:tgtEl>
                                      </p:cBhvr>
                                    </p:animEffect>
                                  </p:childTnLst>
                                </p:cTn>
                              </p:par>
                              <p:par>
                                <p:cTn id="65" presetID="10" presetClass="entr" presetSubtype="0" fill="hold" nodeType="withEffect">
                                  <p:stCondLst>
                                    <p:cond delay="0"/>
                                  </p:stCondLst>
                                  <p:childTnLst>
                                    <p:set>
                                      <p:cBhvr>
                                        <p:cTn id="66" dur="1" fill="hold">
                                          <p:stCondLst>
                                            <p:cond delay="0"/>
                                          </p:stCondLst>
                                        </p:cTn>
                                        <p:tgtEl>
                                          <p:spTgt spid="39"/>
                                        </p:tgtEl>
                                        <p:attrNameLst>
                                          <p:attrName>style.visibility</p:attrName>
                                        </p:attrNameLst>
                                      </p:cBhvr>
                                      <p:to>
                                        <p:strVal val="visible"/>
                                      </p:to>
                                    </p:set>
                                    <p:animEffect transition="in" filter="fade">
                                      <p:cBhvr>
                                        <p:cTn id="67" dur="500"/>
                                        <p:tgtEl>
                                          <p:spTgt spid="39"/>
                                        </p:tgtEl>
                                      </p:cBhvr>
                                    </p:animEffect>
                                  </p:childTnLst>
                                </p:cTn>
                              </p:par>
                              <p:par>
                                <p:cTn id="68" presetID="10" presetClass="entr" presetSubtype="0" fill="hold" nodeType="withEffect">
                                  <p:stCondLst>
                                    <p:cond delay="0"/>
                                  </p:stCondLst>
                                  <p:childTnLst>
                                    <p:set>
                                      <p:cBhvr>
                                        <p:cTn id="69" dur="1" fill="hold">
                                          <p:stCondLst>
                                            <p:cond delay="0"/>
                                          </p:stCondLst>
                                        </p:cTn>
                                        <p:tgtEl>
                                          <p:spTgt spid="33"/>
                                        </p:tgtEl>
                                        <p:attrNameLst>
                                          <p:attrName>style.visibility</p:attrName>
                                        </p:attrNameLst>
                                      </p:cBhvr>
                                      <p:to>
                                        <p:strVal val="visible"/>
                                      </p:to>
                                    </p:set>
                                    <p:animEffect transition="in" filter="fade">
                                      <p:cBhvr>
                                        <p:cTn id="70" dur="500"/>
                                        <p:tgtEl>
                                          <p:spTgt spid="33"/>
                                        </p:tgtEl>
                                      </p:cBhvr>
                                    </p:animEffect>
                                  </p:childTnLst>
                                </p:cTn>
                              </p:par>
                            </p:childTnLst>
                          </p:cTn>
                        </p:par>
                        <p:par>
                          <p:cTn id="71" fill="hold">
                            <p:stCondLst>
                              <p:cond delay="6299"/>
                            </p:stCondLst>
                            <p:childTnLst>
                              <p:par>
                                <p:cTn id="72" presetID="2" presetClass="entr" presetSubtype="2" decel="100000" fill="hold" nodeType="afterEffect">
                                  <p:stCondLst>
                                    <p:cond delay="0"/>
                                  </p:stCondLst>
                                  <p:childTnLst>
                                    <p:set>
                                      <p:cBhvr>
                                        <p:cTn id="73" dur="1" fill="hold">
                                          <p:stCondLst>
                                            <p:cond delay="0"/>
                                          </p:stCondLst>
                                        </p:cTn>
                                        <p:tgtEl>
                                          <p:spTgt spid="59"/>
                                        </p:tgtEl>
                                        <p:attrNameLst>
                                          <p:attrName>style.visibility</p:attrName>
                                        </p:attrNameLst>
                                      </p:cBhvr>
                                      <p:to>
                                        <p:strVal val="visible"/>
                                      </p:to>
                                    </p:set>
                                    <p:anim calcmode="lin" valueType="num">
                                      <p:cBhvr additive="base">
                                        <p:cTn id="74" dur="500" fill="hold"/>
                                        <p:tgtEl>
                                          <p:spTgt spid="59"/>
                                        </p:tgtEl>
                                        <p:attrNameLst>
                                          <p:attrName>ppt_x</p:attrName>
                                        </p:attrNameLst>
                                      </p:cBhvr>
                                      <p:tavLst>
                                        <p:tav tm="0">
                                          <p:val>
                                            <p:strVal val="1+#ppt_w/2"/>
                                          </p:val>
                                        </p:tav>
                                        <p:tav tm="100000">
                                          <p:val>
                                            <p:strVal val="#ppt_x"/>
                                          </p:val>
                                        </p:tav>
                                      </p:tavLst>
                                    </p:anim>
                                    <p:anim calcmode="lin" valueType="num">
                                      <p:cBhvr additive="base">
                                        <p:cTn id="75" dur="500" fill="hold"/>
                                        <p:tgtEl>
                                          <p:spTgt spid="59"/>
                                        </p:tgtEl>
                                        <p:attrNameLst>
                                          <p:attrName>ppt_y</p:attrName>
                                        </p:attrNameLst>
                                      </p:cBhvr>
                                      <p:tavLst>
                                        <p:tav tm="0">
                                          <p:val>
                                            <p:strVal val="#ppt_y"/>
                                          </p:val>
                                        </p:tav>
                                        <p:tav tm="100000">
                                          <p:val>
                                            <p:strVal val="#ppt_y"/>
                                          </p:val>
                                        </p:tav>
                                      </p:tavLst>
                                    </p:anim>
                                  </p:childTnLst>
                                </p:cTn>
                              </p:par>
                            </p:childTnLst>
                          </p:cTn>
                        </p:par>
                        <p:par>
                          <p:cTn id="76" fill="hold">
                            <p:stCondLst>
                              <p:cond delay="6799"/>
                            </p:stCondLst>
                            <p:childTnLst>
                              <p:par>
                                <p:cTn id="77" presetID="1" presetClass="mediacall" presetSubtype="0" fill="hold" nodeType="afterEffect">
                                  <p:stCondLst>
                                    <p:cond delay="0"/>
                                  </p:stCondLst>
                                  <p:childTnLst>
                                    <p:cmd type="call" cmd="playFrom(0.0)">
                                      <p:cBhvr>
                                        <p:cTn id="78" dur="1" fill="hold"/>
                                        <p:tgtEl>
                                          <p:spTgt spid="81"/>
                                        </p:tgtEl>
                                      </p:cBhvr>
                                    </p:cmd>
                                  </p:childTnLst>
                                </p:cTn>
                              </p:par>
                            </p:childTnLst>
                          </p:cTn>
                        </p:par>
                        <p:par>
                          <p:cTn id="79" fill="hold">
                            <p:stCondLst>
                              <p:cond delay="6799"/>
                            </p:stCondLst>
                            <p:childTnLst>
                              <p:par>
                                <p:cTn id="80" presetID="2" presetClass="entr" presetSubtype="2" decel="100000" fill="hold" nodeType="afterEffect">
                                  <p:stCondLst>
                                    <p:cond delay="0"/>
                                  </p:stCondLst>
                                  <p:childTnLst>
                                    <p:set>
                                      <p:cBhvr>
                                        <p:cTn id="81" dur="1" fill="hold">
                                          <p:stCondLst>
                                            <p:cond delay="0"/>
                                          </p:stCondLst>
                                        </p:cTn>
                                        <p:tgtEl>
                                          <p:spTgt spid="62"/>
                                        </p:tgtEl>
                                        <p:attrNameLst>
                                          <p:attrName>style.visibility</p:attrName>
                                        </p:attrNameLst>
                                      </p:cBhvr>
                                      <p:to>
                                        <p:strVal val="visible"/>
                                      </p:to>
                                    </p:set>
                                    <p:anim calcmode="lin" valueType="num">
                                      <p:cBhvr additive="base">
                                        <p:cTn id="82" dur="500" fill="hold"/>
                                        <p:tgtEl>
                                          <p:spTgt spid="62"/>
                                        </p:tgtEl>
                                        <p:attrNameLst>
                                          <p:attrName>ppt_x</p:attrName>
                                        </p:attrNameLst>
                                      </p:cBhvr>
                                      <p:tavLst>
                                        <p:tav tm="0">
                                          <p:val>
                                            <p:strVal val="1+#ppt_w/2"/>
                                          </p:val>
                                        </p:tav>
                                        <p:tav tm="100000">
                                          <p:val>
                                            <p:strVal val="#ppt_x"/>
                                          </p:val>
                                        </p:tav>
                                      </p:tavLst>
                                    </p:anim>
                                    <p:anim calcmode="lin" valueType="num">
                                      <p:cBhvr additive="base">
                                        <p:cTn id="83" dur="500" fill="hold"/>
                                        <p:tgtEl>
                                          <p:spTgt spid="62"/>
                                        </p:tgtEl>
                                        <p:attrNameLst>
                                          <p:attrName>ppt_y</p:attrName>
                                        </p:attrNameLst>
                                      </p:cBhvr>
                                      <p:tavLst>
                                        <p:tav tm="0">
                                          <p:val>
                                            <p:strVal val="#ppt_y"/>
                                          </p:val>
                                        </p:tav>
                                        <p:tav tm="100000">
                                          <p:val>
                                            <p:strVal val="#ppt_y"/>
                                          </p:val>
                                        </p:tav>
                                      </p:tavLst>
                                    </p:anim>
                                  </p:childTnLst>
                                </p:cTn>
                              </p:par>
                            </p:childTnLst>
                          </p:cTn>
                        </p:par>
                        <p:par>
                          <p:cTn id="84" fill="hold">
                            <p:stCondLst>
                              <p:cond delay="7299"/>
                            </p:stCondLst>
                            <p:childTnLst>
                              <p:par>
                                <p:cTn id="85" presetID="2" presetClass="entr" presetSubtype="2" decel="100000" fill="hold" nodeType="afterEffect">
                                  <p:stCondLst>
                                    <p:cond delay="0"/>
                                  </p:stCondLst>
                                  <p:childTnLst>
                                    <p:set>
                                      <p:cBhvr>
                                        <p:cTn id="86" dur="1" fill="hold">
                                          <p:stCondLst>
                                            <p:cond delay="0"/>
                                          </p:stCondLst>
                                        </p:cTn>
                                        <p:tgtEl>
                                          <p:spTgt spid="65"/>
                                        </p:tgtEl>
                                        <p:attrNameLst>
                                          <p:attrName>style.visibility</p:attrName>
                                        </p:attrNameLst>
                                      </p:cBhvr>
                                      <p:to>
                                        <p:strVal val="visible"/>
                                      </p:to>
                                    </p:set>
                                    <p:anim calcmode="lin" valueType="num">
                                      <p:cBhvr additive="base">
                                        <p:cTn id="87" dur="500" fill="hold"/>
                                        <p:tgtEl>
                                          <p:spTgt spid="65"/>
                                        </p:tgtEl>
                                        <p:attrNameLst>
                                          <p:attrName>ppt_x</p:attrName>
                                        </p:attrNameLst>
                                      </p:cBhvr>
                                      <p:tavLst>
                                        <p:tav tm="0">
                                          <p:val>
                                            <p:strVal val="1+#ppt_w/2"/>
                                          </p:val>
                                        </p:tav>
                                        <p:tav tm="100000">
                                          <p:val>
                                            <p:strVal val="#ppt_x"/>
                                          </p:val>
                                        </p:tav>
                                      </p:tavLst>
                                    </p:anim>
                                    <p:anim calcmode="lin" valueType="num">
                                      <p:cBhvr additive="base">
                                        <p:cTn id="88" dur="500" fill="hold"/>
                                        <p:tgtEl>
                                          <p:spTgt spid="65"/>
                                        </p:tgtEl>
                                        <p:attrNameLst>
                                          <p:attrName>ppt_y</p:attrName>
                                        </p:attrNameLst>
                                      </p:cBhvr>
                                      <p:tavLst>
                                        <p:tav tm="0">
                                          <p:val>
                                            <p:strVal val="#ppt_y"/>
                                          </p:val>
                                        </p:tav>
                                        <p:tav tm="100000">
                                          <p:val>
                                            <p:strVal val="#ppt_y"/>
                                          </p:val>
                                        </p:tav>
                                      </p:tavLst>
                                    </p:anim>
                                  </p:childTnLst>
                                </p:cTn>
                              </p:par>
                            </p:childTnLst>
                          </p:cTn>
                        </p:par>
                        <p:par>
                          <p:cTn id="89" fill="hold">
                            <p:stCondLst>
                              <p:cond delay="7799"/>
                            </p:stCondLst>
                            <p:childTnLst>
                              <p:par>
                                <p:cTn id="90" presetID="2" presetClass="entr" presetSubtype="2" decel="100000" fill="hold" nodeType="afterEffect">
                                  <p:stCondLst>
                                    <p:cond delay="0"/>
                                  </p:stCondLst>
                                  <p:childTnLst>
                                    <p:set>
                                      <p:cBhvr>
                                        <p:cTn id="91" dur="1" fill="hold">
                                          <p:stCondLst>
                                            <p:cond delay="0"/>
                                          </p:stCondLst>
                                        </p:cTn>
                                        <p:tgtEl>
                                          <p:spTgt spid="68"/>
                                        </p:tgtEl>
                                        <p:attrNameLst>
                                          <p:attrName>style.visibility</p:attrName>
                                        </p:attrNameLst>
                                      </p:cBhvr>
                                      <p:to>
                                        <p:strVal val="visible"/>
                                      </p:to>
                                    </p:set>
                                    <p:anim calcmode="lin" valueType="num">
                                      <p:cBhvr additive="base">
                                        <p:cTn id="92" dur="500" fill="hold"/>
                                        <p:tgtEl>
                                          <p:spTgt spid="68"/>
                                        </p:tgtEl>
                                        <p:attrNameLst>
                                          <p:attrName>ppt_x</p:attrName>
                                        </p:attrNameLst>
                                      </p:cBhvr>
                                      <p:tavLst>
                                        <p:tav tm="0">
                                          <p:val>
                                            <p:strVal val="1+#ppt_w/2"/>
                                          </p:val>
                                        </p:tav>
                                        <p:tav tm="100000">
                                          <p:val>
                                            <p:strVal val="#ppt_x"/>
                                          </p:val>
                                        </p:tav>
                                      </p:tavLst>
                                    </p:anim>
                                    <p:anim calcmode="lin" valueType="num">
                                      <p:cBhvr additive="base">
                                        <p:cTn id="93" dur="500" fill="hold"/>
                                        <p:tgtEl>
                                          <p:spTgt spid="6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94" fill="hold" display="0">
                  <p:stCondLst>
                    <p:cond delay="indefinite"/>
                  </p:stCondLst>
                  <p:endCondLst>
                    <p:cond evt="onStopAudio" delay="0">
                      <p:tgtEl>
                        <p:sldTgt/>
                      </p:tgtEl>
                    </p:cond>
                  </p:endCondLst>
                </p:cTn>
                <p:tgtEl>
                  <p:spTgt spid="81"/>
                </p:tgtEl>
              </p:cMediaNode>
            </p:audio>
          </p:childTnLst>
        </p:cTn>
      </p:par>
    </p:tnLst>
    <p:bldLst>
      <p:bldP spid="73" grpId="0" animBg="1"/>
      <p:bldP spid="76"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6" name="TextBox 10"/>
          <p:cNvSpPr txBox="1"/>
          <p:nvPr/>
        </p:nvSpPr>
        <p:spPr>
          <a:xfrm>
            <a:off x="1188194" y="3005020"/>
            <a:ext cx="2569934" cy="523220"/>
          </a:xfrm>
          <a:prstGeom prst="rect">
            <a:avLst/>
          </a:prstGeom>
          <a:noFill/>
        </p:spPr>
        <p:txBody>
          <a:bodyPr wrap="none" rtlCol="0">
            <a:spAutoFit/>
          </a:bodyPr>
          <a:lstStyle/>
          <a:p>
            <a:r>
              <a:rPr lang="zh-CN" altLang="en-US" sz="2800" spc="300" dirty="0">
                <a:solidFill>
                  <a:srgbClr val="0070C0"/>
                </a:solidFill>
                <a:latin typeface="黑体" panose="02010609060101010101" pitchFamily="2" charset="-122"/>
                <a:ea typeface="黑体" panose="02010609060101010101" pitchFamily="2" charset="-122"/>
              </a:rPr>
              <a:t>单击添加标题</a:t>
            </a:r>
          </a:p>
        </p:txBody>
      </p:sp>
      <p:sp>
        <p:nvSpPr>
          <p:cNvPr id="7" name="TextBox 11"/>
          <p:cNvSpPr txBox="1"/>
          <p:nvPr/>
        </p:nvSpPr>
        <p:spPr>
          <a:xfrm>
            <a:off x="1260292" y="3564725"/>
            <a:ext cx="3025187" cy="430887"/>
          </a:xfrm>
          <a:prstGeom prst="rect">
            <a:avLst/>
          </a:prstGeom>
          <a:noFill/>
        </p:spPr>
        <p:txBody>
          <a:bodyPr wrap="none" rtlCol="0">
            <a:spAutoFit/>
          </a:bodyPr>
          <a:lstStyle/>
          <a:p>
            <a:r>
              <a:rPr lang="en-US" altLang="zh-CN" sz="1100" dirty="0">
                <a:solidFill>
                  <a:schemeClr val="bg1"/>
                </a:solidFill>
                <a:latin typeface="汉仪细等线" panose="01010104010101010101" pitchFamily="2" charset="-122"/>
                <a:ea typeface="汉仪细等线" panose="01010104010101010101" pitchFamily="2" charset="-122"/>
              </a:rPr>
              <a:t>Please click enter to Please click enter add</a:t>
            </a:r>
          </a:p>
          <a:p>
            <a:r>
              <a:rPr lang="en-US" altLang="zh-CN" sz="1100" dirty="0">
                <a:solidFill>
                  <a:schemeClr val="bg1"/>
                </a:solidFill>
                <a:latin typeface="汉仪细等线" panose="01010104010101010101" pitchFamily="2" charset="-122"/>
                <a:ea typeface="汉仪细等线" panose="01010104010101010101" pitchFamily="2" charset="-122"/>
              </a:rPr>
              <a:t>text content Please click enter </a:t>
            </a:r>
            <a:endParaRPr lang="zh-CN" altLang="en-US" sz="1100" dirty="0">
              <a:solidFill>
                <a:schemeClr val="bg1"/>
              </a:solidFill>
              <a:latin typeface="汉仪细等线" panose="01010104010101010101" pitchFamily="2" charset="-122"/>
              <a:ea typeface="汉仪细等线" panose="01010104010101010101" pitchFamily="2" charset="-122"/>
            </a:endParaRPr>
          </a:p>
        </p:txBody>
      </p:sp>
      <p:sp>
        <p:nvSpPr>
          <p:cNvPr id="8"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9060101010101" pitchFamily="2" charset="-122"/>
                <a:ea typeface="黑体" panose="02010609060101010101" pitchFamily="2" charset="-122"/>
              </a:rPr>
              <a:t>05.</a:t>
            </a:r>
            <a:endParaRPr lang="zh-CN" altLang="en-US" sz="11500" spc="300" dirty="0">
              <a:solidFill>
                <a:srgbClr val="0070C0"/>
              </a:solidFill>
              <a:latin typeface="黑体" panose="02010609060101010101" pitchFamily="2" charset="-122"/>
              <a:ea typeface="黑体" panose="02010609060101010101" pitchFamily="2" charset="-122"/>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6"/>
                                        </p:tgtEl>
                                      </p:cBhvr>
                                    </p:animEffect>
                                    <p:animScale>
                                      <p:cBhvr>
                                        <p:cTn id="21" dur="250" autoRev="1" fill="hold"/>
                                        <p:tgtEl>
                                          <p:spTgt spid="6"/>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7"/>
                                        </p:tgtEl>
                                        <p:attrNameLst>
                                          <p:attrName>style.visibility</p:attrName>
                                        </p:attrNameLst>
                                      </p:cBhvr>
                                      <p:to>
                                        <p:strVal val="visible"/>
                                      </p:to>
                                    </p:set>
                                    <p:anim calcmode="lin" valueType="num">
                                      <p:cBhvr>
                                        <p:cTn id="25" dur="2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7"/>
                                        </p:tgtEl>
                                        <p:attrNameLst>
                                          <p:attrName>ppt_y</p:attrName>
                                        </p:attrNameLst>
                                      </p:cBhvr>
                                      <p:tavLst>
                                        <p:tav tm="0">
                                          <p:val>
                                            <p:strVal val="#ppt_y"/>
                                          </p:val>
                                        </p:tav>
                                        <p:tav tm="100000">
                                          <p:val>
                                            <p:strVal val="#ppt_y"/>
                                          </p:val>
                                        </p:tav>
                                      </p:tavLst>
                                    </p:anim>
                                    <p:anim calcmode="lin" valueType="num">
                                      <p:cBhvr>
                                        <p:cTn id="27" dur="2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8" grpId="0"/>
      <p:bldP spid="8" grpId="1"/>
      <p:bldP spid="8" grpId="2"/>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 name="Group 4"/>
          <p:cNvGrpSpPr>
            <a:grpSpLocks noChangeAspect="1"/>
          </p:cNvGrpSpPr>
          <p:nvPr/>
        </p:nvGrpSpPr>
        <p:grpSpPr bwMode="auto">
          <a:xfrm rot="4351113">
            <a:off x="3834480" y="1561465"/>
            <a:ext cx="3280186" cy="2272507"/>
            <a:chOff x="940378" y="1114346"/>
            <a:chExt cx="7056438" cy="4867275"/>
          </a:xfrm>
        </p:grpSpPr>
        <p:sp>
          <p:nvSpPr>
            <p:cNvPr id="48" name="Arc 682"/>
            <p:cNvSpPr>
              <a:spLocks noChangeArrowheads="1"/>
            </p:cNvSpPr>
            <p:nvPr/>
          </p:nvSpPr>
          <p:spPr bwMode="auto">
            <a:xfrm rot="-2853595">
              <a:off x="3554195" y="1119903"/>
              <a:ext cx="1014413" cy="1003300"/>
            </a:xfrm>
            <a:custGeom>
              <a:avLst/>
              <a:gdLst>
                <a:gd name="T0" fmla="*/ 152021 w 21600"/>
                <a:gd name="T1" fmla="*/ -47 h 21356"/>
                <a:gd name="T2" fmla="*/ 1014413 w 21600"/>
                <a:gd name="T3" fmla="*/ 1003300 h 21356"/>
                <a:gd name="T4" fmla="*/ 152021 w 21600"/>
                <a:gd name="T5" fmla="*/ -47 h 21356"/>
                <a:gd name="T6" fmla="*/ 1014413 w 21600"/>
                <a:gd name="T7" fmla="*/ 1003300 h 21356"/>
                <a:gd name="T8" fmla="*/ 0 w 21600"/>
                <a:gd name="T9" fmla="*/ 1003300 h 21356"/>
                <a:gd name="T10" fmla="*/ 152021 w 21600"/>
                <a:gd name="T11" fmla="*/ -47 h 2135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356" fill="none">
                  <a:moveTo>
                    <a:pt x="3237" y="-1"/>
                  </a:moveTo>
                  <a:cubicBezTo>
                    <a:pt x="13795" y="1600"/>
                    <a:pt x="21600" y="10676"/>
                    <a:pt x="21600" y="21356"/>
                  </a:cubicBezTo>
                </a:path>
                <a:path w="21600" h="21356" stroke="0">
                  <a:moveTo>
                    <a:pt x="3237" y="-1"/>
                  </a:moveTo>
                  <a:cubicBezTo>
                    <a:pt x="13795" y="1600"/>
                    <a:pt x="21600" y="10676"/>
                    <a:pt x="21600" y="21356"/>
                  </a:cubicBezTo>
                  <a:lnTo>
                    <a:pt x="0" y="21356"/>
                  </a:lnTo>
                  <a:lnTo>
                    <a:pt x="3237" y="-1"/>
                  </a:lnTo>
                  <a:close/>
                </a:path>
              </a:pathLst>
            </a:custGeom>
            <a:noFill/>
            <a:ln w="9525">
              <a:solidFill>
                <a:srgbClr val="7F7F7F"/>
              </a:solidFill>
              <a:prstDash val="sysDot"/>
              <a:rou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sp>
          <p:nvSpPr>
            <p:cNvPr id="49" name="Freeform 673"/>
            <p:cNvSpPr>
              <a:spLocks noEditPoints="1" noChangeArrowheads="1"/>
            </p:cNvSpPr>
            <p:nvPr/>
          </p:nvSpPr>
          <p:spPr bwMode="auto">
            <a:xfrm rot="-324743">
              <a:off x="4204278" y="1579484"/>
              <a:ext cx="2628900" cy="2630487"/>
            </a:xfrm>
            <a:custGeom>
              <a:avLst/>
              <a:gdLst>
                <a:gd name="T0" fmla="*/ 2469660 w 1816"/>
                <a:gd name="T1" fmla="*/ 1147217 h 1816"/>
                <a:gd name="T2" fmla="*/ 2568099 w 1816"/>
                <a:gd name="T3" fmla="*/ 906765 h 1816"/>
                <a:gd name="T4" fmla="*/ 2284364 w 1816"/>
                <a:gd name="T5" fmla="*/ 666313 h 1816"/>
                <a:gd name="T6" fmla="*/ 2168553 w 1816"/>
                <a:gd name="T7" fmla="*/ 312877 h 1816"/>
                <a:gd name="T8" fmla="*/ 1907979 w 1816"/>
                <a:gd name="T9" fmla="*/ 309980 h 1816"/>
                <a:gd name="T10" fmla="*/ 1664777 w 1816"/>
                <a:gd name="T11" fmla="*/ 199894 h 1816"/>
                <a:gd name="T12" fmla="*/ 1415784 w 1816"/>
                <a:gd name="T13" fmla="*/ 150645 h 1816"/>
                <a:gd name="T14" fmla="*/ 1146525 w 1816"/>
                <a:gd name="T15" fmla="*/ 159336 h 1816"/>
                <a:gd name="T16" fmla="*/ 906218 w 1816"/>
                <a:gd name="T17" fmla="*/ 60837 h 1816"/>
                <a:gd name="T18" fmla="*/ 665911 w 1816"/>
                <a:gd name="T19" fmla="*/ 341847 h 1816"/>
                <a:gd name="T20" fmla="*/ 312689 w 1816"/>
                <a:gd name="T21" fmla="*/ 457728 h 1816"/>
                <a:gd name="T22" fmla="*/ 309793 w 1816"/>
                <a:gd name="T23" fmla="*/ 718459 h 1816"/>
                <a:gd name="T24" fmla="*/ 199773 w 1816"/>
                <a:gd name="T25" fmla="*/ 964705 h 1816"/>
                <a:gd name="T26" fmla="*/ 150554 w 1816"/>
                <a:gd name="T27" fmla="*/ 1210951 h 1816"/>
                <a:gd name="T28" fmla="*/ 156344 w 1816"/>
                <a:gd name="T29" fmla="*/ 1480373 h 1816"/>
                <a:gd name="T30" fmla="*/ 60801 w 1816"/>
                <a:gd name="T31" fmla="*/ 1723722 h 1816"/>
                <a:gd name="T32" fmla="*/ 341641 w 1816"/>
                <a:gd name="T33" fmla="*/ 1964174 h 1816"/>
                <a:gd name="T34" fmla="*/ 457452 w 1816"/>
                <a:gd name="T35" fmla="*/ 2317610 h 1816"/>
                <a:gd name="T36" fmla="*/ 718026 w 1816"/>
                <a:gd name="T37" fmla="*/ 2320507 h 1816"/>
                <a:gd name="T38" fmla="*/ 964123 w 1816"/>
                <a:gd name="T39" fmla="*/ 2430593 h 1816"/>
                <a:gd name="T40" fmla="*/ 1210220 w 1816"/>
                <a:gd name="T41" fmla="*/ 2479842 h 1816"/>
                <a:gd name="T42" fmla="*/ 1479480 w 1816"/>
                <a:gd name="T43" fmla="*/ 2471151 h 1816"/>
                <a:gd name="T44" fmla="*/ 1719787 w 1816"/>
                <a:gd name="T45" fmla="*/ 2569650 h 1816"/>
                <a:gd name="T46" fmla="*/ 1962989 w 1816"/>
                <a:gd name="T47" fmla="*/ 2285743 h 1816"/>
                <a:gd name="T48" fmla="*/ 2316211 w 1816"/>
                <a:gd name="T49" fmla="*/ 2172759 h 1816"/>
                <a:gd name="T50" fmla="*/ 2319107 w 1816"/>
                <a:gd name="T51" fmla="*/ 1912028 h 1816"/>
                <a:gd name="T52" fmla="*/ 2429127 w 1816"/>
                <a:gd name="T53" fmla="*/ 1665782 h 1816"/>
                <a:gd name="T54" fmla="*/ 2475451 w 1816"/>
                <a:gd name="T55" fmla="*/ 1416639 h 1816"/>
                <a:gd name="T56" fmla="*/ 1262335 w 1816"/>
                <a:gd name="T57" fmla="*/ 2334992 h 1816"/>
                <a:gd name="T58" fmla="*/ 1056771 w 1816"/>
                <a:gd name="T59" fmla="*/ 2306022 h 1816"/>
                <a:gd name="T60" fmla="*/ 871475 w 1816"/>
                <a:gd name="T61" fmla="*/ 2236493 h 1816"/>
                <a:gd name="T62" fmla="*/ 700654 w 1816"/>
                <a:gd name="T63" fmla="*/ 2135098 h 1816"/>
                <a:gd name="T64" fmla="*/ 555891 w 1816"/>
                <a:gd name="T65" fmla="*/ 2001835 h 1816"/>
                <a:gd name="T66" fmla="*/ 440080 w 1816"/>
                <a:gd name="T67" fmla="*/ 1845397 h 1816"/>
                <a:gd name="T68" fmla="*/ 353222 w 1816"/>
                <a:gd name="T69" fmla="*/ 1665782 h 1816"/>
                <a:gd name="T70" fmla="*/ 304003 w 1816"/>
                <a:gd name="T71" fmla="*/ 1471682 h 1816"/>
                <a:gd name="T72" fmla="*/ 292422 w 1816"/>
                <a:gd name="T73" fmla="*/ 1263097 h 1816"/>
                <a:gd name="T74" fmla="*/ 324270 w 1816"/>
                <a:gd name="T75" fmla="*/ 1060306 h 1816"/>
                <a:gd name="T76" fmla="*/ 393756 w 1816"/>
                <a:gd name="T77" fmla="*/ 872001 h 1816"/>
                <a:gd name="T78" fmla="*/ 495090 w 1816"/>
                <a:gd name="T79" fmla="*/ 703974 h 1816"/>
                <a:gd name="T80" fmla="*/ 625377 w 1816"/>
                <a:gd name="T81" fmla="*/ 559123 h 1816"/>
                <a:gd name="T82" fmla="*/ 784617 w 1816"/>
                <a:gd name="T83" fmla="*/ 440346 h 1816"/>
                <a:gd name="T84" fmla="*/ 961228 w 1816"/>
                <a:gd name="T85" fmla="*/ 353435 h 1816"/>
                <a:gd name="T86" fmla="*/ 1158106 w 1816"/>
                <a:gd name="T87" fmla="*/ 304186 h 1816"/>
                <a:gd name="T88" fmla="*/ 1366565 w 1816"/>
                <a:gd name="T89" fmla="*/ 292598 h 1816"/>
                <a:gd name="T90" fmla="*/ 1569233 w 1816"/>
                <a:gd name="T91" fmla="*/ 324465 h 1816"/>
                <a:gd name="T92" fmla="*/ 1757425 w 1816"/>
                <a:gd name="T93" fmla="*/ 393994 h 1816"/>
                <a:gd name="T94" fmla="*/ 1925351 w 1816"/>
                <a:gd name="T95" fmla="*/ 495389 h 1816"/>
                <a:gd name="T96" fmla="*/ 2070114 w 1816"/>
                <a:gd name="T97" fmla="*/ 625755 h 1816"/>
                <a:gd name="T98" fmla="*/ 2188820 w 1816"/>
                <a:gd name="T99" fmla="*/ 785090 h 1816"/>
                <a:gd name="T100" fmla="*/ 2272782 w 1816"/>
                <a:gd name="T101" fmla="*/ 961808 h 1816"/>
                <a:gd name="T102" fmla="*/ 2324897 w 1816"/>
                <a:gd name="T103" fmla="*/ 1158805 h 1816"/>
                <a:gd name="T104" fmla="*/ 2333583 w 1816"/>
                <a:gd name="T105" fmla="*/ 1367390 h 1816"/>
                <a:gd name="T106" fmla="*/ 2304630 w 1816"/>
                <a:gd name="T107" fmla="*/ 1570181 h 1816"/>
                <a:gd name="T108" fmla="*/ 2235144 w 1816"/>
                <a:gd name="T109" fmla="*/ 1758486 h 1816"/>
                <a:gd name="T110" fmla="*/ 2133810 w 1816"/>
                <a:gd name="T111" fmla="*/ 1926513 h 1816"/>
                <a:gd name="T112" fmla="*/ 2000628 w 1816"/>
                <a:gd name="T113" fmla="*/ 2071364 h 1816"/>
                <a:gd name="T114" fmla="*/ 1844283 w 1816"/>
                <a:gd name="T115" fmla="*/ 2190141 h 1816"/>
                <a:gd name="T116" fmla="*/ 1664777 w 1816"/>
                <a:gd name="T117" fmla="*/ 2274155 h 1816"/>
                <a:gd name="T118" fmla="*/ 1467899 w 1816"/>
                <a:gd name="T119" fmla="*/ 2326301 h 181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816" h="1816">
                  <a:moveTo>
                    <a:pt x="1816" y="978"/>
                  </a:moveTo>
                  <a:lnTo>
                    <a:pt x="1816" y="836"/>
                  </a:lnTo>
                  <a:lnTo>
                    <a:pt x="1710" y="836"/>
                  </a:lnTo>
                  <a:lnTo>
                    <a:pt x="1706" y="792"/>
                  </a:lnTo>
                  <a:lnTo>
                    <a:pt x="1698" y="750"/>
                  </a:lnTo>
                  <a:lnTo>
                    <a:pt x="1688" y="708"/>
                  </a:lnTo>
                  <a:lnTo>
                    <a:pt x="1678" y="666"/>
                  </a:lnTo>
                  <a:lnTo>
                    <a:pt x="1774" y="626"/>
                  </a:lnTo>
                  <a:lnTo>
                    <a:pt x="1718" y="494"/>
                  </a:lnTo>
                  <a:lnTo>
                    <a:pt x="1622" y="534"/>
                  </a:lnTo>
                  <a:lnTo>
                    <a:pt x="1602" y="496"/>
                  </a:lnTo>
                  <a:lnTo>
                    <a:pt x="1578" y="460"/>
                  </a:lnTo>
                  <a:lnTo>
                    <a:pt x="1552" y="424"/>
                  </a:lnTo>
                  <a:lnTo>
                    <a:pt x="1526" y="390"/>
                  </a:lnTo>
                  <a:lnTo>
                    <a:pt x="1600" y="316"/>
                  </a:lnTo>
                  <a:lnTo>
                    <a:pt x="1498" y="216"/>
                  </a:lnTo>
                  <a:lnTo>
                    <a:pt x="1426" y="290"/>
                  </a:lnTo>
                  <a:lnTo>
                    <a:pt x="1392" y="262"/>
                  </a:lnTo>
                  <a:lnTo>
                    <a:pt x="1356" y="236"/>
                  </a:lnTo>
                  <a:lnTo>
                    <a:pt x="1318" y="214"/>
                  </a:lnTo>
                  <a:lnTo>
                    <a:pt x="1280" y="192"/>
                  </a:lnTo>
                  <a:lnTo>
                    <a:pt x="1320" y="96"/>
                  </a:lnTo>
                  <a:lnTo>
                    <a:pt x="1188" y="42"/>
                  </a:lnTo>
                  <a:lnTo>
                    <a:pt x="1150" y="138"/>
                  </a:lnTo>
                  <a:lnTo>
                    <a:pt x="1108" y="126"/>
                  </a:lnTo>
                  <a:lnTo>
                    <a:pt x="1066" y="116"/>
                  </a:lnTo>
                  <a:lnTo>
                    <a:pt x="1022" y="110"/>
                  </a:lnTo>
                  <a:lnTo>
                    <a:pt x="978" y="104"/>
                  </a:lnTo>
                  <a:lnTo>
                    <a:pt x="978" y="0"/>
                  </a:lnTo>
                  <a:lnTo>
                    <a:pt x="836" y="0"/>
                  </a:lnTo>
                  <a:lnTo>
                    <a:pt x="836" y="104"/>
                  </a:lnTo>
                  <a:lnTo>
                    <a:pt x="792" y="110"/>
                  </a:lnTo>
                  <a:lnTo>
                    <a:pt x="750" y="116"/>
                  </a:lnTo>
                  <a:lnTo>
                    <a:pt x="706" y="126"/>
                  </a:lnTo>
                  <a:lnTo>
                    <a:pt x="666" y="138"/>
                  </a:lnTo>
                  <a:lnTo>
                    <a:pt x="626" y="42"/>
                  </a:lnTo>
                  <a:lnTo>
                    <a:pt x="494" y="96"/>
                  </a:lnTo>
                  <a:lnTo>
                    <a:pt x="534" y="192"/>
                  </a:lnTo>
                  <a:lnTo>
                    <a:pt x="496" y="214"/>
                  </a:lnTo>
                  <a:lnTo>
                    <a:pt x="460" y="236"/>
                  </a:lnTo>
                  <a:lnTo>
                    <a:pt x="424" y="262"/>
                  </a:lnTo>
                  <a:lnTo>
                    <a:pt x="390" y="290"/>
                  </a:lnTo>
                  <a:lnTo>
                    <a:pt x="316" y="216"/>
                  </a:lnTo>
                  <a:lnTo>
                    <a:pt x="216" y="316"/>
                  </a:lnTo>
                  <a:lnTo>
                    <a:pt x="288" y="390"/>
                  </a:lnTo>
                  <a:lnTo>
                    <a:pt x="262" y="424"/>
                  </a:lnTo>
                  <a:lnTo>
                    <a:pt x="236" y="460"/>
                  </a:lnTo>
                  <a:lnTo>
                    <a:pt x="214" y="496"/>
                  </a:lnTo>
                  <a:lnTo>
                    <a:pt x="192" y="534"/>
                  </a:lnTo>
                  <a:lnTo>
                    <a:pt x="96" y="494"/>
                  </a:lnTo>
                  <a:lnTo>
                    <a:pt x="42" y="626"/>
                  </a:lnTo>
                  <a:lnTo>
                    <a:pt x="138" y="666"/>
                  </a:lnTo>
                  <a:lnTo>
                    <a:pt x="126" y="708"/>
                  </a:lnTo>
                  <a:lnTo>
                    <a:pt x="116" y="750"/>
                  </a:lnTo>
                  <a:lnTo>
                    <a:pt x="108" y="792"/>
                  </a:lnTo>
                  <a:lnTo>
                    <a:pt x="104" y="836"/>
                  </a:lnTo>
                  <a:lnTo>
                    <a:pt x="0" y="836"/>
                  </a:lnTo>
                  <a:lnTo>
                    <a:pt x="0" y="978"/>
                  </a:lnTo>
                  <a:lnTo>
                    <a:pt x="104" y="978"/>
                  </a:lnTo>
                  <a:lnTo>
                    <a:pt x="108" y="1022"/>
                  </a:lnTo>
                  <a:lnTo>
                    <a:pt x="116" y="1066"/>
                  </a:lnTo>
                  <a:lnTo>
                    <a:pt x="126" y="1108"/>
                  </a:lnTo>
                  <a:lnTo>
                    <a:pt x="138" y="1150"/>
                  </a:lnTo>
                  <a:lnTo>
                    <a:pt x="42" y="1190"/>
                  </a:lnTo>
                  <a:lnTo>
                    <a:pt x="96" y="1320"/>
                  </a:lnTo>
                  <a:lnTo>
                    <a:pt x="192" y="1280"/>
                  </a:lnTo>
                  <a:lnTo>
                    <a:pt x="214" y="1320"/>
                  </a:lnTo>
                  <a:lnTo>
                    <a:pt x="236" y="1356"/>
                  </a:lnTo>
                  <a:lnTo>
                    <a:pt x="262" y="1392"/>
                  </a:lnTo>
                  <a:lnTo>
                    <a:pt x="288" y="1426"/>
                  </a:lnTo>
                  <a:lnTo>
                    <a:pt x="216" y="1500"/>
                  </a:lnTo>
                  <a:lnTo>
                    <a:pt x="316" y="1600"/>
                  </a:lnTo>
                  <a:lnTo>
                    <a:pt x="390" y="1526"/>
                  </a:lnTo>
                  <a:lnTo>
                    <a:pt x="424" y="1554"/>
                  </a:lnTo>
                  <a:lnTo>
                    <a:pt x="460" y="1578"/>
                  </a:lnTo>
                  <a:lnTo>
                    <a:pt x="496" y="1602"/>
                  </a:lnTo>
                  <a:lnTo>
                    <a:pt x="534" y="1622"/>
                  </a:lnTo>
                  <a:lnTo>
                    <a:pt x="494" y="1718"/>
                  </a:lnTo>
                  <a:lnTo>
                    <a:pt x="626" y="1774"/>
                  </a:lnTo>
                  <a:lnTo>
                    <a:pt x="666" y="1678"/>
                  </a:lnTo>
                  <a:lnTo>
                    <a:pt x="706" y="1690"/>
                  </a:lnTo>
                  <a:lnTo>
                    <a:pt x="750" y="1698"/>
                  </a:lnTo>
                  <a:lnTo>
                    <a:pt x="792" y="1706"/>
                  </a:lnTo>
                  <a:lnTo>
                    <a:pt x="836" y="1712"/>
                  </a:lnTo>
                  <a:lnTo>
                    <a:pt x="836" y="1816"/>
                  </a:lnTo>
                  <a:lnTo>
                    <a:pt x="978" y="1816"/>
                  </a:lnTo>
                  <a:lnTo>
                    <a:pt x="978" y="1712"/>
                  </a:lnTo>
                  <a:lnTo>
                    <a:pt x="1022" y="1706"/>
                  </a:lnTo>
                  <a:lnTo>
                    <a:pt x="1066" y="1698"/>
                  </a:lnTo>
                  <a:lnTo>
                    <a:pt x="1108" y="1690"/>
                  </a:lnTo>
                  <a:lnTo>
                    <a:pt x="1150" y="1678"/>
                  </a:lnTo>
                  <a:lnTo>
                    <a:pt x="1188" y="1774"/>
                  </a:lnTo>
                  <a:lnTo>
                    <a:pt x="1320" y="1718"/>
                  </a:lnTo>
                  <a:lnTo>
                    <a:pt x="1280" y="1622"/>
                  </a:lnTo>
                  <a:lnTo>
                    <a:pt x="1318" y="1602"/>
                  </a:lnTo>
                  <a:lnTo>
                    <a:pt x="1356" y="1578"/>
                  </a:lnTo>
                  <a:lnTo>
                    <a:pt x="1392" y="1554"/>
                  </a:lnTo>
                  <a:lnTo>
                    <a:pt x="1426" y="1526"/>
                  </a:lnTo>
                  <a:lnTo>
                    <a:pt x="1498" y="1600"/>
                  </a:lnTo>
                  <a:lnTo>
                    <a:pt x="1600" y="1500"/>
                  </a:lnTo>
                  <a:lnTo>
                    <a:pt x="1526" y="1426"/>
                  </a:lnTo>
                  <a:lnTo>
                    <a:pt x="1552" y="1392"/>
                  </a:lnTo>
                  <a:lnTo>
                    <a:pt x="1578" y="1356"/>
                  </a:lnTo>
                  <a:lnTo>
                    <a:pt x="1602" y="1320"/>
                  </a:lnTo>
                  <a:lnTo>
                    <a:pt x="1622" y="1280"/>
                  </a:lnTo>
                  <a:lnTo>
                    <a:pt x="1718" y="1320"/>
                  </a:lnTo>
                  <a:lnTo>
                    <a:pt x="1774" y="1190"/>
                  </a:lnTo>
                  <a:lnTo>
                    <a:pt x="1678" y="1150"/>
                  </a:lnTo>
                  <a:lnTo>
                    <a:pt x="1688" y="1108"/>
                  </a:lnTo>
                  <a:lnTo>
                    <a:pt x="1698" y="1066"/>
                  </a:lnTo>
                  <a:lnTo>
                    <a:pt x="1706" y="1022"/>
                  </a:lnTo>
                  <a:lnTo>
                    <a:pt x="1710" y="978"/>
                  </a:lnTo>
                  <a:lnTo>
                    <a:pt x="1816" y="978"/>
                  </a:lnTo>
                  <a:close/>
                  <a:moveTo>
                    <a:pt x="908" y="1614"/>
                  </a:moveTo>
                  <a:lnTo>
                    <a:pt x="908" y="1614"/>
                  </a:lnTo>
                  <a:lnTo>
                    <a:pt x="872" y="1612"/>
                  </a:lnTo>
                  <a:lnTo>
                    <a:pt x="836" y="1610"/>
                  </a:lnTo>
                  <a:lnTo>
                    <a:pt x="800" y="1606"/>
                  </a:lnTo>
                  <a:lnTo>
                    <a:pt x="766" y="1600"/>
                  </a:lnTo>
                  <a:lnTo>
                    <a:pt x="730" y="1592"/>
                  </a:lnTo>
                  <a:lnTo>
                    <a:pt x="698" y="1582"/>
                  </a:lnTo>
                  <a:lnTo>
                    <a:pt x="664" y="1570"/>
                  </a:lnTo>
                  <a:lnTo>
                    <a:pt x="632" y="1558"/>
                  </a:lnTo>
                  <a:lnTo>
                    <a:pt x="602" y="1544"/>
                  </a:lnTo>
                  <a:lnTo>
                    <a:pt x="570" y="1528"/>
                  </a:lnTo>
                  <a:lnTo>
                    <a:pt x="542" y="1512"/>
                  </a:lnTo>
                  <a:lnTo>
                    <a:pt x="512" y="1492"/>
                  </a:lnTo>
                  <a:lnTo>
                    <a:pt x="484" y="1474"/>
                  </a:lnTo>
                  <a:lnTo>
                    <a:pt x="458" y="1452"/>
                  </a:lnTo>
                  <a:lnTo>
                    <a:pt x="432" y="1430"/>
                  </a:lnTo>
                  <a:lnTo>
                    <a:pt x="408" y="1406"/>
                  </a:lnTo>
                  <a:lnTo>
                    <a:pt x="384" y="1382"/>
                  </a:lnTo>
                  <a:lnTo>
                    <a:pt x="362" y="1356"/>
                  </a:lnTo>
                  <a:lnTo>
                    <a:pt x="342" y="1330"/>
                  </a:lnTo>
                  <a:lnTo>
                    <a:pt x="322" y="1302"/>
                  </a:lnTo>
                  <a:lnTo>
                    <a:pt x="304" y="1274"/>
                  </a:lnTo>
                  <a:lnTo>
                    <a:pt x="286" y="1244"/>
                  </a:lnTo>
                  <a:lnTo>
                    <a:pt x="272" y="1214"/>
                  </a:lnTo>
                  <a:lnTo>
                    <a:pt x="256" y="1182"/>
                  </a:lnTo>
                  <a:lnTo>
                    <a:pt x="244" y="1150"/>
                  </a:lnTo>
                  <a:lnTo>
                    <a:pt x="234" y="1118"/>
                  </a:lnTo>
                  <a:lnTo>
                    <a:pt x="224" y="1084"/>
                  </a:lnTo>
                  <a:lnTo>
                    <a:pt x="216" y="1050"/>
                  </a:lnTo>
                  <a:lnTo>
                    <a:pt x="210" y="1016"/>
                  </a:lnTo>
                  <a:lnTo>
                    <a:pt x="206" y="980"/>
                  </a:lnTo>
                  <a:lnTo>
                    <a:pt x="202" y="944"/>
                  </a:lnTo>
                  <a:lnTo>
                    <a:pt x="202" y="908"/>
                  </a:lnTo>
                  <a:lnTo>
                    <a:pt x="202" y="872"/>
                  </a:lnTo>
                  <a:lnTo>
                    <a:pt x="206" y="836"/>
                  </a:lnTo>
                  <a:lnTo>
                    <a:pt x="210" y="800"/>
                  </a:lnTo>
                  <a:lnTo>
                    <a:pt x="216" y="766"/>
                  </a:lnTo>
                  <a:lnTo>
                    <a:pt x="224" y="732"/>
                  </a:lnTo>
                  <a:lnTo>
                    <a:pt x="234" y="698"/>
                  </a:lnTo>
                  <a:lnTo>
                    <a:pt x="244" y="664"/>
                  </a:lnTo>
                  <a:lnTo>
                    <a:pt x="256" y="632"/>
                  </a:lnTo>
                  <a:lnTo>
                    <a:pt x="272" y="602"/>
                  </a:lnTo>
                  <a:lnTo>
                    <a:pt x="286" y="572"/>
                  </a:lnTo>
                  <a:lnTo>
                    <a:pt x="304" y="542"/>
                  </a:lnTo>
                  <a:lnTo>
                    <a:pt x="322" y="512"/>
                  </a:lnTo>
                  <a:lnTo>
                    <a:pt x="342" y="486"/>
                  </a:lnTo>
                  <a:lnTo>
                    <a:pt x="362" y="458"/>
                  </a:lnTo>
                  <a:lnTo>
                    <a:pt x="384" y="432"/>
                  </a:lnTo>
                  <a:lnTo>
                    <a:pt x="408" y="408"/>
                  </a:lnTo>
                  <a:lnTo>
                    <a:pt x="432" y="386"/>
                  </a:lnTo>
                  <a:lnTo>
                    <a:pt x="458" y="362"/>
                  </a:lnTo>
                  <a:lnTo>
                    <a:pt x="484" y="342"/>
                  </a:lnTo>
                  <a:lnTo>
                    <a:pt x="512" y="322"/>
                  </a:lnTo>
                  <a:lnTo>
                    <a:pt x="542" y="304"/>
                  </a:lnTo>
                  <a:lnTo>
                    <a:pt x="570" y="286"/>
                  </a:lnTo>
                  <a:lnTo>
                    <a:pt x="602" y="272"/>
                  </a:lnTo>
                  <a:lnTo>
                    <a:pt x="632" y="258"/>
                  </a:lnTo>
                  <a:lnTo>
                    <a:pt x="664" y="244"/>
                  </a:lnTo>
                  <a:lnTo>
                    <a:pt x="698" y="234"/>
                  </a:lnTo>
                  <a:lnTo>
                    <a:pt x="730" y="224"/>
                  </a:lnTo>
                  <a:lnTo>
                    <a:pt x="766" y="216"/>
                  </a:lnTo>
                  <a:lnTo>
                    <a:pt x="800" y="210"/>
                  </a:lnTo>
                  <a:lnTo>
                    <a:pt x="836" y="206"/>
                  </a:lnTo>
                  <a:lnTo>
                    <a:pt x="872" y="202"/>
                  </a:lnTo>
                  <a:lnTo>
                    <a:pt x="908" y="202"/>
                  </a:lnTo>
                  <a:lnTo>
                    <a:pt x="944" y="202"/>
                  </a:lnTo>
                  <a:lnTo>
                    <a:pt x="980" y="206"/>
                  </a:lnTo>
                  <a:lnTo>
                    <a:pt x="1014" y="210"/>
                  </a:lnTo>
                  <a:lnTo>
                    <a:pt x="1050" y="216"/>
                  </a:lnTo>
                  <a:lnTo>
                    <a:pt x="1084" y="224"/>
                  </a:lnTo>
                  <a:lnTo>
                    <a:pt x="1118" y="234"/>
                  </a:lnTo>
                  <a:lnTo>
                    <a:pt x="1150" y="244"/>
                  </a:lnTo>
                  <a:lnTo>
                    <a:pt x="1182" y="258"/>
                  </a:lnTo>
                  <a:lnTo>
                    <a:pt x="1214" y="272"/>
                  </a:lnTo>
                  <a:lnTo>
                    <a:pt x="1244" y="286"/>
                  </a:lnTo>
                  <a:lnTo>
                    <a:pt x="1274" y="304"/>
                  </a:lnTo>
                  <a:lnTo>
                    <a:pt x="1302" y="322"/>
                  </a:lnTo>
                  <a:lnTo>
                    <a:pt x="1330" y="342"/>
                  </a:lnTo>
                  <a:lnTo>
                    <a:pt x="1356" y="362"/>
                  </a:lnTo>
                  <a:lnTo>
                    <a:pt x="1382" y="386"/>
                  </a:lnTo>
                  <a:lnTo>
                    <a:pt x="1406" y="408"/>
                  </a:lnTo>
                  <a:lnTo>
                    <a:pt x="1430" y="432"/>
                  </a:lnTo>
                  <a:lnTo>
                    <a:pt x="1452" y="458"/>
                  </a:lnTo>
                  <a:lnTo>
                    <a:pt x="1474" y="486"/>
                  </a:lnTo>
                  <a:lnTo>
                    <a:pt x="1492" y="512"/>
                  </a:lnTo>
                  <a:lnTo>
                    <a:pt x="1512" y="542"/>
                  </a:lnTo>
                  <a:lnTo>
                    <a:pt x="1528" y="572"/>
                  </a:lnTo>
                  <a:lnTo>
                    <a:pt x="1544" y="602"/>
                  </a:lnTo>
                  <a:lnTo>
                    <a:pt x="1558" y="632"/>
                  </a:lnTo>
                  <a:lnTo>
                    <a:pt x="1570" y="664"/>
                  </a:lnTo>
                  <a:lnTo>
                    <a:pt x="1582" y="698"/>
                  </a:lnTo>
                  <a:lnTo>
                    <a:pt x="1592" y="732"/>
                  </a:lnTo>
                  <a:lnTo>
                    <a:pt x="1598" y="766"/>
                  </a:lnTo>
                  <a:lnTo>
                    <a:pt x="1606" y="800"/>
                  </a:lnTo>
                  <a:lnTo>
                    <a:pt x="1610" y="836"/>
                  </a:lnTo>
                  <a:lnTo>
                    <a:pt x="1612" y="872"/>
                  </a:lnTo>
                  <a:lnTo>
                    <a:pt x="1614" y="908"/>
                  </a:lnTo>
                  <a:lnTo>
                    <a:pt x="1612" y="944"/>
                  </a:lnTo>
                  <a:lnTo>
                    <a:pt x="1610" y="980"/>
                  </a:lnTo>
                  <a:lnTo>
                    <a:pt x="1606" y="1016"/>
                  </a:lnTo>
                  <a:lnTo>
                    <a:pt x="1598" y="1050"/>
                  </a:lnTo>
                  <a:lnTo>
                    <a:pt x="1592" y="1084"/>
                  </a:lnTo>
                  <a:lnTo>
                    <a:pt x="1582" y="1118"/>
                  </a:lnTo>
                  <a:lnTo>
                    <a:pt x="1570" y="1150"/>
                  </a:lnTo>
                  <a:lnTo>
                    <a:pt x="1558" y="1182"/>
                  </a:lnTo>
                  <a:lnTo>
                    <a:pt x="1544" y="1214"/>
                  </a:lnTo>
                  <a:lnTo>
                    <a:pt x="1528" y="1244"/>
                  </a:lnTo>
                  <a:lnTo>
                    <a:pt x="1512" y="1274"/>
                  </a:lnTo>
                  <a:lnTo>
                    <a:pt x="1492" y="1302"/>
                  </a:lnTo>
                  <a:lnTo>
                    <a:pt x="1474" y="1330"/>
                  </a:lnTo>
                  <a:lnTo>
                    <a:pt x="1452" y="1356"/>
                  </a:lnTo>
                  <a:lnTo>
                    <a:pt x="1430" y="1382"/>
                  </a:lnTo>
                  <a:lnTo>
                    <a:pt x="1406" y="1406"/>
                  </a:lnTo>
                  <a:lnTo>
                    <a:pt x="1382" y="1430"/>
                  </a:lnTo>
                  <a:lnTo>
                    <a:pt x="1356" y="1452"/>
                  </a:lnTo>
                  <a:lnTo>
                    <a:pt x="1330" y="1474"/>
                  </a:lnTo>
                  <a:lnTo>
                    <a:pt x="1302" y="1492"/>
                  </a:lnTo>
                  <a:lnTo>
                    <a:pt x="1274" y="1512"/>
                  </a:lnTo>
                  <a:lnTo>
                    <a:pt x="1244" y="1528"/>
                  </a:lnTo>
                  <a:lnTo>
                    <a:pt x="1214" y="1544"/>
                  </a:lnTo>
                  <a:lnTo>
                    <a:pt x="1182" y="1558"/>
                  </a:lnTo>
                  <a:lnTo>
                    <a:pt x="1150" y="1570"/>
                  </a:lnTo>
                  <a:lnTo>
                    <a:pt x="1118" y="1582"/>
                  </a:lnTo>
                  <a:lnTo>
                    <a:pt x="1084" y="1592"/>
                  </a:lnTo>
                  <a:lnTo>
                    <a:pt x="1050" y="1600"/>
                  </a:lnTo>
                  <a:lnTo>
                    <a:pt x="1014" y="1606"/>
                  </a:lnTo>
                  <a:lnTo>
                    <a:pt x="980" y="1610"/>
                  </a:lnTo>
                  <a:lnTo>
                    <a:pt x="944" y="1612"/>
                  </a:lnTo>
                  <a:lnTo>
                    <a:pt x="908" y="1614"/>
                  </a:lnTo>
                  <a:close/>
                </a:path>
              </a:pathLst>
            </a:cu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a:p>
          </p:txBody>
        </p:sp>
        <p:sp>
          <p:nvSpPr>
            <p:cNvPr id="50" name="Freeform 675"/>
            <p:cNvSpPr>
              <a:spLocks noEditPoints="1" noChangeArrowheads="1"/>
            </p:cNvSpPr>
            <p:nvPr/>
          </p:nvSpPr>
          <p:spPr bwMode="auto">
            <a:xfrm rot="-324743">
              <a:off x="940378" y="1649334"/>
              <a:ext cx="3429000" cy="3429000"/>
            </a:xfrm>
            <a:custGeom>
              <a:avLst/>
              <a:gdLst>
                <a:gd name="T0" fmla="*/ 3285144 w 2622"/>
                <a:gd name="T1" fmla="*/ 1506563 h 2622"/>
                <a:gd name="T2" fmla="*/ 3217140 w 2622"/>
                <a:gd name="T3" fmla="*/ 1216236 h 2622"/>
                <a:gd name="T4" fmla="*/ 3245911 w 2622"/>
                <a:gd name="T5" fmla="*/ 938986 h 2622"/>
                <a:gd name="T6" fmla="*/ 2934659 w 2622"/>
                <a:gd name="T7" fmla="*/ 706201 h 2622"/>
                <a:gd name="T8" fmla="*/ 2722799 w 2622"/>
                <a:gd name="T9" fmla="*/ 494341 h 2622"/>
                <a:gd name="T10" fmla="*/ 2492629 w 2622"/>
                <a:gd name="T11" fmla="*/ 183089 h 2622"/>
                <a:gd name="T12" fmla="*/ 2215380 w 2622"/>
                <a:gd name="T13" fmla="*/ 211860 h 2622"/>
                <a:gd name="T14" fmla="*/ 1922437 w 2622"/>
                <a:gd name="T15" fmla="*/ 146471 h 2622"/>
                <a:gd name="T16" fmla="*/ 1621648 w 2622"/>
                <a:gd name="T17" fmla="*/ 136009 h 2622"/>
                <a:gd name="T18" fmla="*/ 1362707 w 2622"/>
                <a:gd name="T19" fmla="*/ 34002 h 2622"/>
                <a:gd name="T20" fmla="*/ 1056686 w 2622"/>
                <a:gd name="T21" fmla="*/ 274634 h 2622"/>
                <a:gd name="T22" fmla="*/ 797746 w 2622"/>
                <a:gd name="T23" fmla="*/ 426336 h 2622"/>
                <a:gd name="T24" fmla="*/ 436799 w 2622"/>
                <a:gd name="T25" fmla="*/ 567577 h 2622"/>
                <a:gd name="T26" fmla="*/ 394950 w 2622"/>
                <a:gd name="T27" fmla="*/ 844826 h 2622"/>
                <a:gd name="T28" fmla="*/ 253709 w 2622"/>
                <a:gd name="T29" fmla="*/ 1108998 h 2622"/>
                <a:gd name="T30" fmla="*/ 164780 w 2622"/>
                <a:gd name="T31" fmla="*/ 1396709 h 2622"/>
                <a:gd name="T32" fmla="*/ 0 w 2622"/>
                <a:gd name="T33" fmla="*/ 1621648 h 2622"/>
                <a:gd name="T34" fmla="*/ 154318 w 2622"/>
                <a:gd name="T35" fmla="*/ 1977364 h 2622"/>
                <a:gd name="T36" fmla="*/ 232785 w 2622"/>
                <a:gd name="T37" fmla="*/ 2267691 h 2622"/>
                <a:gd name="T38" fmla="*/ 277249 w 2622"/>
                <a:gd name="T39" fmla="*/ 2652178 h 2622"/>
                <a:gd name="T40" fmla="*/ 533574 w 2622"/>
                <a:gd name="T41" fmla="*/ 2767263 h 2622"/>
                <a:gd name="T42" fmla="*/ 753281 w 2622"/>
                <a:gd name="T43" fmla="*/ 2971277 h 2622"/>
                <a:gd name="T44" fmla="*/ 1006991 w 2622"/>
                <a:gd name="T45" fmla="*/ 3130826 h 2622"/>
                <a:gd name="T46" fmla="*/ 1182233 w 2622"/>
                <a:gd name="T47" fmla="*/ 3347918 h 2622"/>
                <a:gd name="T48" fmla="*/ 1564105 w 2622"/>
                <a:gd name="T49" fmla="*/ 3290375 h 2622"/>
                <a:gd name="T50" fmla="*/ 1864895 w 2622"/>
                <a:gd name="T51" fmla="*/ 3290375 h 2622"/>
                <a:gd name="T52" fmla="*/ 2249382 w 2622"/>
                <a:gd name="T53" fmla="*/ 3347918 h 2622"/>
                <a:gd name="T54" fmla="*/ 2424625 w 2622"/>
                <a:gd name="T55" fmla="*/ 3130826 h 2622"/>
                <a:gd name="T56" fmla="*/ 2678334 w 2622"/>
                <a:gd name="T57" fmla="*/ 2971277 h 2622"/>
                <a:gd name="T58" fmla="*/ 2898041 w 2622"/>
                <a:gd name="T59" fmla="*/ 2767263 h 2622"/>
                <a:gd name="T60" fmla="*/ 3154366 w 2622"/>
                <a:gd name="T61" fmla="*/ 2652178 h 2622"/>
                <a:gd name="T62" fmla="*/ 3198831 w 2622"/>
                <a:gd name="T63" fmla="*/ 2267691 h 2622"/>
                <a:gd name="T64" fmla="*/ 3277297 w 2622"/>
                <a:gd name="T65" fmla="*/ 1977364 h 2622"/>
                <a:gd name="T66" fmla="*/ 1715808 w 2622"/>
                <a:gd name="T67" fmla="*/ 3164828 h 2622"/>
                <a:gd name="T68" fmla="*/ 1422865 w 2622"/>
                <a:gd name="T69" fmla="*/ 3136057 h 2622"/>
                <a:gd name="T70" fmla="*/ 1085458 w 2622"/>
                <a:gd name="T71" fmla="*/ 3023588 h 2622"/>
                <a:gd name="T72" fmla="*/ 792515 w 2622"/>
                <a:gd name="T73" fmla="*/ 2835268 h 2622"/>
                <a:gd name="T74" fmla="*/ 551883 w 2622"/>
                <a:gd name="T75" fmla="*/ 2584174 h 2622"/>
                <a:gd name="T76" fmla="*/ 379256 w 2622"/>
                <a:gd name="T77" fmla="*/ 2280769 h 2622"/>
                <a:gd name="T78" fmla="*/ 282481 w 2622"/>
                <a:gd name="T79" fmla="*/ 1935515 h 2622"/>
                <a:gd name="T80" fmla="*/ 272018 w 2622"/>
                <a:gd name="T81" fmla="*/ 1566721 h 2622"/>
                <a:gd name="T82" fmla="*/ 353101 w 2622"/>
                <a:gd name="T83" fmla="*/ 1216236 h 2622"/>
                <a:gd name="T84" fmla="*/ 512650 w 2622"/>
                <a:gd name="T85" fmla="*/ 904984 h 2622"/>
                <a:gd name="T86" fmla="*/ 740204 w 2622"/>
                <a:gd name="T87" fmla="*/ 640812 h 2622"/>
                <a:gd name="T88" fmla="*/ 1022684 w 2622"/>
                <a:gd name="T89" fmla="*/ 439414 h 2622"/>
                <a:gd name="T90" fmla="*/ 1352245 w 2622"/>
                <a:gd name="T91" fmla="*/ 308636 h 2622"/>
                <a:gd name="T92" fmla="*/ 1715808 w 2622"/>
                <a:gd name="T93" fmla="*/ 264172 h 2622"/>
                <a:gd name="T94" fmla="*/ 2076755 w 2622"/>
                <a:gd name="T95" fmla="*/ 308636 h 2622"/>
                <a:gd name="T96" fmla="*/ 2406316 w 2622"/>
                <a:gd name="T97" fmla="*/ 439414 h 2622"/>
                <a:gd name="T98" fmla="*/ 2691412 w 2622"/>
                <a:gd name="T99" fmla="*/ 640812 h 2622"/>
                <a:gd name="T100" fmla="*/ 2918966 w 2622"/>
                <a:gd name="T101" fmla="*/ 904984 h 2622"/>
                <a:gd name="T102" fmla="*/ 3078515 w 2622"/>
                <a:gd name="T103" fmla="*/ 1216236 h 2622"/>
                <a:gd name="T104" fmla="*/ 3159597 w 2622"/>
                <a:gd name="T105" fmla="*/ 1566721 h 2622"/>
                <a:gd name="T106" fmla="*/ 3149135 w 2622"/>
                <a:gd name="T107" fmla="*/ 1935515 h 2622"/>
                <a:gd name="T108" fmla="*/ 3052359 w 2622"/>
                <a:gd name="T109" fmla="*/ 2280769 h 2622"/>
                <a:gd name="T110" fmla="*/ 2877117 w 2622"/>
                <a:gd name="T111" fmla="*/ 2584174 h 2622"/>
                <a:gd name="T112" fmla="*/ 2639101 w 2622"/>
                <a:gd name="T113" fmla="*/ 2835268 h 2622"/>
                <a:gd name="T114" fmla="*/ 2343542 w 2622"/>
                <a:gd name="T115" fmla="*/ 3023588 h 2622"/>
                <a:gd name="T116" fmla="*/ 2008751 w 2622"/>
                <a:gd name="T117" fmla="*/ 3136057 h 262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622" h="2622">
                  <a:moveTo>
                    <a:pt x="2622" y="1382"/>
                  </a:moveTo>
                  <a:lnTo>
                    <a:pt x="2622" y="1240"/>
                  </a:lnTo>
                  <a:lnTo>
                    <a:pt x="2520" y="1240"/>
                  </a:lnTo>
                  <a:lnTo>
                    <a:pt x="2516" y="1196"/>
                  </a:lnTo>
                  <a:lnTo>
                    <a:pt x="2512" y="1152"/>
                  </a:lnTo>
                  <a:lnTo>
                    <a:pt x="2506" y="1110"/>
                  </a:lnTo>
                  <a:lnTo>
                    <a:pt x="2498" y="1068"/>
                  </a:lnTo>
                  <a:lnTo>
                    <a:pt x="2596" y="1040"/>
                  </a:lnTo>
                  <a:lnTo>
                    <a:pt x="2560" y="904"/>
                  </a:lnTo>
                  <a:lnTo>
                    <a:pt x="2460" y="930"/>
                  </a:lnTo>
                  <a:lnTo>
                    <a:pt x="2446" y="888"/>
                  </a:lnTo>
                  <a:lnTo>
                    <a:pt x="2430" y="848"/>
                  </a:lnTo>
                  <a:lnTo>
                    <a:pt x="2412" y="808"/>
                  </a:lnTo>
                  <a:lnTo>
                    <a:pt x="2394" y="768"/>
                  </a:lnTo>
                  <a:lnTo>
                    <a:pt x="2482" y="718"/>
                  </a:lnTo>
                  <a:lnTo>
                    <a:pt x="2412" y="594"/>
                  </a:lnTo>
                  <a:lnTo>
                    <a:pt x="2322" y="646"/>
                  </a:lnTo>
                  <a:lnTo>
                    <a:pt x="2298" y="610"/>
                  </a:lnTo>
                  <a:lnTo>
                    <a:pt x="2272" y="574"/>
                  </a:lnTo>
                  <a:lnTo>
                    <a:pt x="2244" y="540"/>
                  </a:lnTo>
                  <a:lnTo>
                    <a:pt x="2216" y="508"/>
                  </a:lnTo>
                  <a:lnTo>
                    <a:pt x="2290" y="434"/>
                  </a:lnTo>
                  <a:lnTo>
                    <a:pt x="2188" y="334"/>
                  </a:lnTo>
                  <a:lnTo>
                    <a:pt x="2116" y="406"/>
                  </a:lnTo>
                  <a:lnTo>
                    <a:pt x="2082" y="378"/>
                  </a:lnTo>
                  <a:lnTo>
                    <a:pt x="2048" y="352"/>
                  </a:lnTo>
                  <a:lnTo>
                    <a:pt x="2014" y="326"/>
                  </a:lnTo>
                  <a:lnTo>
                    <a:pt x="1978" y="300"/>
                  </a:lnTo>
                  <a:lnTo>
                    <a:pt x="2028" y="212"/>
                  </a:lnTo>
                  <a:lnTo>
                    <a:pt x="1906" y="140"/>
                  </a:lnTo>
                  <a:lnTo>
                    <a:pt x="1854" y="230"/>
                  </a:lnTo>
                  <a:lnTo>
                    <a:pt x="1816" y="210"/>
                  </a:lnTo>
                  <a:lnTo>
                    <a:pt x="1776" y="194"/>
                  </a:lnTo>
                  <a:lnTo>
                    <a:pt x="1734" y="178"/>
                  </a:lnTo>
                  <a:lnTo>
                    <a:pt x="1694" y="162"/>
                  </a:lnTo>
                  <a:lnTo>
                    <a:pt x="1720" y="64"/>
                  </a:lnTo>
                  <a:lnTo>
                    <a:pt x="1582" y="26"/>
                  </a:lnTo>
                  <a:lnTo>
                    <a:pt x="1556" y="126"/>
                  </a:lnTo>
                  <a:lnTo>
                    <a:pt x="1514" y="118"/>
                  </a:lnTo>
                  <a:lnTo>
                    <a:pt x="1470" y="112"/>
                  </a:lnTo>
                  <a:lnTo>
                    <a:pt x="1426" y="106"/>
                  </a:lnTo>
                  <a:lnTo>
                    <a:pt x="1382" y="104"/>
                  </a:lnTo>
                  <a:lnTo>
                    <a:pt x="1382" y="0"/>
                  </a:lnTo>
                  <a:lnTo>
                    <a:pt x="1240" y="0"/>
                  </a:lnTo>
                  <a:lnTo>
                    <a:pt x="1240" y="104"/>
                  </a:lnTo>
                  <a:lnTo>
                    <a:pt x="1196" y="106"/>
                  </a:lnTo>
                  <a:lnTo>
                    <a:pt x="1154" y="112"/>
                  </a:lnTo>
                  <a:lnTo>
                    <a:pt x="1110" y="118"/>
                  </a:lnTo>
                  <a:lnTo>
                    <a:pt x="1068" y="126"/>
                  </a:lnTo>
                  <a:lnTo>
                    <a:pt x="1042" y="26"/>
                  </a:lnTo>
                  <a:lnTo>
                    <a:pt x="904" y="64"/>
                  </a:lnTo>
                  <a:lnTo>
                    <a:pt x="930" y="162"/>
                  </a:lnTo>
                  <a:lnTo>
                    <a:pt x="890" y="178"/>
                  </a:lnTo>
                  <a:lnTo>
                    <a:pt x="848" y="194"/>
                  </a:lnTo>
                  <a:lnTo>
                    <a:pt x="808" y="210"/>
                  </a:lnTo>
                  <a:lnTo>
                    <a:pt x="770" y="230"/>
                  </a:lnTo>
                  <a:lnTo>
                    <a:pt x="718" y="140"/>
                  </a:lnTo>
                  <a:lnTo>
                    <a:pt x="594" y="212"/>
                  </a:lnTo>
                  <a:lnTo>
                    <a:pt x="646" y="300"/>
                  </a:lnTo>
                  <a:lnTo>
                    <a:pt x="610" y="326"/>
                  </a:lnTo>
                  <a:lnTo>
                    <a:pt x="576" y="352"/>
                  </a:lnTo>
                  <a:lnTo>
                    <a:pt x="542" y="378"/>
                  </a:lnTo>
                  <a:lnTo>
                    <a:pt x="508" y="406"/>
                  </a:lnTo>
                  <a:lnTo>
                    <a:pt x="436" y="334"/>
                  </a:lnTo>
                  <a:lnTo>
                    <a:pt x="334" y="434"/>
                  </a:lnTo>
                  <a:lnTo>
                    <a:pt x="408" y="508"/>
                  </a:lnTo>
                  <a:lnTo>
                    <a:pt x="378" y="540"/>
                  </a:lnTo>
                  <a:lnTo>
                    <a:pt x="352" y="574"/>
                  </a:lnTo>
                  <a:lnTo>
                    <a:pt x="326" y="610"/>
                  </a:lnTo>
                  <a:lnTo>
                    <a:pt x="302" y="646"/>
                  </a:lnTo>
                  <a:lnTo>
                    <a:pt x="212" y="594"/>
                  </a:lnTo>
                  <a:lnTo>
                    <a:pt x="140" y="718"/>
                  </a:lnTo>
                  <a:lnTo>
                    <a:pt x="230" y="768"/>
                  </a:lnTo>
                  <a:lnTo>
                    <a:pt x="212" y="808"/>
                  </a:lnTo>
                  <a:lnTo>
                    <a:pt x="194" y="848"/>
                  </a:lnTo>
                  <a:lnTo>
                    <a:pt x="178" y="888"/>
                  </a:lnTo>
                  <a:lnTo>
                    <a:pt x="164" y="930"/>
                  </a:lnTo>
                  <a:lnTo>
                    <a:pt x="64" y="904"/>
                  </a:lnTo>
                  <a:lnTo>
                    <a:pt x="26" y="1040"/>
                  </a:lnTo>
                  <a:lnTo>
                    <a:pt x="126" y="1068"/>
                  </a:lnTo>
                  <a:lnTo>
                    <a:pt x="118" y="1110"/>
                  </a:lnTo>
                  <a:lnTo>
                    <a:pt x="112" y="1152"/>
                  </a:lnTo>
                  <a:lnTo>
                    <a:pt x="108" y="1196"/>
                  </a:lnTo>
                  <a:lnTo>
                    <a:pt x="104" y="1240"/>
                  </a:lnTo>
                  <a:lnTo>
                    <a:pt x="0" y="1240"/>
                  </a:lnTo>
                  <a:lnTo>
                    <a:pt x="0" y="1382"/>
                  </a:lnTo>
                  <a:lnTo>
                    <a:pt x="104" y="1382"/>
                  </a:lnTo>
                  <a:lnTo>
                    <a:pt x="108" y="1426"/>
                  </a:lnTo>
                  <a:lnTo>
                    <a:pt x="112" y="1470"/>
                  </a:lnTo>
                  <a:lnTo>
                    <a:pt x="118" y="1512"/>
                  </a:lnTo>
                  <a:lnTo>
                    <a:pt x="126" y="1556"/>
                  </a:lnTo>
                  <a:lnTo>
                    <a:pt x="26" y="1582"/>
                  </a:lnTo>
                  <a:lnTo>
                    <a:pt x="64" y="1720"/>
                  </a:lnTo>
                  <a:lnTo>
                    <a:pt x="164" y="1692"/>
                  </a:lnTo>
                  <a:lnTo>
                    <a:pt x="178" y="1734"/>
                  </a:lnTo>
                  <a:lnTo>
                    <a:pt x="194" y="1774"/>
                  </a:lnTo>
                  <a:lnTo>
                    <a:pt x="212" y="1814"/>
                  </a:lnTo>
                  <a:lnTo>
                    <a:pt x="230" y="1854"/>
                  </a:lnTo>
                  <a:lnTo>
                    <a:pt x="140" y="1906"/>
                  </a:lnTo>
                  <a:lnTo>
                    <a:pt x="212" y="2028"/>
                  </a:lnTo>
                  <a:lnTo>
                    <a:pt x="302" y="1978"/>
                  </a:lnTo>
                  <a:lnTo>
                    <a:pt x="326" y="2014"/>
                  </a:lnTo>
                  <a:lnTo>
                    <a:pt x="352" y="2048"/>
                  </a:lnTo>
                  <a:lnTo>
                    <a:pt x="378" y="2082"/>
                  </a:lnTo>
                  <a:lnTo>
                    <a:pt x="408" y="2116"/>
                  </a:lnTo>
                  <a:lnTo>
                    <a:pt x="334" y="2188"/>
                  </a:lnTo>
                  <a:lnTo>
                    <a:pt x="436" y="2288"/>
                  </a:lnTo>
                  <a:lnTo>
                    <a:pt x="508" y="2216"/>
                  </a:lnTo>
                  <a:lnTo>
                    <a:pt x="542" y="2244"/>
                  </a:lnTo>
                  <a:lnTo>
                    <a:pt x="576" y="2272"/>
                  </a:lnTo>
                  <a:lnTo>
                    <a:pt x="610" y="2298"/>
                  </a:lnTo>
                  <a:lnTo>
                    <a:pt x="646" y="2322"/>
                  </a:lnTo>
                  <a:lnTo>
                    <a:pt x="594" y="2412"/>
                  </a:lnTo>
                  <a:lnTo>
                    <a:pt x="718" y="2482"/>
                  </a:lnTo>
                  <a:lnTo>
                    <a:pt x="770" y="2394"/>
                  </a:lnTo>
                  <a:lnTo>
                    <a:pt x="808" y="2412"/>
                  </a:lnTo>
                  <a:lnTo>
                    <a:pt x="848" y="2430"/>
                  </a:lnTo>
                  <a:lnTo>
                    <a:pt x="890" y="2446"/>
                  </a:lnTo>
                  <a:lnTo>
                    <a:pt x="930" y="2460"/>
                  </a:lnTo>
                  <a:lnTo>
                    <a:pt x="904" y="2560"/>
                  </a:lnTo>
                  <a:lnTo>
                    <a:pt x="1042" y="2596"/>
                  </a:lnTo>
                  <a:lnTo>
                    <a:pt x="1068" y="2498"/>
                  </a:lnTo>
                  <a:lnTo>
                    <a:pt x="1110" y="2504"/>
                  </a:lnTo>
                  <a:lnTo>
                    <a:pt x="1154" y="2512"/>
                  </a:lnTo>
                  <a:lnTo>
                    <a:pt x="1196" y="2516"/>
                  </a:lnTo>
                  <a:lnTo>
                    <a:pt x="1240" y="2520"/>
                  </a:lnTo>
                  <a:lnTo>
                    <a:pt x="1240" y="2622"/>
                  </a:lnTo>
                  <a:lnTo>
                    <a:pt x="1382" y="2622"/>
                  </a:lnTo>
                  <a:lnTo>
                    <a:pt x="1382" y="2520"/>
                  </a:lnTo>
                  <a:lnTo>
                    <a:pt x="1426" y="2516"/>
                  </a:lnTo>
                  <a:lnTo>
                    <a:pt x="1470" y="2512"/>
                  </a:lnTo>
                  <a:lnTo>
                    <a:pt x="1514" y="2504"/>
                  </a:lnTo>
                  <a:lnTo>
                    <a:pt x="1556" y="2498"/>
                  </a:lnTo>
                  <a:lnTo>
                    <a:pt x="1582" y="2596"/>
                  </a:lnTo>
                  <a:lnTo>
                    <a:pt x="1720" y="2560"/>
                  </a:lnTo>
                  <a:lnTo>
                    <a:pt x="1694" y="2460"/>
                  </a:lnTo>
                  <a:lnTo>
                    <a:pt x="1734" y="2446"/>
                  </a:lnTo>
                  <a:lnTo>
                    <a:pt x="1776" y="2430"/>
                  </a:lnTo>
                  <a:lnTo>
                    <a:pt x="1816" y="2412"/>
                  </a:lnTo>
                  <a:lnTo>
                    <a:pt x="1854" y="2394"/>
                  </a:lnTo>
                  <a:lnTo>
                    <a:pt x="1906" y="2482"/>
                  </a:lnTo>
                  <a:lnTo>
                    <a:pt x="2028" y="2412"/>
                  </a:lnTo>
                  <a:lnTo>
                    <a:pt x="1978" y="2322"/>
                  </a:lnTo>
                  <a:lnTo>
                    <a:pt x="2014" y="2298"/>
                  </a:lnTo>
                  <a:lnTo>
                    <a:pt x="2048" y="2272"/>
                  </a:lnTo>
                  <a:lnTo>
                    <a:pt x="2082" y="2244"/>
                  </a:lnTo>
                  <a:lnTo>
                    <a:pt x="2116" y="2216"/>
                  </a:lnTo>
                  <a:lnTo>
                    <a:pt x="2188" y="2288"/>
                  </a:lnTo>
                  <a:lnTo>
                    <a:pt x="2290" y="2188"/>
                  </a:lnTo>
                  <a:lnTo>
                    <a:pt x="2216" y="2116"/>
                  </a:lnTo>
                  <a:lnTo>
                    <a:pt x="2244" y="2082"/>
                  </a:lnTo>
                  <a:lnTo>
                    <a:pt x="2272" y="2048"/>
                  </a:lnTo>
                  <a:lnTo>
                    <a:pt x="2298" y="2014"/>
                  </a:lnTo>
                  <a:lnTo>
                    <a:pt x="2322" y="1978"/>
                  </a:lnTo>
                  <a:lnTo>
                    <a:pt x="2412" y="2028"/>
                  </a:lnTo>
                  <a:lnTo>
                    <a:pt x="2482" y="1906"/>
                  </a:lnTo>
                  <a:lnTo>
                    <a:pt x="2394" y="1854"/>
                  </a:lnTo>
                  <a:lnTo>
                    <a:pt x="2412" y="1814"/>
                  </a:lnTo>
                  <a:lnTo>
                    <a:pt x="2430" y="1774"/>
                  </a:lnTo>
                  <a:lnTo>
                    <a:pt x="2446" y="1734"/>
                  </a:lnTo>
                  <a:lnTo>
                    <a:pt x="2460" y="1692"/>
                  </a:lnTo>
                  <a:lnTo>
                    <a:pt x="2560" y="1720"/>
                  </a:lnTo>
                  <a:lnTo>
                    <a:pt x="2596" y="1582"/>
                  </a:lnTo>
                  <a:lnTo>
                    <a:pt x="2498" y="1556"/>
                  </a:lnTo>
                  <a:lnTo>
                    <a:pt x="2506" y="1512"/>
                  </a:lnTo>
                  <a:lnTo>
                    <a:pt x="2512" y="1470"/>
                  </a:lnTo>
                  <a:lnTo>
                    <a:pt x="2516" y="1426"/>
                  </a:lnTo>
                  <a:lnTo>
                    <a:pt x="2520" y="1382"/>
                  </a:lnTo>
                  <a:lnTo>
                    <a:pt x="2622" y="1382"/>
                  </a:lnTo>
                  <a:close/>
                  <a:moveTo>
                    <a:pt x="1312" y="2420"/>
                  </a:moveTo>
                  <a:lnTo>
                    <a:pt x="1312" y="2420"/>
                  </a:lnTo>
                  <a:lnTo>
                    <a:pt x="1254" y="2420"/>
                  </a:lnTo>
                  <a:lnTo>
                    <a:pt x="1198" y="2416"/>
                  </a:lnTo>
                  <a:lnTo>
                    <a:pt x="1142" y="2408"/>
                  </a:lnTo>
                  <a:lnTo>
                    <a:pt x="1088" y="2398"/>
                  </a:lnTo>
                  <a:lnTo>
                    <a:pt x="1034" y="2386"/>
                  </a:lnTo>
                  <a:lnTo>
                    <a:pt x="982" y="2370"/>
                  </a:lnTo>
                  <a:lnTo>
                    <a:pt x="930" y="2354"/>
                  </a:lnTo>
                  <a:lnTo>
                    <a:pt x="880" y="2334"/>
                  </a:lnTo>
                  <a:lnTo>
                    <a:pt x="830" y="2312"/>
                  </a:lnTo>
                  <a:lnTo>
                    <a:pt x="782" y="2286"/>
                  </a:lnTo>
                  <a:lnTo>
                    <a:pt x="736" y="2260"/>
                  </a:lnTo>
                  <a:lnTo>
                    <a:pt x="692" y="2232"/>
                  </a:lnTo>
                  <a:lnTo>
                    <a:pt x="648" y="2200"/>
                  </a:lnTo>
                  <a:lnTo>
                    <a:pt x="606" y="2168"/>
                  </a:lnTo>
                  <a:lnTo>
                    <a:pt x="566" y="2132"/>
                  </a:lnTo>
                  <a:lnTo>
                    <a:pt x="528" y="2096"/>
                  </a:lnTo>
                  <a:lnTo>
                    <a:pt x="490" y="2058"/>
                  </a:lnTo>
                  <a:lnTo>
                    <a:pt x="456" y="2018"/>
                  </a:lnTo>
                  <a:lnTo>
                    <a:pt x="422" y="1976"/>
                  </a:lnTo>
                  <a:lnTo>
                    <a:pt x="392" y="1932"/>
                  </a:lnTo>
                  <a:lnTo>
                    <a:pt x="362" y="1886"/>
                  </a:lnTo>
                  <a:lnTo>
                    <a:pt x="336" y="1840"/>
                  </a:lnTo>
                  <a:lnTo>
                    <a:pt x="312" y="1792"/>
                  </a:lnTo>
                  <a:lnTo>
                    <a:pt x="290" y="1744"/>
                  </a:lnTo>
                  <a:lnTo>
                    <a:pt x="270" y="1692"/>
                  </a:lnTo>
                  <a:lnTo>
                    <a:pt x="252" y="1642"/>
                  </a:lnTo>
                  <a:lnTo>
                    <a:pt x="238" y="1588"/>
                  </a:lnTo>
                  <a:lnTo>
                    <a:pt x="224" y="1534"/>
                  </a:lnTo>
                  <a:lnTo>
                    <a:pt x="216" y="1480"/>
                  </a:lnTo>
                  <a:lnTo>
                    <a:pt x="208" y="1424"/>
                  </a:lnTo>
                  <a:lnTo>
                    <a:pt x="204" y="1368"/>
                  </a:lnTo>
                  <a:lnTo>
                    <a:pt x="202" y="1312"/>
                  </a:lnTo>
                  <a:lnTo>
                    <a:pt x="204" y="1254"/>
                  </a:lnTo>
                  <a:lnTo>
                    <a:pt x="208" y="1198"/>
                  </a:lnTo>
                  <a:lnTo>
                    <a:pt x="216" y="1142"/>
                  </a:lnTo>
                  <a:lnTo>
                    <a:pt x="224" y="1088"/>
                  </a:lnTo>
                  <a:lnTo>
                    <a:pt x="238" y="1034"/>
                  </a:lnTo>
                  <a:lnTo>
                    <a:pt x="252" y="982"/>
                  </a:lnTo>
                  <a:lnTo>
                    <a:pt x="270" y="930"/>
                  </a:lnTo>
                  <a:lnTo>
                    <a:pt x="290" y="880"/>
                  </a:lnTo>
                  <a:lnTo>
                    <a:pt x="312" y="830"/>
                  </a:lnTo>
                  <a:lnTo>
                    <a:pt x="336" y="782"/>
                  </a:lnTo>
                  <a:lnTo>
                    <a:pt x="362" y="736"/>
                  </a:lnTo>
                  <a:lnTo>
                    <a:pt x="392" y="692"/>
                  </a:lnTo>
                  <a:lnTo>
                    <a:pt x="422" y="648"/>
                  </a:lnTo>
                  <a:lnTo>
                    <a:pt x="456" y="606"/>
                  </a:lnTo>
                  <a:lnTo>
                    <a:pt x="490" y="566"/>
                  </a:lnTo>
                  <a:lnTo>
                    <a:pt x="528" y="526"/>
                  </a:lnTo>
                  <a:lnTo>
                    <a:pt x="566" y="490"/>
                  </a:lnTo>
                  <a:lnTo>
                    <a:pt x="606" y="456"/>
                  </a:lnTo>
                  <a:lnTo>
                    <a:pt x="648" y="422"/>
                  </a:lnTo>
                  <a:lnTo>
                    <a:pt x="692" y="392"/>
                  </a:lnTo>
                  <a:lnTo>
                    <a:pt x="736" y="362"/>
                  </a:lnTo>
                  <a:lnTo>
                    <a:pt x="782" y="336"/>
                  </a:lnTo>
                  <a:lnTo>
                    <a:pt x="830" y="312"/>
                  </a:lnTo>
                  <a:lnTo>
                    <a:pt x="880" y="290"/>
                  </a:lnTo>
                  <a:lnTo>
                    <a:pt x="930" y="270"/>
                  </a:lnTo>
                  <a:lnTo>
                    <a:pt x="982" y="252"/>
                  </a:lnTo>
                  <a:lnTo>
                    <a:pt x="1034" y="236"/>
                  </a:lnTo>
                  <a:lnTo>
                    <a:pt x="1088" y="224"/>
                  </a:lnTo>
                  <a:lnTo>
                    <a:pt x="1142" y="214"/>
                  </a:lnTo>
                  <a:lnTo>
                    <a:pt x="1198" y="208"/>
                  </a:lnTo>
                  <a:lnTo>
                    <a:pt x="1254" y="204"/>
                  </a:lnTo>
                  <a:lnTo>
                    <a:pt x="1312" y="202"/>
                  </a:lnTo>
                  <a:lnTo>
                    <a:pt x="1368" y="204"/>
                  </a:lnTo>
                  <a:lnTo>
                    <a:pt x="1426" y="208"/>
                  </a:lnTo>
                  <a:lnTo>
                    <a:pt x="1480" y="214"/>
                  </a:lnTo>
                  <a:lnTo>
                    <a:pt x="1536" y="224"/>
                  </a:lnTo>
                  <a:lnTo>
                    <a:pt x="1588" y="236"/>
                  </a:lnTo>
                  <a:lnTo>
                    <a:pt x="1642" y="252"/>
                  </a:lnTo>
                  <a:lnTo>
                    <a:pt x="1694" y="270"/>
                  </a:lnTo>
                  <a:lnTo>
                    <a:pt x="1744" y="290"/>
                  </a:lnTo>
                  <a:lnTo>
                    <a:pt x="1792" y="312"/>
                  </a:lnTo>
                  <a:lnTo>
                    <a:pt x="1840" y="336"/>
                  </a:lnTo>
                  <a:lnTo>
                    <a:pt x="1886" y="362"/>
                  </a:lnTo>
                  <a:lnTo>
                    <a:pt x="1932" y="392"/>
                  </a:lnTo>
                  <a:lnTo>
                    <a:pt x="1976" y="422"/>
                  </a:lnTo>
                  <a:lnTo>
                    <a:pt x="2018" y="456"/>
                  </a:lnTo>
                  <a:lnTo>
                    <a:pt x="2058" y="490"/>
                  </a:lnTo>
                  <a:lnTo>
                    <a:pt x="2096" y="526"/>
                  </a:lnTo>
                  <a:lnTo>
                    <a:pt x="2132" y="566"/>
                  </a:lnTo>
                  <a:lnTo>
                    <a:pt x="2168" y="606"/>
                  </a:lnTo>
                  <a:lnTo>
                    <a:pt x="2200" y="648"/>
                  </a:lnTo>
                  <a:lnTo>
                    <a:pt x="2232" y="692"/>
                  </a:lnTo>
                  <a:lnTo>
                    <a:pt x="2260" y="736"/>
                  </a:lnTo>
                  <a:lnTo>
                    <a:pt x="2288" y="782"/>
                  </a:lnTo>
                  <a:lnTo>
                    <a:pt x="2312" y="830"/>
                  </a:lnTo>
                  <a:lnTo>
                    <a:pt x="2334" y="880"/>
                  </a:lnTo>
                  <a:lnTo>
                    <a:pt x="2354" y="930"/>
                  </a:lnTo>
                  <a:lnTo>
                    <a:pt x="2372" y="982"/>
                  </a:lnTo>
                  <a:lnTo>
                    <a:pt x="2386" y="1034"/>
                  </a:lnTo>
                  <a:lnTo>
                    <a:pt x="2398" y="1088"/>
                  </a:lnTo>
                  <a:lnTo>
                    <a:pt x="2408" y="1142"/>
                  </a:lnTo>
                  <a:lnTo>
                    <a:pt x="2416" y="1198"/>
                  </a:lnTo>
                  <a:lnTo>
                    <a:pt x="2420" y="1254"/>
                  </a:lnTo>
                  <a:lnTo>
                    <a:pt x="2422" y="1312"/>
                  </a:lnTo>
                  <a:lnTo>
                    <a:pt x="2420" y="1368"/>
                  </a:lnTo>
                  <a:lnTo>
                    <a:pt x="2416" y="1424"/>
                  </a:lnTo>
                  <a:lnTo>
                    <a:pt x="2408" y="1480"/>
                  </a:lnTo>
                  <a:lnTo>
                    <a:pt x="2398" y="1534"/>
                  </a:lnTo>
                  <a:lnTo>
                    <a:pt x="2386" y="1588"/>
                  </a:lnTo>
                  <a:lnTo>
                    <a:pt x="2372" y="1642"/>
                  </a:lnTo>
                  <a:lnTo>
                    <a:pt x="2354" y="1692"/>
                  </a:lnTo>
                  <a:lnTo>
                    <a:pt x="2334" y="1744"/>
                  </a:lnTo>
                  <a:lnTo>
                    <a:pt x="2312" y="1792"/>
                  </a:lnTo>
                  <a:lnTo>
                    <a:pt x="2288" y="1840"/>
                  </a:lnTo>
                  <a:lnTo>
                    <a:pt x="2260" y="1886"/>
                  </a:lnTo>
                  <a:lnTo>
                    <a:pt x="2232" y="1932"/>
                  </a:lnTo>
                  <a:lnTo>
                    <a:pt x="2200" y="1976"/>
                  </a:lnTo>
                  <a:lnTo>
                    <a:pt x="2168" y="2018"/>
                  </a:lnTo>
                  <a:lnTo>
                    <a:pt x="2132" y="2058"/>
                  </a:lnTo>
                  <a:lnTo>
                    <a:pt x="2096" y="2096"/>
                  </a:lnTo>
                  <a:lnTo>
                    <a:pt x="2058" y="2132"/>
                  </a:lnTo>
                  <a:lnTo>
                    <a:pt x="2018" y="2168"/>
                  </a:lnTo>
                  <a:lnTo>
                    <a:pt x="1976" y="2200"/>
                  </a:lnTo>
                  <a:lnTo>
                    <a:pt x="1932" y="2232"/>
                  </a:lnTo>
                  <a:lnTo>
                    <a:pt x="1886" y="2260"/>
                  </a:lnTo>
                  <a:lnTo>
                    <a:pt x="1840" y="2286"/>
                  </a:lnTo>
                  <a:lnTo>
                    <a:pt x="1792" y="2312"/>
                  </a:lnTo>
                  <a:lnTo>
                    <a:pt x="1744" y="2334"/>
                  </a:lnTo>
                  <a:lnTo>
                    <a:pt x="1694" y="2354"/>
                  </a:lnTo>
                  <a:lnTo>
                    <a:pt x="1642" y="2370"/>
                  </a:lnTo>
                  <a:lnTo>
                    <a:pt x="1588" y="2386"/>
                  </a:lnTo>
                  <a:lnTo>
                    <a:pt x="1536" y="2398"/>
                  </a:lnTo>
                  <a:lnTo>
                    <a:pt x="1480" y="2408"/>
                  </a:lnTo>
                  <a:lnTo>
                    <a:pt x="1426" y="2416"/>
                  </a:lnTo>
                  <a:lnTo>
                    <a:pt x="1368" y="2420"/>
                  </a:lnTo>
                  <a:lnTo>
                    <a:pt x="1312" y="2420"/>
                  </a:lnTo>
                  <a:close/>
                </a:path>
              </a:pathLst>
            </a:custGeom>
            <a:solidFill>
              <a:srgbClr val="00AEEF">
                <a:alpha val="79999"/>
              </a:srgbClr>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a:p>
          </p:txBody>
        </p:sp>
        <p:sp>
          <p:nvSpPr>
            <p:cNvPr id="51" name="Oval 676"/>
            <p:cNvSpPr>
              <a:spLocks noChangeArrowheads="1"/>
            </p:cNvSpPr>
            <p:nvPr/>
          </p:nvSpPr>
          <p:spPr bwMode="auto">
            <a:xfrm rot="-324743">
              <a:off x="1307091" y="2016046"/>
              <a:ext cx="2695575" cy="2693988"/>
            </a:xfrm>
            <a:prstGeom prst="ellipse">
              <a:avLst/>
            </a:prstGeom>
            <a:solidFill>
              <a:srgbClr val="00AEEF"/>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pPr algn="just" eaLnBrk="1" latinLnBrk="1" hangingPunct="1">
                <a:lnSpc>
                  <a:spcPct val="120000"/>
                </a:lnSpc>
              </a:pPr>
              <a:endParaRPr lang="ko-KR" altLang="en-US" sz="600">
                <a:solidFill>
                  <a:srgbClr val="A6A6A6"/>
                </a:solidFill>
                <a:latin typeface="Arial" panose="020B0604020202020204" pitchFamily="34" charset="0"/>
                <a:ea typeface="Malgun Gothic" panose="020B0503020000020004" pitchFamily="34" charset="-127"/>
                <a:sym typeface="Arial" panose="020B0604020202020204" pitchFamily="34" charset="0"/>
              </a:endParaRPr>
            </a:p>
          </p:txBody>
        </p:sp>
        <p:sp>
          <p:nvSpPr>
            <p:cNvPr id="52" name="Oval 677"/>
            <p:cNvSpPr>
              <a:spLocks noChangeArrowheads="1"/>
            </p:cNvSpPr>
            <p:nvPr/>
          </p:nvSpPr>
          <p:spPr bwMode="auto">
            <a:xfrm rot="-324743">
              <a:off x="4617028" y="1993821"/>
              <a:ext cx="1801813" cy="1801813"/>
            </a:xfrm>
            <a:prstGeom prst="ellipse">
              <a:avLst/>
            </a:pr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pPr algn="just" eaLnBrk="1" latinLnBrk="1" hangingPunct="1">
                <a:lnSpc>
                  <a:spcPct val="120000"/>
                </a:lnSpc>
              </a:pPr>
              <a:endParaRPr lang="ko-KR" altLang="en-US" sz="600">
                <a:solidFill>
                  <a:srgbClr val="A6A6A6"/>
                </a:solidFill>
                <a:latin typeface="Arial" panose="020B0604020202020204" pitchFamily="34" charset="0"/>
                <a:ea typeface="Malgun Gothic" panose="020B0503020000020004" pitchFamily="34" charset="-127"/>
                <a:sym typeface="Arial" panose="020B0604020202020204" pitchFamily="34" charset="0"/>
              </a:endParaRPr>
            </a:p>
          </p:txBody>
        </p:sp>
        <p:sp>
          <p:nvSpPr>
            <p:cNvPr id="53" name="Freeform 679"/>
            <p:cNvSpPr>
              <a:spLocks noEditPoints="1"/>
            </p:cNvSpPr>
            <p:nvPr/>
          </p:nvSpPr>
          <p:spPr bwMode="auto">
            <a:xfrm rot="21275257">
              <a:off x="5689453" y="3676106"/>
              <a:ext cx="2303754" cy="2303922"/>
            </a:xfrm>
            <a:custGeom>
              <a:avLst/>
              <a:gdLst>
                <a:gd name="T0" fmla="*/ 2147483647 w 1816"/>
                <a:gd name="T1" fmla="*/ 2147483647 h 1816"/>
                <a:gd name="T2" fmla="*/ 2147483647 w 1816"/>
                <a:gd name="T3" fmla="*/ 2147483647 h 1816"/>
                <a:gd name="T4" fmla="*/ 2147483647 w 1816"/>
                <a:gd name="T5" fmla="*/ 2147483647 h 1816"/>
                <a:gd name="T6" fmla="*/ 2147483647 w 1816"/>
                <a:gd name="T7" fmla="*/ 2147483647 h 1816"/>
                <a:gd name="T8" fmla="*/ 2147483647 w 1816"/>
                <a:gd name="T9" fmla="*/ 2147483647 h 1816"/>
                <a:gd name="T10" fmla="*/ 2147483647 w 1816"/>
                <a:gd name="T11" fmla="*/ 2147483647 h 1816"/>
                <a:gd name="T12" fmla="*/ 2147483647 w 1816"/>
                <a:gd name="T13" fmla="*/ 2147483647 h 1816"/>
                <a:gd name="T14" fmla="*/ 2147483647 w 1816"/>
                <a:gd name="T15" fmla="*/ 2147483647 h 1816"/>
                <a:gd name="T16" fmla="*/ 2147483647 w 1816"/>
                <a:gd name="T17" fmla="*/ 2147483647 h 1816"/>
                <a:gd name="T18" fmla="*/ 2147483647 w 1816"/>
                <a:gd name="T19" fmla="*/ 2147483647 h 1816"/>
                <a:gd name="T20" fmla="*/ 2147483647 w 1816"/>
                <a:gd name="T21" fmla="*/ 2147483647 h 1816"/>
                <a:gd name="T22" fmla="*/ 2147483647 w 1816"/>
                <a:gd name="T23" fmla="*/ 2147483647 h 1816"/>
                <a:gd name="T24" fmla="*/ 0 w 1816"/>
                <a:gd name="T25" fmla="*/ 2147483647 h 1816"/>
                <a:gd name="T26" fmla="*/ 2147483647 w 1816"/>
                <a:gd name="T27" fmla="*/ 2147483647 h 1816"/>
                <a:gd name="T28" fmla="*/ 2147483647 w 1816"/>
                <a:gd name="T29" fmla="*/ 2147483647 h 1816"/>
                <a:gd name="T30" fmla="*/ 2147483647 w 1816"/>
                <a:gd name="T31" fmla="*/ 2147483647 h 1816"/>
                <a:gd name="T32" fmla="*/ 2147483647 w 1816"/>
                <a:gd name="T33" fmla="*/ 2147483647 h 1816"/>
                <a:gd name="T34" fmla="*/ 2147483647 w 1816"/>
                <a:gd name="T35" fmla="*/ 2147483647 h 1816"/>
                <a:gd name="T36" fmla="*/ 2147483647 w 1816"/>
                <a:gd name="T37" fmla="*/ 2147483647 h 1816"/>
                <a:gd name="T38" fmla="*/ 2147483647 w 1816"/>
                <a:gd name="T39" fmla="*/ 2147483647 h 1816"/>
                <a:gd name="T40" fmla="*/ 2147483647 w 1816"/>
                <a:gd name="T41" fmla="*/ 2147483647 h 1816"/>
                <a:gd name="T42" fmla="*/ 2147483647 w 1816"/>
                <a:gd name="T43" fmla="*/ 2147483647 h 1816"/>
                <a:gd name="T44" fmla="*/ 2147483647 w 1816"/>
                <a:gd name="T45" fmla="*/ 2147483647 h 1816"/>
                <a:gd name="T46" fmla="*/ 2147483647 w 1816"/>
                <a:gd name="T47" fmla="*/ 2147483647 h 1816"/>
                <a:gd name="T48" fmla="*/ 2147483647 w 1816"/>
                <a:gd name="T49" fmla="*/ 2147483647 h 1816"/>
                <a:gd name="T50" fmla="*/ 2147483647 w 1816"/>
                <a:gd name="T51" fmla="*/ 2147483647 h 1816"/>
                <a:gd name="T52" fmla="*/ 2147483647 w 1816"/>
                <a:gd name="T53" fmla="*/ 2147483647 h 1816"/>
                <a:gd name="T54" fmla="*/ 2147483647 w 1816"/>
                <a:gd name="T55" fmla="*/ 2147483647 h 1816"/>
                <a:gd name="T56" fmla="*/ 2147483647 w 1816"/>
                <a:gd name="T57" fmla="*/ 2147483647 h 1816"/>
                <a:gd name="T58" fmla="*/ 2147483647 w 1816"/>
                <a:gd name="T59" fmla="*/ 2147483647 h 1816"/>
                <a:gd name="T60" fmla="*/ 2147483647 w 1816"/>
                <a:gd name="T61" fmla="*/ 2147483647 h 1816"/>
                <a:gd name="T62" fmla="*/ 2147483647 w 1816"/>
                <a:gd name="T63" fmla="*/ 2147483647 h 1816"/>
                <a:gd name="T64" fmla="*/ 2147483647 w 1816"/>
                <a:gd name="T65" fmla="*/ 2147483647 h 1816"/>
                <a:gd name="T66" fmla="*/ 2147483647 w 1816"/>
                <a:gd name="T67" fmla="*/ 2147483647 h 1816"/>
                <a:gd name="T68" fmla="*/ 2147483647 w 1816"/>
                <a:gd name="T69" fmla="*/ 2147483647 h 1816"/>
                <a:gd name="T70" fmla="*/ 2147483647 w 1816"/>
                <a:gd name="T71" fmla="*/ 2147483647 h 1816"/>
                <a:gd name="T72" fmla="*/ 2147483647 w 1816"/>
                <a:gd name="T73" fmla="*/ 2147483647 h 1816"/>
                <a:gd name="T74" fmla="*/ 2147483647 w 1816"/>
                <a:gd name="T75" fmla="*/ 2147483647 h 1816"/>
                <a:gd name="T76" fmla="*/ 2147483647 w 1816"/>
                <a:gd name="T77" fmla="*/ 2147483647 h 1816"/>
                <a:gd name="T78" fmla="*/ 2147483647 w 1816"/>
                <a:gd name="T79" fmla="*/ 2147483647 h 1816"/>
                <a:gd name="T80" fmla="*/ 2147483647 w 1816"/>
                <a:gd name="T81" fmla="*/ 2147483647 h 1816"/>
                <a:gd name="T82" fmla="*/ 2147483647 w 1816"/>
                <a:gd name="T83" fmla="*/ 2147483647 h 1816"/>
                <a:gd name="T84" fmla="*/ 2147483647 w 1816"/>
                <a:gd name="T85" fmla="*/ 2147483647 h 1816"/>
                <a:gd name="T86" fmla="*/ 2147483647 w 1816"/>
                <a:gd name="T87" fmla="*/ 2147483647 h 1816"/>
                <a:gd name="T88" fmla="*/ 2147483647 w 1816"/>
                <a:gd name="T89" fmla="*/ 2147483647 h 1816"/>
                <a:gd name="T90" fmla="*/ 2147483647 w 1816"/>
                <a:gd name="T91" fmla="*/ 2147483647 h 1816"/>
                <a:gd name="T92" fmla="*/ 2147483647 w 1816"/>
                <a:gd name="T93" fmla="*/ 2147483647 h 1816"/>
                <a:gd name="T94" fmla="*/ 2147483647 w 1816"/>
                <a:gd name="T95" fmla="*/ 2147483647 h 1816"/>
                <a:gd name="T96" fmla="*/ 2147483647 w 1816"/>
                <a:gd name="T97" fmla="*/ 2147483647 h 1816"/>
                <a:gd name="T98" fmla="*/ 2147483647 w 1816"/>
                <a:gd name="T99" fmla="*/ 2147483647 h 1816"/>
                <a:gd name="T100" fmla="*/ 2147483647 w 1816"/>
                <a:gd name="T101" fmla="*/ 2147483647 h 1816"/>
                <a:gd name="T102" fmla="*/ 2147483647 w 1816"/>
                <a:gd name="T103" fmla="*/ 2147483647 h 181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816"/>
                <a:gd name="T157" fmla="*/ 0 h 1816"/>
                <a:gd name="T158" fmla="*/ 1816 w 1816"/>
                <a:gd name="T159" fmla="*/ 1816 h 181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816" h="1816">
                  <a:moveTo>
                    <a:pt x="1816" y="978"/>
                  </a:moveTo>
                  <a:lnTo>
                    <a:pt x="1816" y="836"/>
                  </a:lnTo>
                  <a:lnTo>
                    <a:pt x="1710" y="836"/>
                  </a:lnTo>
                  <a:lnTo>
                    <a:pt x="1706" y="792"/>
                  </a:lnTo>
                  <a:lnTo>
                    <a:pt x="1698" y="750"/>
                  </a:lnTo>
                  <a:lnTo>
                    <a:pt x="1688" y="708"/>
                  </a:lnTo>
                  <a:lnTo>
                    <a:pt x="1678" y="666"/>
                  </a:lnTo>
                  <a:lnTo>
                    <a:pt x="1774" y="626"/>
                  </a:lnTo>
                  <a:lnTo>
                    <a:pt x="1718" y="494"/>
                  </a:lnTo>
                  <a:lnTo>
                    <a:pt x="1622" y="534"/>
                  </a:lnTo>
                  <a:lnTo>
                    <a:pt x="1602" y="496"/>
                  </a:lnTo>
                  <a:lnTo>
                    <a:pt x="1578" y="460"/>
                  </a:lnTo>
                  <a:lnTo>
                    <a:pt x="1552" y="424"/>
                  </a:lnTo>
                  <a:lnTo>
                    <a:pt x="1526" y="390"/>
                  </a:lnTo>
                  <a:lnTo>
                    <a:pt x="1600" y="316"/>
                  </a:lnTo>
                  <a:lnTo>
                    <a:pt x="1498" y="216"/>
                  </a:lnTo>
                  <a:lnTo>
                    <a:pt x="1426" y="290"/>
                  </a:lnTo>
                  <a:lnTo>
                    <a:pt x="1392" y="262"/>
                  </a:lnTo>
                  <a:lnTo>
                    <a:pt x="1356" y="236"/>
                  </a:lnTo>
                  <a:lnTo>
                    <a:pt x="1318" y="214"/>
                  </a:lnTo>
                  <a:lnTo>
                    <a:pt x="1280" y="192"/>
                  </a:lnTo>
                  <a:lnTo>
                    <a:pt x="1320" y="96"/>
                  </a:lnTo>
                  <a:lnTo>
                    <a:pt x="1188" y="42"/>
                  </a:lnTo>
                  <a:lnTo>
                    <a:pt x="1150" y="138"/>
                  </a:lnTo>
                  <a:lnTo>
                    <a:pt x="1108" y="126"/>
                  </a:lnTo>
                  <a:lnTo>
                    <a:pt x="1066" y="116"/>
                  </a:lnTo>
                  <a:lnTo>
                    <a:pt x="1022" y="110"/>
                  </a:lnTo>
                  <a:lnTo>
                    <a:pt x="978" y="104"/>
                  </a:lnTo>
                  <a:lnTo>
                    <a:pt x="978" y="0"/>
                  </a:lnTo>
                  <a:lnTo>
                    <a:pt x="836" y="0"/>
                  </a:lnTo>
                  <a:lnTo>
                    <a:pt x="836" y="104"/>
                  </a:lnTo>
                  <a:lnTo>
                    <a:pt x="792" y="110"/>
                  </a:lnTo>
                  <a:lnTo>
                    <a:pt x="750" y="116"/>
                  </a:lnTo>
                  <a:lnTo>
                    <a:pt x="706" y="126"/>
                  </a:lnTo>
                  <a:lnTo>
                    <a:pt x="666" y="138"/>
                  </a:lnTo>
                  <a:lnTo>
                    <a:pt x="626" y="42"/>
                  </a:lnTo>
                  <a:lnTo>
                    <a:pt x="494" y="96"/>
                  </a:lnTo>
                  <a:lnTo>
                    <a:pt x="534" y="192"/>
                  </a:lnTo>
                  <a:lnTo>
                    <a:pt x="496" y="214"/>
                  </a:lnTo>
                  <a:lnTo>
                    <a:pt x="460" y="236"/>
                  </a:lnTo>
                  <a:lnTo>
                    <a:pt x="424" y="262"/>
                  </a:lnTo>
                  <a:lnTo>
                    <a:pt x="390" y="290"/>
                  </a:lnTo>
                  <a:lnTo>
                    <a:pt x="316" y="216"/>
                  </a:lnTo>
                  <a:lnTo>
                    <a:pt x="216" y="316"/>
                  </a:lnTo>
                  <a:lnTo>
                    <a:pt x="288" y="390"/>
                  </a:lnTo>
                  <a:lnTo>
                    <a:pt x="262" y="424"/>
                  </a:lnTo>
                  <a:lnTo>
                    <a:pt x="236" y="460"/>
                  </a:lnTo>
                  <a:lnTo>
                    <a:pt x="214" y="496"/>
                  </a:lnTo>
                  <a:lnTo>
                    <a:pt x="192" y="534"/>
                  </a:lnTo>
                  <a:lnTo>
                    <a:pt x="96" y="494"/>
                  </a:lnTo>
                  <a:lnTo>
                    <a:pt x="42" y="626"/>
                  </a:lnTo>
                  <a:lnTo>
                    <a:pt x="138" y="666"/>
                  </a:lnTo>
                  <a:lnTo>
                    <a:pt x="126" y="708"/>
                  </a:lnTo>
                  <a:lnTo>
                    <a:pt x="116" y="750"/>
                  </a:lnTo>
                  <a:lnTo>
                    <a:pt x="108" y="792"/>
                  </a:lnTo>
                  <a:lnTo>
                    <a:pt x="104" y="836"/>
                  </a:lnTo>
                  <a:lnTo>
                    <a:pt x="0" y="836"/>
                  </a:lnTo>
                  <a:lnTo>
                    <a:pt x="0" y="978"/>
                  </a:lnTo>
                  <a:lnTo>
                    <a:pt x="104" y="978"/>
                  </a:lnTo>
                  <a:lnTo>
                    <a:pt x="108" y="1022"/>
                  </a:lnTo>
                  <a:lnTo>
                    <a:pt x="116" y="1066"/>
                  </a:lnTo>
                  <a:lnTo>
                    <a:pt x="126" y="1108"/>
                  </a:lnTo>
                  <a:lnTo>
                    <a:pt x="138" y="1150"/>
                  </a:lnTo>
                  <a:lnTo>
                    <a:pt x="42" y="1190"/>
                  </a:lnTo>
                  <a:lnTo>
                    <a:pt x="96" y="1320"/>
                  </a:lnTo>
                  <a:lnTo>
                    <a:pt x="192" y="1280"/>
                  </a:lnTo>
                  <a:lnTo>
                    <a:pt x="214" y="1320"/>
                  </a:lnTo>
                  <a:lnTo>
                    <a:pt x="236" y="1356"/>
                  </a:lnTo>
                  <a:lnTo>
                    <a:pt x="262" y="1392"/>
                  </a:lnTo>
                  <a:lnTo>
                    <a:pt x="288" y="1426"/>
                  </a:lnTo>
                  <a:lnTo>
                    <a:pt x="216" y="1500"/>
                  </a:lnTo>
                  <a:lnTo>
                    <a:pt x="316" y="1600"/>
                  </a:lnTo>
                  <a:lnTo>
                    <a:pt x="390" y="1526"/>
                  </a:lnTo>
                  <a:lnTo>
                    <a:pt x="424" y="1554"/>
                  </a:lnTo>
                  <a:lnTo>
                    <a:pt x="460" y="1578"/>
                  </a:lnTo>
                  <a:lnTo>
                    <a:pt x="496" y="1602"/>
                  </a:lnTo>
                  <a:lnTo>
                    <a:pt x="534" y="1622"/>
                  </a:lnTo>
                  <a:lnTo>
                    <a:pt x="494" y="1718"/>
                  </a:lnTo>
                  <a:lnTo>
                    <a:pt x="626" y="1774"/>
                  </a:lnTo>
                  <a:lnTo>
                    <a:pt x="666" y="1678"/>
                  </a:lnTo>
                  <a:lnTo>
                    <a:pt x="706" y="1690"/>
                  </a:lnTo>
                  <a:lnTo>
                    <a:pt x="750" y="1698"/>
                  </a:lnTo>
                  <a:lnTo>
                    <a:pt x="792" y="1706"/>
                  </a:lnTo>
                  <a:lnTo>
                    <a:pt x="836" y="1712"/>
                  </a:lnTo>
                  <a:lnTo>
                    <a:pt x="836" y="1816"/>
                  </a:lnTo>
                  <a:lnTo>
                    <a:pt x="978" y="1816"/>
                  </a:lnTo>
                  <a:lnTo>
                    <a:pt x="978" y="1712"/>
                  </a:lnTo>
                  <a:lnTo>
                    <a:pt x="1022" y="1706"/>
                  </a:lnTo>
                  <a:lnTo>
                    <a:pt x="1066" y="1698"/>
                  </a:lnTo>
                  <a:lnTo>
                    <a:pt x="1108" y="1690"/>
                  </a:lnTo>
                  <a:lnTo>
                    <a:pt x="1150" y="1678"/>
                  </a:lnTo>
                  <a:lnTo>
                    <a:pt x="1188" y="1774"/>
                  </a:lnTo>
                  <a:lnTo>
                    <a:pt x="1320" y="1718"/>
                  </a:lnTo>
                  <a:lnTo>
                    <a:pt x="1280" y="1622"/>
                  </a:lnTo>
                  <a:lnTo>
                    <a:pt x="1318" y="1602"/>
                  </a:lnTo>
                  <a:lnTo>
                    <a:pt x="1356" y="1578"/>
                  </a:lnTo>
                  <a:lnTo>
                    <a:pt x="1392" y="1554"/>
                  </a:lnTo>
                  <a:lnTo>
                    <a:pt x="1426" y="1526"/>
                  </a:lnTo>
                  <a:lnTo>
                    <a:pt x="1498" y="1600"/>
                  </a:lnTo>
                  <a:lnTo>
                    <a:pt x="1600" y="1500"/>
                  </a:lnTo>
                  <a:lnTo>
                    <a:pt x="1526" y="1426"/>
                  </a:lnTo>
                  <a:lnTo>
                    <a:pt x="1552" y="1392"/>
                  </a:lnTo>
                  <a:lnTo>
                    <a:pt x="1578" y="1356"/>
                  </a:lnTo>
                  <a:lnTo>
                    <a:pt x="1602" y="1320"/>
                  </a:lnTo>
                  <a:lnTo>
                    <a:pt x="1622" y="1280"/>
                  </a:lnTo>
                  <a:lnTo>
                    <a:pt x="1718" y="1320"/>
                  </a:lnTo>
                  <a:lnTo>
                    <a:pt x="1774" y="1190"/>
                  </a:lnTo>
                  <a:lnTo>
                    <a:pt x="1678" y="1150"/>
                  </a:lnTo>
                  <a:lnTo>
                    <a:pt x="1688" y="1108"/>
                  </a:lnTo>
                  <a:lnTo>
                    <a:pt x="1698" y="1066"/>
                  </a:lnTo>
                  <a:lnTo>
                    <a:pt x="1706" y="1022"/>
                  </a:lnTo>
                  <a:lnTo>
                    <a:pt x="1710" y="978"/>
                  </a:lnTo>
                  <a:lnTo>
                    <a:pt x="1816" y="978"/>
                  </a:lnTo>
                  <a:close/>
                  <a:moveTo>
                    <a:pt x="908" y="1614"/>
                  </a:moveTo>
                  <a:lnTo>
                    <a:pt x="908" y="1614"/>
                  </a:lnTo>
                  <a:lnTo>
                    <a:pt x="872" y="1612"/>
                  </a:lnTo>
                  <a:lnTo>
                    <a:pt x="836" y="1610"/>
                  </a:lnTo>
                  <a:lnTo>
                    <a:pt x="800" y="1606"/>
                  </a:lnTo>
                  <a:lnTo>
                    <a:pt x="766" y="1600"/>
                  </a:lnTo>
                  <a:lnTo>
                    <a:pt x="730" y="1592"/>
                  </a:lnTo>
                  <a:lnTo>
                    <a:pt x="698" y="1582"/>
                  </a:lnTo>
                  <a:lnTo>
                    <a:pt x="664" y="1570"/>
                  </a:lnTo>
                  <a:lnTo>
                    <a:pt x="632" y="1558"/>
                  </a:lnTo>
                  <a:lnTo>
                    <a:pt x="602" y="1544"/>
                  </a:lnTo>
                  <a:lnTo>
                    <a:pt x="570" y="1528"/>
                  </a:lnTo>
                  <a:lnTo>
                    <a:pt x="542" y="1512"/>
                  </a:lnTo>
                  <a:lnTo>
                    <a:pt x="512" y="1492"/>
                  </a:lnTo>
                  <a:lnTo>
                    <a:pt x="484" y="1474"/>
                  </a:lnTo>
                  <a:lnTo>
                    <a:pt x="458" y="1452"/>
                  </a:lnTo>
                  <a:lnTo>
                    <a:pt x="432" y="1430"/>
                  </a:lnTo>
                  <a:lnTo>
                    <a:pt x="408" y="1406"/>
                  </a:lnTo>
                  <a:lnTo>
                    <a:pt x="384" y="1382"/>
                  </a:lnTo>
                  <a:lnTo>
                    <a:pt x="362" y="1356"/>
                  </a:lnTo>
                  <a:lnTo>
                    <a:pt x="342" y="1330"/>
                  </a:lnTo>
                  <a:lnTo>
                    <a:pt x="322" y="1302"/>
                  </a:lnTo>
                  <a:lnTo>
                    <a:pt x="304" y="1274"/>
                  </a:lnTo>
                  <a:lnTo>
                    <a:pt x="286" y="1244"/>
                  </a:lnTo>
                  <a:lnTo>
                    <a:pt x="272" y="1214"/>
                  </a:lnTo>
                  <a:lnTo>
                    <a:pt x="256" y="1182"/>
                  </a:lnTo>
                  <a:lnTo>
                    <a:pt x="244" y="1150"/>
                  </a:lnTo>
                  <a:lnTo>
                    <a:pt x="234" y="1118"/>
                  </a:lnTo>
                  <a:lnTo>
                    <a:pt x="224" y="1084"/>
                  </a:lnTo>
                  <a:lnTo>
                    <a:pt x="216" y="1050"/>
                  </a:lnTo>
                  <a:lnTo>
                    <a:pt x="210" y="1016"/>
                  </a:lnTo>
                  <a:lnTo>
                    <a:pt x="206" y="980"/>
                  </a:lnTo>
                  <a:lnTo>
                    <a:pt x="202" y="944"/>
                  </a:lnTo>
                  <a:lnTo>
                    <a:pt x="202" y="908"/>
                  </a:lnTo>
                  <a:lnTo>
                    <a:pt x="202" y="872"/>
                  </a:lnTo>
                  <a:lnTo>
                    <a:pt x="206" y="836"/>
                  </a:lnTo>
                  <a:lnTo>
                    <a:pt x="210" y="800"/>
                  </a:lnTo>
                  <a:lnTo>
                    <a:pt x="216" y="766"/>
                  </a:lnTo>
                  <a:lnTo>
                    <a:pt x="224" y="732"/>
                  </a:lnTo>
                  <a:lnTo>
                    <a:pt x="234" y="698"/>
                  </a:lnTo>
                  <a:lnTo>
                    <a:pt x="244" y="664"/>
                  </a:lnTo>
                  <a:lnTo>
                    <a:pt x="256" y="632"/>
                  </a:lnTo>
                  <a:lnTo>
                    <a:pt x="272" y="602"/>
                  </a:lnTo>
                  <a:lnTo>
                    <a:pt x="286" y="572"/>
                  </a:lnTo>
                  <a:lnTo>
                    <a:pt x="304" y="542"/>
                  </a:lnTo>
                  <a:lnTo>
                    <a:pt x="322" y="512"/>
                  </a:lnTo>
                  <a:lnTo>
                    <a:pt x="342" y="486"/>
                  </a:lnTo>
                  <a:lnTo>
                    <a:pt x="362" y="458"/>
                  </a:lnTo>
                  <a:lnTo>
                    <a:pt x="384" y="432"/>
                  </a:lnTo>
                  <a:lnTo>
                    <a:pt x="408" y="408"/>
                  </a:lnTo>
                  <a:lnTo>
                    <a:pt x="432" y="386"/>
                  </a:lnTo>
                  <a:lnTo>
                    <a:pt x="458" y="362"/>
                  </a:lnTo>
                  <a:lnTo>
                    <a:pt x="484" y="342"/>
                  </a:lnTo>
                  <a:lnTo>
                    <a:pt x="512" y="322"/>
                  </a:lnTo>
                  <a:lnTo>
                    <a:pt x="542" y="304"/>
                  </a:lnTo>
                  <a:lnTo>
                    <a:pt x="570" y="286"/>
                  </a:lnTo>
                  <a:lnTo>
                    <a:pt x="602" y="272"/>
                  </a:lnTo>
                  <a:lnTo>
                    <a:pt x="632" y="258"/>
                  </a:lnTo>
                  <a:lnTo>
                    <a:pt x="664" y="244"/>
                  </a:lnTo>
                  <a:lnTo>
                    <a:pt x="698" y="234"/>
                  </a:lnTo>
                  <a:lnTo>
                    <a:pt x="730" y="224"/>
                  </a:lnTo>
                  <a:lnTo>
                    <a:pt x="766" y="216"/>
                  </a:lnTo>
                  <a:lnTo>
                    <a:pt x="800" y="210"/>
                  </a:lnTo>
                  <a:lnTo>
                    <a:pt x="836" y="206"/>
                  </a:lnTo>
                  <a:lnTo>
                    <a:pt x="872" y="202"/>
                  </a:lnTo>
                  <a:lnTo>
                    <a:pt x="908" y="202"/>
                  </a:lnTo>
                  <a:lnTo>
                    <a:pt x="944" y="202"/>
                  </a:lnTo>
                  <a:lnTo>
                    <a:pt x="980" y="206"/>
                  </a:lnTo>
                  <a:lnTo>
                    <a:pt x="1014" y="210"/>
                  </a:lnTo>
                  <a:lnTo>
                    <a:pt x="1050" y="216"/>
                  </a:lnTo>
                  <a:lnTo>
                    <a:pt x="1084" y="224"/>
                  </a:lnTo>
                  <a:lnTo>
                    <a:pt x="1118" y="234"/>
                  </a:lnTo>
                  <a:lnTo>
                    <a:pt x="1150" y="244"/>
                  </a:lnTo>
                  <a:lnTo>
                    <a:pt x="1182" y="258"/>
                  </a:lnTo>
                  <a:lnTo>
                    <a:pt x="1214" y="272"/>
                  </a:lnTo>
                  <a:lnTo>
                    <a:pt x="1244" y="286"/>
                  </a:lnTo>
                  <a:lnTo>
                    <a:pt x="1274" y="304"/>
                  </a:lnTo>
                  <a:lnTo>
                    <a:pt x="1302" y="322"/>
                  </a:lnTo>
                  <a:lnTo>
                    <a:pt x="1330" y="342"/>
                  </a:lnTo>
                  <a:lnTo>
                    <a:pt x="1356" y="362"/>
                  </a:lnTo>
                  <a:lnTo>
                    <a:pt x="1382" y="386"/>
                  </a:lnTo>
                  <a:lnTo>
                    <a:pt x="1406" y="408"/>
                  </a:lnTo>
                  <a:lnTo>
                    <a:pt x="1430" y="432"/>
                  </a:lnTo>
                  <a:lnTo>
                    <a:pt x="1452" y="458"/>
                  </a:lnTo>
                  <a:lnTo>
                    <a:pt x="1474" y="486"/>
                  </a:lnTo>
                  <a:lnTo>
                    <a:pt x="1492" y="512"/>
                  </a:lnTo>
                  <a:lnTo>
                    <a:pt x="1512" y="542"/>
                  </a:lnTo>
                  <a:lnTo>
                    <a:pt x="1528" y="572"/>
                  </a:lnTo>
                  <a:lnTo>
                    <a:pt x="1544" y="602"/>
                  </a:lnTo>
                  <a:lnTo>
                    <a:pt x="1558" y="632"/>
                  </a:lnTo>
                  <a:lnTo>
                    <a:pt x="1570" y="664"/>
                  </a:lnTo>
                  <a:lnTo>
                    <a:pt x="1582" y="698"/>
                  </a:lnTo>
                  <a:lnTo>
                    <a:pt x="1592" y="732"/>
                  </a:lnTo>
                  <a:lnTo>
                    <a:pt x="1598" y="766"/>
                  </a:lnTo>
                  <a:lnTo>
                    <a:pt x="1606" y="800"/>
                  </a:lnTo>
                  <a:lnTo>
                    <a:pt x="1610" y="836"/>
                  </a:lnTo>
                  <a:lnTo>
                    <a:pt x="1612" y="872"/>
                  </a:lnTo>
                  <a:lnTo>
                    <a:pt x="1614" y="908"/>
                  </a:lnTo>
                  <a:lnTo>
                    <a:pt x="1612" y="944"/>
                  </a:lnTo>
                  <a:lnTo>
                    <a:pt x="1610" y="980"/>
                  </a:lnTo>
                  <a:lnTo>
                    <a:pt x="1606" y="1016"/>
                  </a:lnTo>
                  <a:lnTo>
                    <a:pt x="1598" y="1050"/>
                  </a:lnTo>
                  <a:lnTo>
                    <a:pt x="1592" y="1084"/>
                  </a:lnTo>
                  <a:lnTo>
                    <a:pt x="1582" y="1118"/>
                  </a:lnTo>
                  <a:lnTo>
                    <a:pt x="1570" y="1150"/>
                  </a:lnTo>
                  <a:lnTo>
                    <a:pt x="1558" y="1182"/>
                  </a:lnTo>
                  <a:lnTo>
                    <a:pt x="1544" y="1214"/>
                  </a:lnTo>
                  <a:lnTo>
                    <a:pt x="1528" y="1244"/>
                  </a:lnTo>
                  <a:lnTo>
                    <a:pt x="1512" y="1274"/>
                  </a:lnTo>
                  <a:lnTo>
                    <a:pt x="1492" y="1302"/>
                  </a:lnTo>
                  <a:lnTo>
                    <a:pt x="1474" y="1330"/>
                  </a:lnTo>
                  <a:lnTo>
                    <a:pt x="1452" y="1356"/>
                  </a:lnTo>
                  <a:lnTo>
                    <a:pt x="1430" y="1382"/>
                  </a:lnTo>
                  <a:lnTo>
                    <a:pt x="1406" y="1406"/>
                  </a:lnTo>
                  <a:lnTo>
                    <a:pt x="1382" y="1430"/>
                  </a:lnTo>
                  <a:lnTo>
                    <a:pt x="1356" y="1452"/>
                  </a:lnTo>
                  <a:lnTo>
                    <a:pt x="1330" y="1474"/>
                  </a:lnTo>
                  <a:lnTo>
                    <a:pt x="1302" y="1492"/>
                  </a:lnTo>
                  <a:lnTo>
                    <a:pt x="1274" y="1512"/>
                  </a:lnTo>
                  <a:lnTo>
                    <a:pt x="1244" y="1528"/>
                  </a:lnTo>
                  <a:lnTo>
                    <a:pt x="1214" y="1544"/>
                  </a:lnTo>
                  <a:lnTo>
                    <a:pt x="1182" y="1558"/>
                  </a:lnTo>
                  <a:lnTo>
                    <a:pt x="1150" y="1570"/>
                  </a:lnTo>
                  <a:lnTo>
                    <a:pt x="1118" y="1582"/>
                  </a:lnTo>
                  <a:lnTo>
                    <a:pt x="1084" y="1592"/>
                  </a:lnTo>
                  <a:lnTo>
                    <a:pt x="1050" y="1600"/>
                  </a:lnTo>
                  <a:lnTo>
                    <a:pt x="1014" y="1606"/>
                  </a:lnTo>
                  <a:lnTo>
                    <a:pt x="980" y="1610"/>
                  </a:lnTo>
                  <a:lnTo>
                    <a:pt x="944" y="1612"/>
                  </a:lnTo>
                  <a:lnTo>
                    <a:pt x="908" y="1614"/>
                  </a:lnTo>
                  <a:close/>
                </a:path>
              </a:pathLst>
            </a:custGeom>
            <a:solidFill>
              <a:srgbClr val="00AEEF"/>
            </a:solidFill>
            <a:ln>
              <a:noFill/>
            </a:ln>
            <a:extLst>
              <a:ext uri="{91240B29-F687-4F45-9708-019B960494DF}">
                <a14:hiddenLine xmlns:a14="http://schemas.microsoft.com/office/drawing/2010/main" w="19050">
                  <a:solidFill>
                    <a:srgbClr val="000000"/>
                  </a:solidFill>
                  <a:prstDash val="sysDot"/>
                  <a:round/>
                </a14:hiddenLine>
              </a:ext>
            </a:extLst>
          </p:spPr>
          <p:txBody>
            <a:bodyPr wrap="none" anchor="ctr"/>
            <a:lstStyle/>
            <a:p>
              <a:pPr algn="just" eaLnBrk="1" latinLnBrk="1" hangingPunct="1">
                <a:lnSpc>
                  <a:spcPct val="120000"/>
                </a:lnSpc>
                <a:spcBef>
                  <a:spcPts val="0"/>
                </a:spcBef>
                <a:spcAft>
                  <a:spcPts val="0"/>
                </a:spcAft>
                <a:defRPr/>
              </a:pPr>
              <a:endParaRPr kumimoji="1" lang="zh-CN" altLang="en-US" sz="600" noProof="1">
                <a:solidFill>
                  <a:schemeClr val="bg1">
                    <a:lumMod val="6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4" name="Oval 680"/>
            <p:cNvSpPr>
              <a:spLocks noChangeArrowheads="1"/>
            </p:cNvSpPr>
            <p:nvPr/>
          </p:nvSpPr>
          <p:spPr bwMode="auto">
            <a:xfrm rot="21275257">
              <a:off x="6050897" y="4039847"/>
              <a:ext cx="1577880" cy="1577996"/>
            </a:xfrm>
            <a:prstGeom prst="ellipse">
              <a:avLst/>
            </a:prstGeom>
            <a:solidFill>
              <a:srgbClr val="00AEEF"/>
            </a:solidFill>
            <a:ln>
              <a:noFill/>
            </a:ln>
            <a:extLst>
              <a:ext uri="{91240B29-F687-4F45-9708-019B960494DF}">
                <a14:hiddenLine xmlns:a14="http://schemas.microsoft.com/office/drawing/2010/main" w="19050">
                  <a:solidFill>
                    <a:srgbClr val="000000"/>
                  </a:solidFill>
                  <a:round/>
                </a14:hiddenLine>
              </a:ext>
            </a:extLst>
          </p:spPr>
          <p:txBody>
            <a:bodyPr wrap="none" anchor="ctr"/>
            <a:lstStyle/>
            <a:p>
              <a:pPr algn="just" eaLnBrk="1" latinLnBrk="1" hangingPunct="1">
                <a:lnSpc>
                  <a:spcPct val="120000"/>
                </a:lnSpc>
                <a:spcBef>
                  <a:spcPts val="0"/>
                </a:spcBef>
                <a:spcAft>
                  <a:spcPts val="0"/>
                </a:spcAft>
                <a:defRPr/>
              </a:pPr>
              <a:endParaRPr kumimoji="1" lang="ko-KR" altLang="en-US" sz="600" noProof="1">
                <a:solidFill>
                  <a:schemeClr val="bg1">
                    <a:lumMod val="65000"/>
                  </a:schemeClr>
                </a:solidFill>
                <a:latin typeface="Arial" panose="020B0604020202020204" pitchFamily="34" charset="0"/>
                <a:ea typeface="+mn-ea"/>
                <a:cs typeface="+mn-ea"/>
                <a:sym typeface="Arial" panose="020B0604020202020204" pitchFamily="34" charset="0"/>
              </a:endParaRPr>
            </a:p>
          </p:txBody>
        </p:sp>
        <p:sp>
          <p:nvSpPr>
            <p:cNvPr id="55" name="Arc 681"/>
            <p:cNvSpPr>
              <a:spLocks noChangeArrowheads="1"/>
            </p:cNvSpPr>
            <p:nvPr/>
          </p:nvSpPr>
          <p:spPr bwMode="auto">
            <a:xfrm rot="7501686">
              <a:off x="4141571" y="3609103"/>
              <a:ext cx="1906587" cy="1549400"/>
            </a:xfrm>
            <a:custGeom>
              <a:avLst/>
              <a:gdLst>
                <a:gd name="T0" fmla="*/ 1309896 w 21600"/>
                <a:gd name="T1" fmla="*/ -99 h 15695"/>
                <a:gd name="T2" fmla="*/ 1906587 w 21600"/>
                <a:gd name="T3" fmla="*/ 1549400 h 15695"/>
                <a:gd name="T4" fmla="*/ 1309896 w 21600"/>
                <a:gd name="T5" fmla="*/ -99 h 15695"/>
                <a:gd name="T6" fmla="*/ 1906587 w 21600"/>
                <a:gd name="T7" fmla="*/ 1549400 h 15695"/>
                <a:gd name="T8" fmla="*/ 0 w 21600"/>
                <a:gd name="T9" fmla="*/ 1549400 h 15695"/>
                <a:gd name="T10" fmla="*/ 1309896 w 21600"/>
                <a:gd name="T11" fmla="*/ -99 h 1569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15695" fill="none">
                  <a:moveTo>
                    <a:pt x="14840" y="-1"/>
                  </a:moveTo>
                  <a:cubicBezTo>
                    <a:pt x="19155" y="4079"/>
                    <a:pt x="21600" y="9756"/>
                    <a:pt x="21600" y="15695"/>
                  </a:cubicBezTo>
                </a:path>
                <a:path w="21600" h="15695" stroke="0">
                  <a:moveTo>
                    <a:pt x="14840" y="-1"/>
                  </a:moveTo>
                  <a:cubicBezTo>
                    <a:pt x="19155" y="4079"/>
                    <a:pt x="21600" y="9756"/>
                    <a:pt x="21600" y="15695"/>
                  </a:cubicBezTo>
                  <a:lnTo>
                    <a:pt x="0" y="15695"/>
                  </a:lnTo>
                  <a:lnTo>
                    <a:pt x="14840" y="-1"/>
                  </a:lnTo>
                  <a:close/>
                </a:path>
              </a:pathLst>
            </a:custGeom>
            <a:noFill/>
            <a:ln w="9525">
              <a:solidFill>
                <a:srgbClr val="7F7F7F"/>
              </a:solidFill>
              <a:prstDash val="sysDot"/>
              <a:rou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sp>
          <p:nvSpPr>
            <p:cNvPr id="56" name="Arc 683"/>
            <p:cNvSpPr>
              <a:spLocks noChangeArrowheads="1"/>
            </p:cNvSpPr>
            <p:nvPr/>
          </p:nvSpPr>
          <p:spPr bwMode="auto">
            <a:xfrm rot="256945">
              <a:off x="7018916" y="2744709"/>
              <a:ext cx="620712" cy="898525"/>
            </a:xfrm>
            <a:custGeom>
              <a:avLst/>
              <a:gdLst>
                <a:gd name="T0" fmla="*/ 93021 w 21600"/>
                <a:gd name="T1" fmla="*/ -29 h 31203"/>
                <a:gd name="T2" fmla="*/ 620712 w 21600"/>
                <a:gd name="T3" fmla="*/ 614970 h 31203"/>
                <a:gd name="T4" fmla="*/ 552434 w 21600"/>
                <a:gd name="T5" fmla="*/ 898496 h 31203"/>
                <a:gd name="T6" fmla="*/ 93021 w 21600"/>
                <a:gd name="T7" fmla="*/ -29 h 31203"/>
                <a:gd name="T8" fmla="*/ 620712 w 21600"/>
                <a:gd name="T9" fmla="*/ 614970 h 31203"/>
                <a:gd name="T10" fmla="*/ 552434 w 21600"/>
                <a:gd name="T11" fmla="*/ 898496 h 31203"/>
                <a:gd name="T12" fmla="*/ 0 w 21600"/>
                <a:gd name="T13" fmla="*/ 614970 h 31203"/>
                <a:gd name="T14" fmla="*/ 93021 w 21600"/>
                <a:gd name="T15" fmla="*/ -29 h 3120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31203" fill="none">
                  <a:moveTo>
                    <a:pt x="3237" y="-1"/>
                  </a:moveTo>
                  <a:cubicBezTo>
                    <a:pt x="13795" y="1600"/>
                    <a:pt x="21600" y="10676"/>
                    <a:pt x="21600" y="21356"/>
                  </a:cubicBezTo>
                  <a:cubicBezTo>
                    <a:pt x="21600" y="24780"/>
                    <a:pt x="20785" y="28155"/>
                    <a:pt x="19224" y="31202"/>
                  </a:cubicBezTo>
                </a:path>
                <a:path w="21600" h="31203" stroke="0">
                  <a:moveTo>
                    <a:pt x="3237" y="-1"/>
                  </a:moveTo>
                  <a:cubicBezTo>
                    <a:pt x="13795" y="1600"/>
                    <a:pt x="21600" y="10676"/>
                    <a:pt x="21600" y="21356"/>
                  </a:cubicBezTo>
                  <a:cubicBezTo>
                    <a:pt x="21600" y="24780"/>
                    <a:pt x="20785" y="28155"/>
                    <a:pt x="19224" y="31202"/>
                  </a:cubicBezTo>
                  <a:lnTo>
                    <a:pt x="0" y="21356"/>
                  </a:lnTo>
                  <a:lnTo>
                    <a:pt x="3237" y="-1"/>
                  </a:lnTo>
                  <a:close/>
                </a:path>
              </a:pathLst>
            </a:custGeom>
            <a:noFill/>
            <a:ln w="9525">
              <a:solidFill>
                <a:srgbClr val="7F7F7F"/>
              </a:solidFill>
              <a:prstDash val="sysDot"/>
              <a:rou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endParaRPr lang="zh-CN" altLang="en-US"/>
            </a:p>
          </p:txBody>
        </p:sp>
      </p:grpSp>
      <p:sp>
        <p:nvSpPr>
          <p:cNvPr id="57" name="Content Placeholder 2"/>
          <p:cNvSpPr txBox="1">
            <a:spLocks noChangeArrowheads="1"/>
          </p:cNvSpPr>
          <p:nvPr/>
        </p:nvSpPr>
        <p:spPr bwMode="auto">
          <a:xfrm>
            <a:off x="6330792" y="1638434"/>
            <a:ext cx="693420" cy="357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ctr" eaLnBrk="1" hangingPunct="1">
              <a:lnSpc>
                <a:spcPct val="120000"/>
              </a:lnSpc>
              <a:buFont typeface="Arial" panose="020B0604020202020204" pitchFamily="34" charset="0"/>
              <a:buNone/>
            </a:pPr>
            <a:r>
              <a:rPr lang="zh-CN"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n-US"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8" name="Content Placeholder 2"/>
          <p:cNvSpPr txBox="1">
            <a:spLocks noChangeArrowheads="1"/>
          </p:cNvSpPr>
          <p:nvPr/>
        </p:nvSpPr>
        <p:spPr bwMode="auto">
          <a:xfrm>
            <a:off x="6084094" y="4026940"/>
            <a:ext cx="693420" cy="357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ctr" eaLnBrk="1" hangingPunct="1">
              <a:lnSpc>
                <a:spcPct val="120000"/>
              </a:lnSpc>
              <a:buFont typeface="Arial" panose="020B0604020202020204" pitchFamily="34" charset="0"/>
              <a:buNone/>
            </a:pPr>
            <a:r>
              <a:rPr lang="zh-CN"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n-US"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9" name="Content Placeholder 2"/>
          <p:cNvSpPr txBox="1">
            <a:spLocks noChangeArrowheads="1"/>
          </p:cNvSpPr>
          <p:nvPr/>
        </p:nvSpPr>
        <p:spPr bwMode="auto">
          <a:xfrm>
            <a:off x="4119404" y="2871961"/>
            <a:ext cx="693420" cy="357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ctr" eaLnBrk="1" hangingPunct="1">
              <a:lnSpc>
                <a:spcPct val="120000"/>
              </a:lnSpc>
              <a:buFont typeface="Arial" panose="020B0604020202020204" pitchFamily="34" charset="0"/>
              <a:buNone/>
            </a:pPr>
            <a:r>
              <a:rPr lang="zh-CN"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n-US"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60" name="Group 17"/>
          <p:cNvGrpSpPr/>
          <p:nvPr/>
        </p:nvGrpSpPr>
        <p:grpSpPr>
          <a:xfrm>
            <a:off x="5097384" y="3771320"/>
            <a:ext cx="305693" cy="304332"/>
            <a:chOff x="5607370" y="3562829"/>
            <a:chExt cx="587140" cy="587140"/>
          </a:xfrm>
          <a:solidFill>
            <a:schemeClr val="bg1"/>
          </a:solidFill>
        </p:grpSpPr>
        <p:sp>
          <p:nvSpPr>
            <p:cNvPr id="61" name="Freeform 15"/>
            <p:cNvSpPr>
              <a:spLocks noEditPoints="1"/>
            </p:cNvSpPr>
            <p:nvPr/>
          </p:nvSpPr>
          <p:spPr bwMode="auto">
            <a:xfrm>
              <a:off x="5746497" y="3702123"/>
              <a:ext cx="308897" cy="308544"/>
            </a:xfrm>
            <a:custGeom>
              <a:avLst/>
              <a:gdLst>
                <a:gd name="T0" fmla="*/ 183 w 371"/>
                <a:gd name="T1" fmla="*/ 1 h 370"/>
                <a:gd name="T2" fmla="*/ 2 w 371"/>
                <a:gd name="T3" fmla="*/ 187 h 370"/>
                <a:gd name="T4" fmla="*/ 188 w 371"/>
                <a:gd name="T5" fmla="*/ 369 h 370"/>
                <a:gd name="T6" fmla="*/ 370 w 371"/>
                <a:gd name="T7" fmla="*/ 182 h 370"/>
                <a:gd name="T8" fmla="*/ 183 w 371"/>
                <a:gd name="T9" fmla="*/ 1 h 370"/>
                <a:gd name="T10" fmla="*/ 184 w 371"/>
                <a:gd name="T11" fmla="*/ 25 h 370"/>
                <a:gd name="T12" fmla="*/ 260 w 371"/>
                <a:gd name="T13" fmla="*/ 43 h 370"/>
                <a:gd name="T14" fmla="*/ 235 w 371"/>
                <a:gd name="T15" fmla="*/ 84 h 370"/>
                <a:gd name="T16" fmla="*/ 186 w 371"/>
                <a:gd name="T17" fmla="*/ 73 h 370"/>
                <a:gd name="T18" fmla="*/ 137 w 371"/>
                <a:gd name="T19" fmla="*/ 84 h 370"/>
                <a:gd name="T20" fmla="*/ 112 w 371"/>
                <a:gd name="T21" fmla="*/ 43 h 370"/>
                <a:gd name="T22" fmla="*/ 184 w 371"/>
                <a:gd name="T23" fmla="*/ 25 h 370"/>
                <a:gd name="T24" fmla="*/ 85 w 371"/>
                <a:gd name="T25" fmla="*/ 234 h 370"/>
                <a:gd name="T26" fmla="*/ 44 w 371"/>
                <a:gd name="T27" fmla="*/ 259 h 370"/>
                <a:gd name="T28" fmla="*/ 26 w 371"/>
                <a:gd name="T29" fmla="*/ 187 h 370"/>
                <a:gd name="T30" fmla="*/ 44 w 371"/>
                <a:gd name="T31" fmla="*/ 111 h 370"/>
                <a:gd name="T32" fmla="*/ 85 w 371"/>
                <a:gd name="T33" fmla="*/ 136 h 370"/>
                <a:gd name="T34" fmla="*/ 74 w 371"/>
                <a:gd name="T35" fmla="*/ 185 h 370"/>
                <a:gd name="T36" fmla="*/ 85 w 371"/>
                <a:gd name="T37" fmla="*/ 234 h 370"/>
                <a:gd name="T38" fmla="*/ 188 w 371"/>
                <a:gd name="T39" fmla="*/ 345 h 370"/>
                <a:gd name="T40" fmla="*/ 112 w 371"/>
                <a:gd name="T41" fmla="*/ 327 h 370"/>
                <a:gd name="T42" fmla="*/ 137 w 371"/>
                <a:gd name="T43" fmla="*/ 286 h 370"/>
                <a:gd name="T44" fmla="*/ 186 w 371"/>
                <a:gd name="T45" fmla="*/ 297 h 370"/>
                <a:gd name="T46" fmla="*/ 235 w 371"/>
                <a:gd name="T47" fmla="*/ 286 h 370"/>
                <a:gd name="T48" fmla="*/ 260 w 371"/>
                <a:gd name="T49" fmla="*/ 327 h 370"/>
                <a:gd name="T50" fmla="*/ 188 w 371"/>
                <a:gd name="T51" fmla="*/ 345 h 370"/>
                <a:gd name="T52" fmla="*/ 186 w 371"/>
                <a:gd name="T53" fmla="*/ 273 h 370"/>
                <a:gd name="T54" fmla="*/ 98 w 371"/>
                <a:gd name="T55" fmla="*/ 185 h 370"/>
                <a:gd name="T56" fmla="*/ 186 w 371"/>
                <a:gd name="T57" fmla="*/ 97 h 370"/>
                <a:gd name="T58" fmla="*/ 274 w 371"/>
                <a:gd name="T59" fmla="*/ 185 h 370"/>
                <a:gd name="T60" fmla="*/ 186 w 371"/>
                <a:gd name="T61" fmla="*/ 273 h 370"/>
                <a:gd name="T62" fmla="*/ 286 w 371"/>
                <a:gd name="T63" fmla="*/ 234 h 370"/>
                <a:gd name="T64" fmla="*/ 298 w 371"/>
                <a:gd name="T65" fmla="*/ 185 h 370"/>
                <a:gd name="T66" fmla="*/ 286 w 371"/>
                <a:gd name="T67" fmla="*/ 136 h 370"/>
                <a:gd name="T68" fmla="*/ 328 w 371"/>
                <a:gd name="T69" fmla="*/ 111 h 370"/>
                <a:gd name="T70" fmla="*/ 346 w 371"/>
                <a:gd name="T71" fmla="*/ 183 h 370"/>
                <a:gd name="T72" fmla="*/ 328 w 371"/>
                <a:gd name="T73" fmla="*/ 259 h 370"/>
                <a:gd name="T74" fmla="*/ 286 w 371"/>
                <a:gd name="T75" fmla="*/ 234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1" h="370">
                  <a:moveTo>
                    <a:pt x="183" y="1"/>
                  </a:moveTo>
                  <a:cubicBezTo>
                    <a:pt x="82" y="2"/>
                    <a:pt x="0" y="86"/>
                    <a:pt x="2" y="187"/>
                  </a:cubicBezTo>
                  <a:cubicBezTo>
                    <a:pt x="3" y="289"/>
                    <a:pt x="87" y="370"/>
                    <a:pt x="188" y="369"/>
                  </a:cubicBezTo>
                  <a:cubicBezTo>
                    <a:pt x="290" y="368"/>
                    <a:pt x="371" y="284"/>
                    <a:pt x="370" y="182"/>
                  </a:cubicBezTo>
                  <a:cubicBezTo>
                    <a:pt x="368" y="81"/>
                    <a:pt x="285" y="0"/>
                    <a:pt x="183" y="1"/>
                  </a:cubicBezTo>
                  <a:close/>
                  <a:moveTo>
                    <a:pt x="184" y="25"/>
                  </a:moveTo>
                  <a:cubicBezTo>
                    <a:pt x="211" y="25"/>
                    <a:pt x="237" y="31"/>
                    <a:pt x="260" y="43"/>
                  </a:cubicBezTo>
                  <a:cubicBezTo>
                    <a:pt x="235" y="84"/>
                    <a:pt x="235" y="84"/>
                    <a:pt x="235" y="84"/>
                  </a:cubicBezTo>
                  <a:cubicBezTo>
                    <a:pt x="220" y="77"/>
                    <a:pt x="203" y="73"/>
                    <a:pt x="186" y="73"/>
                  </a:cubicBezTo>
                  <a:cubicBezTo>
                    <a:pt x="168" y="73"/>
                    <a:pt x="151" y="77"/>
                    <a:pt x="137" y="84"/>
                  </a:cubicBezTo>
                  <a:cubicBezTo>
                    <a:pt x="112" y="43"/>
                    <a:pt x="112" y="43"/>
                    <a:pt x="112" y="43"/>
                  </a:cubicBezTo>
                  <a:cubicBezTo>
                    <a:pt x="133" y="32"/>
                    <a:pt x="158" y="25"/>
                    <a:pt x="184" y="25"/>
                  </a:cubicBezTo>
                  <a:close/>
                  <a:moveTo>
                    <a:pt x="85" y="234"/>
                  </a:moveTo>
                  <a:cubicBezTo>
                    <a:pt x="44" y="259"/>
                    <a:pt x="44" y="259"/>
                    <a:pt x="44" y="259"/>
                  </a:cubicBezTo>
                  <a:cubicBezTo>
                    <a:pt x="33" y="237"/>
                    <a:pt x="26" y="213"/>
                    <a:pt x="26" y="187"/>
                  </a:cubicBezTo>
                  <a:cubicBezTo>
                    <a:pt x="25" y="160"/>
                    <a:pt x="32" y="134"/>
                    <a:pt x="44" y="111"/>
                  </a:cubicBezTo>
                  <a:cubicBezTo>
                    <a:pt x="85" y="136"/>
                    <a:pt x="85" y="136"/>
                    <a:pt x="85" y="136"/>
                  </a:cubicBezTo>
                  <a:cubicBezTo>
                    <a:pt x="78" y="151"/>
                    <a:pt x="74" y="167"/>
                    <a:pt x="74" y="185"/>
                  </a:cubicBezTo>
                  <a:cubicBezTo>
                    <a:pt x="74" y="203"/>
                    <a:pt x="78" y="219"/>
                    <a:pt x="85" y="234"/>
                  </a:cubicBezTo>
                  <a:close/>
                  <a:moveTo>
                    <a:pt x="188" y="345"/>
                  </a:moveTo>
                  <a:cubicBezTo>
                    <a:pt x="161" y="345"/>
                    <a:pt x="135" y="339"/>
                    <a:pt x="112" y="327"/>
                  </a:cubicBezTo>
                  <a:cubicBezTo>
                    <a:pt x="137" y="286"/>
                    <a:pt x="137" y="286"/>
                    <a:pt x="137" y="286"/>
                  </a:cubicBezTo>
                  <a:cubicBezTo>
                    <a:pt x="151" y="293"/>
                    <a:pt x="168" y="297"/>
                    <a:pt x="186" y="297"/>
                  </a:cubicBezTo>
                  <a:cubicBezTo>
                    <a:pt x="203" y="297"/>
                    <a:pt x="220" y="293"/>
                    <a:pt x="235" y="286"/>
                  </a:cubicBezTo>
                  <a:cubicBezTo>
                    <a:pt x="260" y="327"/>
                    <a:pt x="260" y="327"/>
                    <a:pt x="260" y="327"/>
                  </a:cubicBezTo>
                  <a:cubicBezTo>
                    <a:pt x="238" y="338"/>
                    <a:pt x="214" y="345"/>
                    <a:pt x="188" y="345"/>
                  </a:cubicBezTo>
                  <a:close/>
                  <a:moveTo>
                    <a:pt x="186" y="273"/>
                  </a:moveTo>
                  <a:cubicBezTo>
                    <a:pt x="137" y="273"/>
                    <a:pt x="98" y="233"/>
                    <a:pt x="98" y="185"/>
                  </a:cubicBezTo>
                  <a:cubicBezTo>
                    <a:pt x="98" y="136"/>
                    <a:pt x="137" y="97"/>
                    <a:pt x="186" y="97"/>
                  </a:cubicBezTo>
                  <a:cubicBezTo>
                    <a:pt x="234" y="97"/>
                    <a:pt x="274" y="136"/>
                    <a:pt x="274" y="185"/>
                  </a:cubicBezTo>
                  <a:cubicBezTo>
                    <a:pt x="274" y="233"/>
                    <a:pt x="234" y="273"/>
                    <a:pt x="186" y="273"/>
                  </a:cubicBezTo>
                  <a:close/>
                  <a:moveTo>
                    <a:pt x="286" y="234"/>
                  </a:moveTo>
                  <a:cubicBezTo>
                    <a:pt x="294" y="219"/>
                    <a:pt x="298" y="203"/>
                    <a:pt x="298" y="185"/>
                  </a:cubicBezTo>
                  <a:cubicBezTo>
                    <a:pt x="298" y="167"/>
                    <a:pt x="294" y="151"/>
                    <a:pt x="286" y="136"/>
                  </a:cubicBezTo>
                  <a:cubicBezTo>
                    <a:pt x="328" y="111"/>
                    <a:pt x="328" y="111"/>
                    <a:pt x="328" y="111"/>
                  </a:cubicBezTo>
                  <a:cubicBezTo>
                    <a:pt x="339" y="133"/>
                    <a:pt x="345" y="157"/>
                    <a:pt x="346" y="183"/>
                  </a:cubicBezTo>
                  <a:cubicBezTo>
                    <a:pt x="346" y="210"/>
                    <a:pt x="340" y="236"/>
                    <a:pt x="328" y="259"/>
                  </a:cubicBezTo>
                  <a:lnTo>
                    <a:pt x="286" y="234"/>
                  </a:ln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2" name="Freeform 23"/>
            <p:cNvSpPr>
              <a:spLocks noEditPoints="1"/>
            </p:cNvSpPr>
            <p:nvPr/>
          </p:nvSpPr>
          <p:spPr bwMode="auto">
            <a:xfrm>
              <a:off x="5607370" y="3562829"/>
              <a:ext cx="587140" cy="58714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49 h 384"/>
                <a:gd name="T12" fmla="*/ 35 w 384"/>
                <a:gd name="T13" fmla="*/ 192 h 384"/>
                <a:gd name="T14" fmla="*/ 192 w 384"/>
                <a:gd name="T15" fmla="*/ 35 h 384"/>
                <a:gd name="T16" fmla="*/ 349 w 384"/>
                <a:gd name="T17" fmla="*/ 192 h 384"/>
                <a:gd name="T18" fmla="*/ 192 w 384"/>
                <a:gd name="T19" fmla="*/ 34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49"/>
                  </a:moveTo>
                  <a:cubicBezTo>
                    <a:pt x="105" y="349"/>
                    <a:pt x="35" y="278"/>
                    <a:pt x="35" y="192"/>
                  </a:cubicBezTo>
                  <a:cubicBezTo>
                    <a:pt x="35" y="105"/>
                    <a:pt x="105" y="35"/>
                    <a:pt x="192" y="35"/>
                  </a:cubicBezTo>
                  <a:cubicBezTo>
                    <a:pt x="278" y="35"/>
                    <a:pt x="349" y="105"/>
                    <a:pt x="349" y="192"/>
                  </a:cubicBezTo>
                  <a:cubicBezTo>
                    <a:pt x="349" y="278"/>
                    <a:pt x="278" y="349"/>
                    <a:pt x="192" y="349"/>
                  </a:cubicBez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63" name="Group 20"/>
          <p:cNvGrpSpPr/>
          <p:nvPr/>
        </p:nvGrpSpPr>
        <p:grpSpPr>
          <a:xfrm>
            <a:off x="5095930" y="1612650"/>
            <a:ext cx="439070" cy="437115"/>
            <a:chOff x="6665323" y="3562825"/>
            <a:chExt cx="587140" cy="587140"/>
          </a:xfrm>
          <a:solidFill>
            <a:schemeClr val="bg1"/>
          </a:solidFill>
        </p:grpSpPr>
        <p:sp>
          <p:nvSpPr>
            <p:cNvPr id="64" name="Freeform 19"/>
            <p:cNvSpPr>
              <a:spLocks noEditPoints="1"/>
            </p:cNvSpPr>
            <p:nvPr/>
          </p:nvSpPr>
          <p:spPr bwMode="auto">
            <a:xfrm>
              <a:off x="6808144" y="3735126"/>
              <a:ext cx="301499" cy="242538"/>
            </a:xfrm>
            <a:custGeom>
              <a:avLst/>
              <a:gdLst>
                <a:gd name="T0" fmla="*/ 393 w 400"/>
                <a:gd name="T1" fmla="*/ 61 h 322"/>
                <a:gd name="T2" fmla="*/ 300 w 400"/>
                <a:gd name="T3" fmla="*/ 3 h 322"/>
                <a:gd name="T4" fmla="*/ 286 w 400"/>
                <a:gd name="T5" fmla="*/ 3 h 322"/>
                <a:gd name="T6" fmla="*/ 200 w 400"/>
                <a:gd name="T7" fmla="*/ 57 h 322"/>
                <a:gd name="T8" fmla="*/ 113 w 400"/>
                <a:gd name="T9" fmla="*/ 3 h 322"/>
                <a:gd name="T10" fmla="*/ 100 w 400"/>
                <a:gd name="T11" fmla="*/ 3 h 322"/>
                <a:gd name="T12" fmla="*/ 6 w 400"/>
                <a:gd name="T13" fmla="*/ 61 h 322"/>
                <a:gd name="T14" fmla="*/ 0 w 400"/>
                <a:gd name="T15" fmla="*/ 73 h 322"/>
                <a:gd name="T16" fmla="*/ 0 w 400"/>
                <a:gd name="T17" fmla="*/ 307 h 322"/>
                <a:gd name="T18" fmla="*/ 6 w 400"/>
                <a:gd name="T19" fmla="*/ 319 h 322"/>
                <a:gd name="T20" fmla="*/ 20 w 400"/>
                <a:gd name="T21" fmla="*/ 319 h 322"/>
                <a:gd name="T22" fmla="*/ 106 w 400"/>
                <a:gd name="T23" fmla="*/ 265 h 322"/>
                <a:gd name="T24" fmla="*/ 193 w 400"/>
                <a:gd name="T25" fmla="*/ 319 h 322"/>
                <a:gd name="T26" fmla="*/ 207 w 400"/>
                <a:gd name="T27" fmla="*/ 319 h 322"/>
                <a:gd name="T28" fmla="*/ 293 w 400"/>
                <a:gd name="T29" fmla="*/ 265 h 322"/>
                <a:gd name="T30" fmla="*/ 380 w 400"/>
                <a:gd name="T31" fmla="*/ 319 h 322"/>
                <a:gd name="T32" fmla="*/ 387 w 400"/>
                <a:gd name="T33" fmla="*/ 321 h 322"/>
                <a:gd name="T34" fmla="*/ 393 w 400"/>
                <a:gd name="T35" fmla="*/ 319 h 322"/>
                <a:gd name="T36" fmla="*/ 400 w 400"/>
                <a:gd name="T37" fmla="*/ 307 h 322"/>
                <a:gd name="T38" fmla="*/ 400 w 400"/>
                <a:gd name="T39" fmla="*/ 73 h 322"/>
                <a:gd name="T40" fmla="*/ 393 w 400"/>
                <a:gd name="T41" fmla="*/ 61 h 322"/>
                <a:gd name="T42" fmla="*/ 93 w 400"/>
                <a:gd name="T43" fmla="*/ 241 h 322"/>
                <a:gd name="T44" fmla="*/ 26 w 400"/>
                <a:gd name="T45" fmla="*/ 283 h 322"/>
                <a:gd name="T46" fmla="*/ 26 w 400"/>
                <a:gd name="T47" fmla="*/ 81 h 322"/>
                <a:gd name="T48" fmla="*/ 93 w 400"/>
                <a:gd name="T49" fmla="*/ 39 h 322"/>
                <a:gd name="T50" fmla="*/ 93 w 400"/>
                <a:gd name="T51" fmla="*/ 241 h 322"/>
                <a:gd name="T52" fmla="*/ 187 w 400"/>
                <a:gd name="T53" fmla="*/ 283 h 322"/>
                <a:gd name="T54" fmla="*/ 119 w 400"/>
                <a:gd name="T55" fmla="*/ 241 h 322"/>
                <a:gd name="T56" fmla="*/ 119 w 400"/>
                <a:gd name="T57" fmla="*/ 39 h 322"/>
                <a:gd name="T58" fmla="*/ 187 w 400"/>
                <a:gd name="T59" fmla="*/ 81 h 322"/>
                <a:gd name="T60" fmla="*/ 187 w 400"/>
                <a:gd name="T61" fmla="*/ 283 h 322"/>
                <a:gd name="T62" fmla="*/ 280 w 400"/>
                <a:gd name="T63" fmla="*/ 241 h 322"/>
                <a:gd name="T64" fmla="*/ 213 w 400"/>
                <a:gd name="T65" fmla="*/ 283 h 322"/>
                <a:gd name="T66" fmla="*/ 213 w 400"/>
                <a:gd name="T67" fmla="*/ 81 h 322"/>
                <a:gd name="T68" fmla="*/ 280 w 400"/>
                <a:gd name="T69" fmla="*/ 39 h 322"/>
                <a:gd name="T70" fmla="*/ 280 w 400"/>
                <a:gd name="T71" fmla="*/ 241 h 322"/>
                <a:gd name="T72" fmla="*/ 374 w 400"/>
                <a:gd name="T73" fmla="*/ 283 h 322"/>
                <a:gd name="T74" fmla="*/ 306 w 400"/>
                <a:gd name="T75" fmla="*/ 241 h 322"/>
                <a:gd name="T76" fmla="*/ 306 w 400"/>
                <a:gd name="T77" fmla="*/ 39 h 322"/>
                <a:gd name="T78" fmla="*/ 374 w 400"/>
                <a:gd name="T79" fmla="*/ 81 h 322"/>
                <a:gd name="T80" fmla="*/ 374 w 400"/>
                <a:gd name="T81" fmla="*/ 283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00" h="322">
                  <a:moveTo>
                    <a:pt x="393" y="61"/>
                  </a:moveTo>
                  <a:cubicBezTo>
                    <a:pt x="300" y="3"/>
                    <a:pt x="300" y="3"/>
                    <a:pt x="300" y="3"/>
                  </a:cubicBezTo>
                  <a:cubicBezTo>
                    <a:pt x="296" y="0"/>
                    <a:pt x="291" y="0"/>
                    <a:pt x="286" y="3"/>
                  </a:cubicBezTo>
                  <a:cubicBezTo>
                    <a:pt x="200" y="57"/>
                    <a:pt x="200" y="57"/>
                    <a:pt x="200" y="57"/>
                  </a:cubicBezTo>
                  <a:cubicBezTo>
                    <a:pt x="113" y="3"/>
                    <a:pt x="113" y="3"/>
                    <a:pt x="113" y="3"/>
                  </a:cubicBezTo>
                  <a:cubicBezTo>
                    <a:pt x="109" y="0"/>
                    <a:pt x="104" y="0"/>
                    <a:pt x="100" y="3"/>
                  </a:cubicBezTo>
                  <a:cubicBezTo>
                    <a:pt x="6" y="61"/>
                    <a:pt x="6" y="61"/>
                    <a:pt x="6" y="61"/>
                  </a:cubicBezTo>
                  <a:cubicBezTo>
                    <a:pt x="2" y="64"/>
                    <a:pt x="0" y="68"/>
                    <a:pt x="0" y="73"/>
                  </a:cubicBezTo>
                  <a:cubicBezTo>
                    <a:pt x="0" y="307"/>
                    <a:pt x="0" y="307"/>
                    <a:pt x="0" y="307"/>
                  </a:cubicBezTo>
                  <a:cubicBezTo>
                    <a:pt x="0" y="312"/>
                    <a:pt x="2" y="317"/>
                    <a:pt x="6" y="319"/>
                  </a:cubicBezTo>
                  <a:cubicBezTo>
                    <a:pt x="11" y="322"/>
                    <a:pt x="16" y="321"/>
                    <a:pt x="20" y="319"/>
                  </a:cubicBezTo>
                  <a:cubicBezTo>
                    <a:pt x="106" y="265"/>
                    <a:pt x="106" y="265"/>
                    <a:pt x="106" y="265"/>
                  </a:cubicBezTo>
                  <a:cubicBezTo>
                    <a:pt x="193" y="319"/>
                    <a:pt x="193" y="319"/>
                    <a:pt x="193" y="319"/>
                  </a:cubicBezTo>
                  <a:cubicBezTo>
                    <a:pt x="197" y="322"/>
                    <a:pt x="202" y="322"/>
                    <a:pt x="207" y="319"/>
                  </a:cubicBezTo>
                  <a:cubicBezTo>
                    <a:pt x="293" y="265"/>
                    <a:pt x="293" y="265"/>
                    <a:pt x="293" y="265"/>
                  </a:cubicBezTo>
                  <a:cubicBezTo>
                    <a:pt x="380" y="319"/>
                    <a:pt x="380" y="319"/>
                    <a:pt x="380" y="319"/>
                  </a:cubicBezTo>
                  <a:cubicBezTo>
                    <a:pt x="382" y="320"/>
                    <a:pt x="384" y="321"/>
                    <a:pt x="387" y="321"/>
                  </a:cubicBezTo>
                  <a:cubicBezTo>
                    <a:pt x="389" y="321"/>
                    <a:pt x="391" y="320"/>
                    <a:pt x="393" y="319"/>
                  </a:cubicBezTo>
                  <a:cubicBezTo>
                    <a:pt x="397" y="317"/>
                    <a:pt x="400" y="312"/>
                    <a:pt x="400" y="307"/>
                  </a:cubicBezTo>
                  <a:cubicBezTo>
                    <a:pt x="400" y="73"/>
                    <a:pt x="400" y="73"/>
                    <a:pt x="400" y="73"/>
                  </a:cubicBezTo>
                  <a:cubicBezTo>
                    <a:pt x="400" y="68"/>
                    <a:pt x="397" y="64"/>
                    <a:pt x="393" y="61"/>
                  </a:cubicBezTo>
                  <a:close/>
                  <a:moveTo>
                    <a:pt x="93" y="241"/>
                  </a:moveTo>
                  <a:cubicBezTo>
                    <a:pt x="26" y="283"/>
                    <a:pt x="26" y="283"/>
                    <a:pt x="26" y="283"/>
                  </a:cubicBezTo>
                  <a:cubicBezTo>
                    <a:pt x="26" y="81"/>
                    <a:pt x="26" y="81"/>
                    <a:pt x="26" y="81"/>
                  </a:cubicBezTo>
                  <a:cubicBezTo>
                    <a:pt x="93" y="39"/>
                    <a:pt x="93" y="39"/>
                    <a:pt x="93" y="39"/>
                  </a:cubicBezTo>
                  <a:lnTo>
                    <a:pt x="93" y="241"/>
                  </a:lnTo>
                  <a:close/>
                  <a:moveTo>
                    <a:pt x="187" y="283"/>
                  </a:moveTo>
                  <a:cubicBezTo>
                    <a:pt x="119" y="241"/>
                    <a:pt x="119" y="241"/>
                    <a:pt x="119" y="241"/>
                  </a:cubicBezTo>
                  <a:cubicBezTo>
                    <a:pt x="119" y="39"/>
                    <a:pt x="119" y="39"/>
                    <a:pt x="119" y="39"/>
                  </a:cubicBezTo>
                  <a:cubicBezTo>
                    <a:pt x="187" y="81"/>
                    <a:pt x="187" y="81"/>
                    <a:pt x="187" y="81"/>
                  </a:cubicBezTo>
                  <a:lnTo>
                    <a:pt x="187" y="283"/>
                  </a:lnTo>
                  <a:close/>
                  <a:moveTo>
                    <a:pt x="280" y="241"/>
                  </a:moveTo>
                  <a:cubicBezTo>
                    <a:pt x="213" y="283"/>
                    <a:pt x="213" y="283"/>
                    <a:pt x="213" y="283"/>
                  </a:cubicBezTo>
                  <a:cubicBezTo>
                    <a:pt x="213" y="81"/>
                    <a:pt x="213" y="81"/>
                    <a:pt x="213" y="81"/>
                  </a:cubicBezTo>
                  <a:cubicBezTo>
                    <a:pt x="280" y="39"/>
                    <a:pt x="280" y="39"/>
                    <a:pt x="280" y="39"/>
                  </a:cubicBezTo>
                  <a:lnTo>
                    <a:pt x="280" y="241"/>
                  </a:lnTo>
                  <a:close/>
                  <a:moveTo>
                    <a:pt x="374" y="283"/>
                  </a:moveTo>
                  <a:cubicBezTo>
                    <a:pt x="306" y="241"/>
                    <a:pt x="306" y="241"/>
                    <a:pt x="306" y="241"/>
                  </a:cubicBezTo>
                  <a:cubicBezTo>
                    <a:pt x="306" y="39"/>
                    <a:pt x="306" y="39"/>
                    <a:pt x="306" y="39"/>
                  </a:cubicBezTo>
                  <a:cubicBezTo>
                    <a:pt x="374" y="81"/>
                    <a:pt x="374" y="81"/>
                    <a:pt x="374" y="81"/>
                  </a:cubicBezTo>
                  <a:lnTo>
                    <a:pt x="374" y="283"/>
                  </a:ln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5" name="Freeform 23"/>
            <p:cNvSpPr>
              <a:spLocks noEditPoints="1"/>
            </p:cNvSpPr>
            <p:nvPr/>
          </p:nvSpPr>
          <p:spPr bwMode="auto">
            <a:xfrm>
              <a:off x="6665323" y="3562825"/>
              <a:ext cx="587140" cy="58714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49 h 384"/>
                <a:gd name="T12" fmla="*/ 35 w 384"/>
                <a:gd name="T13" fmla="*/ 192 h 384"/>
                <a:gd name="T14" fmla="*/ 192 w 384"/>
                <a:gd name="T15" fmla="*/ 35 h 384"/>
                <a:gd name="T16" fmla="*/ 349 w 384"/>
                <a:gd name="T17" fmla="*/ 192 h 384"/>
                <a:gd name="T18" fmla="*/ 192 w 384"/>
                <a:gd name="T19" fmla="*/ 34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49"/>
                  </a:moveTo>
                  <a:cubicBezTo>
                    <a:pt x="105" y="349"/>
                    <a:pt x="35" y="278"/>
                    <a:pt x="35" y="192"/>
                  </a:cubicBezTo>
                  <a:cubicBezTo>
                    <a:pt x="35" y="105"/>
                    <a:pt x="105" y="35"/>
                    <a:pt x="192" y="35"/>
                  </a:cubicBezTo>
                  <a:cubicBezTo>
                    <a:pt x="278" y="35"/>
                    <a:pt x="349" y="105"/>
                    <a:pt x="349" y="192"/>
                  </a:cubicBezTo>
                  <a:cubicBezTo>
                    <a:pt x="349" y="278"/>
                    <a:pt x="278" y="349"/>
                    <a:pt x="192" y="349"/>
                  </a:cubicBez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66" name="Group 23"/>
          <p:cNvGrpSpPr/>
          <p:nvPr/>
        </p:nvGrpSpPr>
        <p:grpSpPr>
          <a:xfrm>
            <a:off x="5759783" y="2907010"/>
            <a:ext cx="305693" cy="304332"/>
            <a:chOff x="7740352" y="3562825"/>
            <a:chExt cx="587140" cy="587140"/>
          </a:xfrm>
          <a:solidFill>
            <a:schemeClr val="bg1"/>
          </a:solidFill>
        </p:grpSpPr>
        <p:sp>
          <p:nvSpPr>
            <p:cNvPr id="67" name="Freeform 24"/>
            <p:cNvSpPr>
              <a:spLocks noEditPoints="1"/>
            </p:cNvSpPr>
            <p:nvPr/>
          </p:nvSpPr>
          <p:spPr bwMode="auto">
            <a:xfrm>
              <a:off x="7740352" y="3562825"/>
              <a:ext cx="587140" cy="58714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49 h 384"/>
                <a:gd name="T12" fmla="*/ 35 w 384"/>
                <a:gd name="T13" fmla="*/ 192 h 384"/>
                <a:gd name="T14" fmla="*/ 192 w 384"/>
                <a:gd name="T15" fmla="*/ 35 h 384"/>
                <a:gd name="T16" fmla="*/ 349 w 384"/>
                <a:gd name="T17" fmla="*/ 192 h 384"/>
                <a:gd name="T18" fmla="*/ 192 w 384"/>
                <a:gd name="T19" fmla="*/ 34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49"/>
                  </a:moveTo>
                  <a:cubicBezTo>
                    <a:pt x="105" y="349"/>
                    <a:pt x="35" y="278"/>
                    <a:pt x="35" y="192"/>
                  </a:cubicBezTo>
                  <a:cubicBezTo>
                    <a:pt x="35" y="105"/>
                    <a:pt x="105" y="35"/>
                    <a:pt x="192" y="35"/>
                  </a:cubicBezTo>
                  <a:cubicBezTo>
                    <a:pt x="278" y="35"/>
                    <a:pt x="349" y="105"/>
                    <a:pt x="349" y="192"/>
                  </a:cubicBezTo>
                  <a:cubicBezTo>
                    <a:pt x="349" y="278"/>
                    <a:pt x="278" y="349"/>
                    <a:pt x="192" y="349"/>
                  </a:cubicBez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8" name="Freeform 27"/>
            <p:cNvSpPr>
              <a:spLocks noEditPoints="1"/>
            </p:cNvSpPr>
            <p:nvPr/>
          </p:nvSpPr>
          <p:spPr bwMode="auto">
            <a:xfrm>
              <a:off x="7931746" y="3722078"/>
              <a:ext cx="204352" cy="268635"/>
            </a:xfrm>
            <a:custGeom>
              <a:avLst/>
              <a:gdLst>
                <a:gd name="T0" fmla="*/ 96 w 256"/>
                <a:gd name="T1" fmla="*/ 48 h 336"/>
                <a:gd name="T2" fmla="*/ 48 w 256"/>
                <a:gd name="T3" fmla="*/ 0 h 336"/>
                <a:gd name="T4" fmla="*/ 0 w 256"/>
                <a:gd name="T5" fmla="*/ 48 h 336"/>
                <a:gd name="T6" fmla="*/ 29 w 256"/>
                <a:gd name="T7" fmla="*/ 92 h 336"/>
                <a:gd name="T8" fmla="*/ 29 w 256"/>
                <a:gd name="T9" fmla="*/ 244 h 336"/>
                <a:gd name="T10" fmla="*/ 0 w 256"/>
                <a:gd name="T11" fmla="*/ 288 h 336"/>
                <a:gd name="T12" fmla="*/ 48 w 256"/>
                <a:gd name="T13" fmla="*/ 336 h 336"/>
                <a:gd name="T14" fmla="*/ 96 w 256"/>
                <a:gd name="T15" fmla="*/ 288 h 336"/>
                <a:gd name="T16" fmla="*/ 67 w 256"/>
                <a:gd name="T17" fmla="*/ 244 h 336"/>
                <a:gd name="T18" fmla="*/ 67 w 256"/>
                <a:gd name="T19" fmla="*/ 92 h 336"/>
                <a:gd name="T20" fmla="*/ 96 w 256"/>
                <a:gd name="T21" fmla="*/ 48 h 336"/>
                <a:gd name="T22" fmla="*/ 75 w 256"/>
                <a:gd name="T23" fmla="*/ 288 h 336"/>
                <a:gd name="T24" fmla="*/ 48 w 256"/>
                <a:gd name="T25" fmla="*/ 316 h 336"/>
                <a:gd name="T26" fmla="*/ 20 w 256"/>
                <a:gd name="T27" fmla="*/ 288 h 336"/>
                <a:gd name="T28" fmla="*/ 48 w 256"/>
                <a:gd name="T29" fmla="*/ 260 h 336"/>
                <a:gd name="T30" fmla="*/ 75 w 256"/>
                <a:gd name="T31" fmla="*/ 288 h 336"/>
                <a:gd name="T32" fmla="*/ 48 w 256"/>
                <a:gd name="T33" fmla="*/ 76 h 336"/>
                <a:gd name="T34" fmla="*/ 20 w 256"/>
                <a:gd name="T35" fmla="*/ 48 h 336"/>
                <a:gd name="T36" fmla="*/ 48 w 256"/>
                <a:gd name="T37" fmla="*/ 20 h 336"/>
                <a:gd name="T38" fmla="*/ 75 w 256"/>
                <a:gd name="T39" fmla="*/ 48 h 336"/>
                <a:gd name="T40" fmla="*/ 48 w 256"/>
                <a:gd name="T41" fmla="*/ 76 h 336"/>
                <a:gd name="T42" fmla="*/ 227 w 256"/>
                <a:gd name="T43" fmla="*/ 244 h 336"/>
                <a:gd name="T44" fmla="*/ 227 w 256"/>
                <a:gd name="T45" fmla="*/ 92 h 336"/>
                <a:gd name="T46" fmla="*/ 256 w 256"/>
                <a:gd name="T47" fmla="*/ 48 h 336"/>
                <a:gd name="T48" fmla="*/ 208 w 256"/>
                <a:gd name="T49" fmla="*/ 0 h 336"/>
                <a:gd name="T50" fmla="*/ 160 w 256"/>
                <a:gd name="T51" fmla="*/ 48 h 336"/>
                <a:gd name="T52" fmla="*/ 189 w 256"/>
                <a:gd name="T53" fmla="*/ 92 h 336"/>
                <a:gd name="T54" fmla="*/ 189 w 256"/>
                <a:gd name="T55" fmla="*/ 244 h 336"/>
                <a:gd name="T56" fmla="*/ 160 w 256"/>
                <a:gd name="T57" fmla="*/ 288 h 336"/>
                <a:gd name="T58" fmla="*/ 208 w 256"/>
                <a:gd name="T59" fmla="*/ 336 h 336"/>
                <a:gd name="T60" fmla="*/ 256 w 256"/>
                <a:gd name="T61" fmla="*/ 288 h 336"/>
                <a:gd name="T62" fmla="*/ 227 w 256"/>
                <a:gd name="T63" fmla="*/ 244 h 336"/>
                <a:gd name="T64" fmla="*/ 180 w 256"/>
                <a:gd name="T65" fmla="*/ 48 h 336"/>
                <a:gd name="T66" fmla="*/ 208 w 256"/>
                <a:gd name="T67" fmla="*/ 20 h 336"/>
                <a:gd name="T68" fmla="*/ 235 w 256"/>
                <a:gd name="T69" fmla="*/ 48 h 336"/>
                <a:gd name="T70" fmla="*/ 208 w 256"/>
                <a:gd name="T71" fmla="*/ 76 h 336"/>
                <a:gd name="T72" fmla="*/ 180 w 256"/>
                <a:gd name="T73" fmla="*/ 48 h 336"/>
                <a:gd name="T74" fmla="*/ 208 w 256"/>
                <a:gd name="T75" fmla="*/ 316 h 336"/>
                <a:gd name="T76" fmla="*/ 180 w 256"/>
                <a:gd name="T77" fmla="*/ 288 h 336"/>
                <a:gd name="T78" fmla="*/ 208 w 256"/>
                <a:gd name="T79" fmla="*/ 260 h 336"/>
                <a:gd name="T80" fmla="*/ 235 w 256"/>
                <a:gd name="T81" fmla="*/ 288 h 336"/>
                <a:gd name="T82" fmla="*/ 208 w 256"/>
                <a:gd name="T83" fmla="*/ 31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336">
                  <a:moveTo>
                    <a:pt x="96" y="48"/>
                  </a:moveTo>
                  <a:cubicBezTo>
                    <a:pt x="96" y="21"/>
                    <a:pt x="74" y="0"/>
                    <a:pt x="48" y="0"/>
                  </a:cubicBezTo>
                  <a:cubicBezTo>
                    <a:pt x="21" y="0"/>
                    <a:pt x="0" y="21"/>
                    <a:pt x="0" y="48"/>
                  </a:cubicBezTo>
                  <a:cubicBezTo>
                    <a:pt x="0" y="68"/>
                    <a:pt x="12" y="85"/>
                    <a:pt x="29" y="92"/>
                  </a:cubicBezTo>
                  <a:cubicBezTo>
                    <a:pt x="29" y="244"/>
                    <a:pt x="29" y="244"/>
                    <a:pt x="29" y="244"/>
                  </a:cubicBezTo>
                  <a:cubicBezTo>
                    <a:pt x="12" y="251"/>
                    <a:pt x="0" y="268"/>
                    <a:pt x="0" y="288"/>
                  </a:cubicBezTo>
                  <a:cubicBezTo>
                    <a:pt x="0" y="314"/>
                    <a:pt x="21" y="336"/>
                    <a:pt x="48" y="336"/>
                  </a:cubicBezTo>
                  <a:cubicBezTo>
                    <a:pt x="74" y="336"/>
                    <a:pt x="96" y="314"/>
                    <a:pt x="96" y="288"/>
                  </a:cubicBezTo>
                  <a:cubicBezTo>
                    <a:pt x="96" y="268"/>
                    <a:pt x="84" y="251"/>
                    <a:pt x="67" y="244"/>
                  </a:cubicBezTo>
                  <a:cubicBezTo>
                    <a:pt x="67" y="92"/>
                    <a:pt x="67" y="92"/>
                    <a:pt x="67" y="92"/>
                  </a:cubicBezTo>
                  <a:cubicBezTo>
                    <a:pt x="84" y="85"/>
                    <a:pt x="96" y="68"/>
                    <a:pt x="96" y="48"/>
                  </a:cubicBezTo>
                  <a:close/>
                  <a:moveTo>
                    <a:pt x="75" y="288"/>
                  </a:moveTo>
                  <a:cubicBezTo>
                    <a:pt x="75" y="303"/>
                    <a:pt x="63" y="316"/>
                    <a:pt x="48" y="316"/>
                  </a:cubicBezTo>
                  <a:cubicBezTo>
                    <a:pt x="32" y="316"/>
                    <a:pt x="20" y="303"/>
                    <a:pt x="20" y="288"/>
                  </a:cubicBezTo>
                  <a:cubicBezTo>
                    <a:pt x="20" y="273"/>
                    <a:pt x="32" y="260"/>
                    <a:pt x="48" y="260"/>
                  </a:cubicBezTo>
                  <a:cubicBezTo>
                    <a:pt x="63" y="260"/>
                    <a:pt x="75" y="273"/>
                    <a:pt x="75" y="288"/>
                  </a:cubicBezTo>
                  <a:close/>
                  <a:moveTo>
                    <a:pt x="48" y="76"/>
                  </a:moveTo>
                  <a:cubicBezTo>
                    <a:pt x="32" y="76"/>
                    <a:pt x="20" y="63"/>
                    <a:pt x="20" y="48"/>
                  </a:cubicBezTo>
                  <a:cubicBezTo>
                    <a:pt x="20" y="33"/>
                    <a:pt x="32" y="20"/>
                    <a:pt x="48" y="20"/>
                  </a:cubicBezTo>
                  <a:cubicBezTo>
                    <a:pt x="63" y="20"/>
                    <a:pt x="75" y="33"/>
                    <a:pt x="75" y="48"/>
                  </a:cubicBezTo>
                  <a:cubicBezTo>
                    <a:pt x="75" y="63"/>
                    <a:pt x="63" y="76"/>
                    <a:pt x="48" y="76"/>
                  </a:cubicBezTo>
                  <a:close/>
                  <a:moveTo>
                    <a:pt x="227" y="244"/>
                  </a:moveTo>
                  <a:cubicBezTo>
                    <a:pt x="227" y="92"/>
                    <a:pt x="227" y="92"/>
                    <a:pt x="227" y="92"/>
                  </a:cubicBezTo>
                  <a:cubicBezTo>
                    <a:pt x="244" y="85"/>
                    <a:pt x="256" y="68"/>
                    <a:pt x="256" y="48"/>
                  </a:cubicBezTo>
                  <a:cubicBezTo>
                    <a:pt x="256" y="21"/>
                    <a:pt x="234" y="0"/>
                    <a:pt x="208" y="0"/>
                  </a:cubicBezTo>
                  <a:cubicBezTo>
                    <a:pt x="181" y="0"/>
                    <a:pt x="160" y="21"/>
                    <a:pt x="160" y="48"/>
                  </a:cubicBezTo>
                  <a:cubicBezTo>
                    <a:pt x="160" y="68"/>
                    <a:pt x="172" y="85"/>
                    <a:pt x="189" y="92"/>
                  </a:cubicBezTo>
                  <a:cubicBezTo>
                    <a:pt x="189" y="244"/>
                    <a:pt x="189" y="244"/>
                    <a:pt x="189" y="244"/>
                  </a:cubicBezTo>
                  <a:cubicBezTo>
                    <a:pt x="172" y="251"/>
                    <a:pt x="160" y="268"/>
                    <a:pt x="160" y="288"/>
                  </a:cubicBezTo>
                  <a:cubicBezTo>
                    <a:pt x="160" y="314"/>
                    <a:pt x="181" y="336"/>
                    <a:pt x="208" y="336"/>
                  </a:cubicBezTo>
                  <a:cubicBezTo>
                    <a:pt x="234" y="336"/>
                    <a:pt x="256" y="314"/>
                    <a:pt x="256" y="288"/>
                  </a:cubicBezTo>
                  <a:cubicBezTo>
                    <a:pt x="256" y="268"/>
                    <a:pt x="244" y="251"/>
                    <a:pt x="227" y="244"/>
                  </a:cubicBezTo>
                  <a:close/>
                  <a:moveTo>
                    <a:pt x="180" y="48"/>
                  </a:moveTo>
                  <a:cubicBezTo>
                    <a:pt x="180" y="33"/>
                    <a:pt x="192" y="20"/>
                    <a:pt x="208" y="20"/>
                  </a:cubicBezTo>
                  <a:cubicBezTo>
                    <a:pt x="223" y="20"/>
                    <a:pt x="235" y="33"/>
                    <a:pt x="235" y="48"/>
                  </a:cubicBezTo>
                  <a:cubicBezTo>
                    <a:pt x="235" y="63"/>
                    <a:pt x="223" y="76"/>
                    <a:pt x="208" y="76"/>
                  </a:cubicBezTo>
                  <a:cubicBezTo>
                    <a:pt x="192" y="76"/>
                    <a:pt x="180" y="63"/>
                    <a:pt x="180" y="48"/>
                  </a:cubicBezTo>
                  <a:close/>
                  <a:moveTo>
                    <a:pt x="208" y="316"/>
                  </a:moveTo>
                  <a:cubicBezTo>
                    <a:pt x="192" y="316"/>
                    <a:pt x="180" y="303"/>
                    <a:pt x="180" y="288"/>
                  </a:cubicBezTo>
                  <a:cubicBezTo>
                    <a:pt x="180" y="273"/>
                    <a:pt x="192" y="260"/>
                    <a:pt x="208" y="260"/>
                  </a:cubicBezTo>
                  <a:cubicBezTo>
                    <a:pt x="223" y="260"/>
                    <a:pt x="235" y="273"/>
                    <a:pt x="235" y="288"/>
                  </a:cubicBezTo>
                  <a:cubicBezTo>
                    <a:pt x="235" y="303"/>
                    <a:pt x="223" y="316"/>
                    <a:pt x="208" y="316"/>
                  </a:cubicBezTo>
                  <a:close/>
                </a:path>
              </a:pathLst>
            </a:custGeom>
            <a:grpFill/>
            <a:ln>
              <a:noFill/>
            </a:ln>
          </p:spPr>
          <p:txBody>
            <a:bodyPr lIns="105484" tIns="52741" rIns="105484" bIns="52741"/>
            <a:lstStyle/>
            <a:p>
              <a:pPr algn="just" eaLnBrk="1" hangingPunct="1">
                <a:lnSpc>
                  <a:spcPct val="120000"/>
                </a:lnSpc>
                <a:spcBef>
                  <a:spcPts val="0"/>
                </a:spcBef>
                <a:spcAft>
                  <a:spcPts val="0"/>
                </a:spcAft>
                <a:defRPr/>
              </a:pPr>
              <a:endParaRPr lang="en-US" sz="600" noProof="1">
                <a:solidFill>
                  <a:schemeClr val="bg1">
                    <a:lumMod val="85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69" name="Content Placeholder 2"/>
          <p:cNvSpPr txBox="1">
            <a:spLocks noChangeArrowheads="1"/>
          </p:cNvSpPr>
          <p:nvPr/>
        </p:nvSpPr>
        <p:spPr bwMode="auto">
          <a:xfrm>
            <a:off x="1875790" y="1517847"/>
            <a:ext cx="2086928" cy="375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just" eaLnBrk="1" hangingPunct="1">
              <a:lnSpc>
                <a:spcPct val="120000"/>
              </a:lnSpc>
              <a:buFont typeface="Arial" panose="020B0604020202020204"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0" name="Content Placeholder 2"/>
          <p:cNvSpPr txBox="1">
            <a:spLocks noChangeArrowheads="1"/>
          </p:cNvSpPr>
          <p:nvPr/>
        </p:nvSpPr>
        <p:spPr bwMode="auto">
          <a:xfrm>
            <a:off x="1875790" y="2326554"/>
            <a:ext cx="2086928" cy="375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just" eaLnBrk="1" hangingPunct="1">
              <a:lnSpc>
                <a:spcPct val="120000"/>
              </a:lnSpc>
              <a:buFont typeface="Arial" panose="020B0604020202020204"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1" name="Content Placeholder 2"/>
          <p:cNvSpPr txBox="1">
            <a:spLocks noChangeArrowheads="1"/>
          </p:cNvSpPr>
          <p:nvPr/>
        </p:nvSpPr>
        <p:spPr bwMode="auto">
          <a:xfrm>
            <a:off x="1875790" y="3134154"/>
            <a:ext cx="2086928" cy="376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712" tIns="36855" rIns="73712" bIns="36855"/>
          <a:lstStyle/>
          <a:p>
            <a:pPr algn="just" eaLnBrk="1" hangingPunct="1">
              <a:lnSpc>
                <a:spcPct val="120000"/>
              </a:lnSpc>
              <a:buFont typeface="Arial" panose="020B0604020202020204"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2" name="TextBox 71"/>
          <p:cNvSpPr txBox="1">
            <a:spLocks noChangeArrowheads="1"/>
          </p:cNvSpPr>
          <p:nvPr/>
        </p:nvSpPr>
        <p:spPr bwMode="auto">
          <a:xfrm>
            <a:off x="1896904" y="3942861"/>
            <a:ext cx="2110263" cy="344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116081" bIns="2902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28" name="平行四边形 27"/>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平行四边形 28"/>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平行四边形 29"/>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平行四边形 30"/>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2" name="直接连接符 31"/>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3"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34" name="Group 7"/>
          <p:cNvGrpSpPr/>
          <p:nvPr/>
        </p:nvGrpSpPr>
        <p:grpSpPr bwMode="auto">
          <a:xfrm>
            <a:off x="180202" y="181952"/>
            <a:ext cx="216018" cy="113981"/>
            <a:chOff x="0" y="0"/>
            <a:chExt cx="1041399" cy="549275"/>
          </a:xfrm>
          <a:solidFill>
            <a:srgbClr val="133E73"/>
          </a:solidFill>
        </p:grpSpPr>
        <p:sp>
          <p:nvSpPr>
            <p:cNvPr id="35"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6"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7"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38"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4"/>
                                        </p:tgtEl>
                                        <p:attrNameLst>
                                          <p:attrName>style.visibility</p:attrName>
                                        </p:attrNameLst>
                                      </p:cBhvr>
                                      <p:to>
                                        <p:strVal val="visible"/>
                                      </p:to>
                                    </p:set>
                                    <p:anim calcmode="lin" valueType="num">
                                      <p:cBhvr additive="base">
                                        <p:cTn id="7" dur="500" fill="hold"/>
                                        <p:tgtEl>
                                          <p:spTgt spid="34"/>
                                        </p:tgtEl>
                                        <p:attrNameLst>
                                          <p:attrName>ppt_x</p:attrName>
                                        </p:attrNameLst>
                                      </p:cBhvr>
                                      <p:tavLst>
                                        <p:tav tm="0">
                                          <p:val>
                                            <p:strVal val="0-#ppt_w/2"/>
                                          </p:val>
                                        </p:tav>
                                        <p:tav tm="100000">
                                          <p:val>
                                            <p:strVal val="#ppt_x"/>
                                          </p:val>
                                        </p:tav>
                                      </p:tavLst>
                                    </p:anim>
                                    <p:anim calcmode="lin" valueType="num">
                                      <p:cBhvr additive="base">
                                        <p:cTn id="8" dur="500" fill="hold"/>
                                        <p:tgtEl>
                                          <p:spTgt spid="3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33"/>
                                        </p:tgtEl>
                                        <p:attrNameLst>
                                          <p:attrName>style.visibility</p:attrName>
                                        </p:attrNameLst>
                                      </p:cBhvr>
                                      <p:to>
                                        <p:strVal val="visible"/>
                                      </p:to>
                                    </p:set>
                                    <p:anim calcmode="lin" valueType="num">
                                      <p:cBhvr>
                                        <p:cTn id="12" dur="500" fill="hold"/>
                                        <p:tgtEl>
                                          <p:spTgt spid="33"/>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33"/>
                                        </p:tgtEl>
                                        <p:attrNameLst>
                                          <p:attrName>ppt_y</p:attrName>
                                        </p:attrNameLst>
                                      </p:cBhvr>
                                      <p:tavLst>
                                        <p:tav tm="0">
                                          <p:val>
                                            <p:strVal val="#ppt_y"/>
                                          </p:val>
                                        </p:tav>
                                        <p:tav tm="100000">
                                          <p:val>
                                            <p:strVal val="#ppt_y"/>
                                          </p:val>
                                        </p:tav>
                                      </p:tavLst>
                                    </p:anim>
                                    <p:anim calcmode="lin" valueType="num">
                                      <p:cBhvr>
                                        <p:cTn id="14" dur="500" fill="hold"/>
                                        <p:tgtEl>
                                          <p:spTgt spid="33"/>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33"/>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33"/>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30"/>
                                        </p:tgtEl>
                                        <p:attrNameLst>
                                          <p:attrName>fillcolor</p:attrName>
                                        </p:attrNameLst>
                                      </p:cBhvr>
                                      <p:to>
                                        <a:srgbClr val="00AEEF"/>
                                      </p:to>
                                    </p:animClr>
                                    <p:set>
                                      <p:cBhvr>
                                        <p:cTn id="20" dur="300" fill="hold"/>
                                        <p:tgtEl>
                                          <p:spTgt spid="30"/>
                                        </p:tgtEl>
                                        <p:attrNameLst>
                                          <p:attrName>fill.type</p:attrName>
                                        </p:attrNameLst>
                                      </p:cBhvr>
                                      <p:to>
                                        <p:strVal val="solid"/>
                                      </p:to>
                                    </p:set>
                                    <p:set>
                                      <p:cBhvr>
                                        <p:cTn id="21" dur="300" fill="hold"/>
                                        <p:tgtEl>
                                          <p:spTgt spid="30"/>
                                        </p:tgtEl>
                                        <p:attrNameLst>
                                          <p:attrName>fill.on</p:attrName>
                                        </p:attrNameLst>
                                      </p:cBhvr>
                                      <p:to>
                                        <p:strVal val="true"/>
                                      </p:to>
                                    </p:set>
                                  </p:childTnLst>
                                </p:cTn>
                              </p:par>
                              <p:par>
                                <p:cTn id="22" presetID="31" presetClass="entr" presetSubtype="0" fill="hold" nodeType="withEffect">
                                  <p:stCondLst>
                                    <p:cond delay="0"/>
                                  </p:stCondLst>
                                  <p:childTnLst>
                                    <p:set>
                                      <p:cBhvr>
                                        <p:cTn id="23" dur="1" fill="hold">
                                          <p:stCondLst>
                                            <p:cond delay="0"/>
                                          </p:stCondLst>
                                        </p:cTn>
                                        <p:tgtEl>
                                          <p:spTgt spid="47"/>
                                        </p:tgtEl>
                                        <p:attrNameLst>
                                          <p:attrName>style.visibility</p:attrName>
                                        </p:attrNameLst>
                                      </p:cBhvr>
                                      <p:to>
                                        <p:strVal val="visible"/>
                                      </p:to>
                                    </p:set>
                                    <p:anim calcmode="lin" valueType="num">
                                      <p:cBhvr>
                                        <p:cTn id="24" dur="2400" fill="hold"/>
                                        <p:tgtEl>
                                          <p:spTgt spid="47"/>
                                        </p:tgtEl>
                                        <p:attrNameLst>
                                          <p:attrName>ppt_w</p:attrName>
                                        </p:attrNameLst>
                                      </p:cBhvr>
                                      <p:tavLst>
                                        <p:tav tm="0">
                                          <p:val>
                                            <p:fltVal val="0"/>
                                          </p:val>
                                        </p:tav>
                                        <p:tav tm="100000">
                                          <p:val>
                                            <p:strVal val="#ppt_w"/>
                                          </p:val>
                                        </p:tav>
                                      </p:tavLst>
                                    </p:anim>
                                    <p:anim calcmode="lin" valueType="num">
                                      <p:cBhvr>
                                        <p:cTn id="25" dur="2400" fill="hold"/>
                                        <p:tgtEl>
                                          <p:spTgt spid="47"/>
                                        </p:tgtEl>
                                        <p:attrNameLst>
                                          <p:attrName>ppt_h</p:attrName>
                                        </p:attrNameLst>
                                      </p:cBhvr>
                                      <p:tavLst>
                                        <p:tav tm="0">
                                          <p:val>
                                            <p:fltVal val="0"/>
                                          </p:val>
                                        </p:tav>
                                        <p:tav tm="100000">
                                          <p:val>
                                            <p:strVal val="#ppt_h"/>
                                          </p:val>
                                        </p:tav>
                                      </p:tavLst>
                                    </p:anim>
                                    <p:anim calcmode="lin" valueType="num">
                                      <p:cBhvr>
                                        <p:cTn id="26" dur="2400" fill="hold"/>
                                        <p:tgtEl>
                                          <p:spTgt spid="47"/>
                                        </p:tgtEl>
                                        <p:attrNameLst>
                                          <p:attrName>style.rotation</p:attrName>
                                        </p:attrNameLst>
                                      </p:cBhvr>
                                      <p:tavLst>
                                        <p:tav tm="0">
                                          <p:val>
                                            <p:fltVal val="90"/>
                                          </p:val>
                                        </p:tav>
                                        <p:tav tm="100000">
                                          <p:val>
                                            <p:fltVal val="0"/>
                                          </p:val>
                                        </p:tav>
                                      </p:tavLst>
                                    </p:anim>
                                    <p:animEffect transition="in" filter="fade">
                                      <p:cBhvr>
                                        <p:cTn id="27" dur="2400"/>
                                        <p:tgtEl>
                                          <p:spTgt spid="47"/>
                                        </p:tgtEl>
                                      </p:cBhvr>
                                    </p:animEffect>
                                  </p:childTnLst>
                                </p:cTn>
                              </p:par>
                              <p:par>
                                <p:cTn id="28" presetID="53" presetClass="entr" presetSubtype="16" fill="hold" nodeType="withEffect">
                                  <p:stCondLst>
                                    <p:cond delay="2500"/>
                                  </p:stCondLst>
                                  <p:childTnLst>
                                    <p:set>
                                      <p:cBhvr>
                                        <p:cTn id="29" dur="1" fill="hold">
                                          <p:stCondLst>
                                            <p:cond delay="0"/>
                                          </p:stCondLst>
                                        </p:cTn>
                                        <p:tgtEl>
                                          <p:spTgt spid="63"/>
                                        </p:tgtEl>
                                        <p:attrNameLst>
                                          <p:attrName>style.visibility</p:attrName>
                                        </p:attrNameLst>
                                      </p:cBhvr>
                                      <p:to>
                                        <p:strVal val="visible"/>
                                      </p:to>
                                    </p:set>
                                    <p:anim calcmode="lin" valueType="num">
                                      <p:cBhvr>
                                        <p:cTn id="30" dur="500" fill="hold"/>
                                        <p:tgtEl>
                                          <p:spTgt spid="63"/>
                                        </p:tgtEl>
                                        <p:attrNameLst>
                                          <p:attrName>ppt_w</p:attrName>
                                        </p:attrNameLst>
                                      </p:cBhvr>
                                      <p:tavLst>
                                        <p:tav tm="0">
                                          <p:val>
                                            <p:fltVal val="0"/>
                                          </p:val>
                                        </p:tav>
                                        <p:tav tm="100000">
                                          <p:val>
                                            <p:strVal val="#ppt_w"/>
                                          </p:val>
                                        </p:tav>
                                      </p:tavLst>
                                    </p:anim>
                                    <p:anim calcmode="lin" valueType="num">
                                      <p:cBhvr>
                                        <p:cTn id="31" dur="500" fill="hold"/>
                                        <p:tgtEl>
                                          <p:spTgt spid="63"/>
                                        </p:tgtEl>
                                        <p:attrNameLst>
                                          <p:attrName>ppt_h</p:attrName>
                                        </p:attrNameLst>
                                      </p:cBhvr>
                                      <p:tavLst>
                                        <p:tav tm="0">
                                          <p:val>
                                            <p:fltVal val="0"/>
                                          </p:val>
                                        </p:tav>
                                        <p:tav tm="100000">
                                          <p:val>
                                            <p:strVal val="#ppt_h"/>
                                          </p:val>
                                        </p:tav>
                                      </p:tavLst>
                                    </p:anim>
                                    <p:animEffect transition="in" filter="fade">
                                      <p:cBhvr>
                                        <p:cTn id="32" dur="500"/>
                                        <p:tgtEl>
                                          <p:spTgt spid="63"/>
                                        </p:tgtEl>
                                      </p:cBhvr>
                                    </p:animEffect>
                                  </p:childTnLst>
                                </p:cTn>
                              </p:par>
                              <p:par>
                                <p:cTn id="33" presetID="53" presetClass="entr" presetSubtype="16" fill="hold" nodeType="withEffect">
                                  <p:stCondLst>
                                    <p:cond delay="3000"/>
                                  </p:stCondLst>
                                  <p:childTnLst>
                                    <p:set>
                                      <p:cBhvr>
                                        <p:cTn id="34" dur="1" fill="hold">
                                          <p:stCondLst>
                                            <p:cond delay="0"/>
                                          </p:stCondLst>
                                        </p:cTn>
                                        <p:tgtEl>
                                          <p:spTgt spid="66"/>
                                        </p:tgtEl>
                                        <p:attrNameLst>
                                          <p:attrName>style.visibility</p:attrName>
                                        </p:attrNameLst>
                                      </p:cBhvr>
                                      <p:to>
                                        <p:strVal val="visible"/>
                                      </p:to>
                                    </p:set>
                                    <p:anim calcmode="lin" valueType="num">
                                      <p:cBhvr>
                                        <p:cTn id="35" dur="500" fill="hold"/>
                                        <p:tgtEl>
                                          <p:spTgt spid="66"/>
                                        </p:tgtEl>
                                        <p:attrNameLst>
                                          <p:attrName>ppt_w</p:attrName>
                                        </p:attrNameLst>
                                      </p:cBhvr>
                                      <p:tavLst>
                                        <p:tav tm="0">
                                          <p:val>
                                            <p:fltVal val="0"/>
                                          </p:val>
                                        </p:tav>
                                        <p:tav tm="100000">
                                          <p:val>
                                            <p:strVal val="#ppt_w"/>
                                          </p:val>
                                        </p:tav>
                                      </p:tavLst>
                                    </p:anim>
                                    <p:anim calcmode="lin" valueType="num">
                                      <p:cBhvr>
                                        <p:cTn id="36" dur="500" fill="hold"/>
                                        <p:tgtEl>
                                          <p:spTgt spid="66"/>
                                        </p:tgtEl>
                                        <p:attrNameLst>
                                          <p:attrName>ppt_h</p:attrName>
                                        </p:attrNameLst>
                                      </p:cBhvr>
                                      <p:tavLst>
                                        <p:tav tm="0">
                                          <p:val>
                                            <p:fltVal val="0"/>
                                          </p:val>
                                        </p:tav>
                                        <p:tav tm="100000">
                                          <p:val>
                                            <p:strVal val="#ppt_h"/>
                                          </p:val>
                                        </p:tav>
                                      </p:tavLst>
                                    </p:anim>
                                    <p:animEffect transition="in" filter="fade">
                                      <p:cBhvr>
                                        <p:cTn id="37" dur="500"/>
                                        <p:tgtEl>
                                          <p:spTgt spid="66"/>
                                        </p:tgtEl>
                                      </p:cBhvr>
                                    </p:animEffect>
                                  </p:childTnLst>
                                </p:cTn>
                              </p:par>
                              <p:par>
                                <p:cTn id="38" presetID="53" presetClass="entr" presetSubtype="16" fill="hold" nodeType="withEffect">
                                  <p:stCondLst>
                                    <p:cond delay="3500"/>
                                  </p:stCondLst>
                                  <p:childTnLst>
                                    <p:set>
                                      <p:cBhvr>
                                        <p:cTn id="39" dur="1" fill="hold">
                                          <p:stCondLst>
                                            <p:cond delay="0"/>
                                          </p:stCondLst>
                                        </p:cTn>
                                        <p:tgtEl>
                                          <p:spTgt spid="60"/>
                                        </p:tgtEl>
                                        <p:attrNameLst>
                                          <p:attrName>style.visibility</p:attrName>
                                        </p:attrNameLst>
                                      </p:cBhvr>
                                      <p:to>
                                        <p:strVal val="visible"/>
                                      </p:to>
                                    </p:set>
                                    <p:anim calcmode="lin" valueType="num">
                                      <p:cBhvr>
                                        <p:cTn id="40" dur="500" fill="hold"/>
                                        <p:tgtEl>
                                          <p:spTgt spid="60"/>
                                        </p:tgtEl>
                                        <p:attrNameLst>
                                          <p:attrName>ppt_w</p:attrName>
                                        </p:attrNameLst>
                                      </p:cBhvr>
                                      <p:tavLst>
                                        <p:tav tm="0">
                                          <p:val>
                                            <p:fltVal val="0"/>
                                          </p:val>
                                        </p:tav>
                                        <p:tav tm="100000">
                                          <p:val>
                                            <p:strVal val="#ppt_w"/>
                                          </p:val>
                                        </p:tav>
                                      </p:tavLst>
                                    </p:anim>
                                    <p:anim calcmode="lin" valueType="num">
                                      <p:cBhvr>
                                        <p:cTn id="41" dur="500" fill="hold"/>
                                        <p:tgtEl>
                                          <p:spTgt spid="60"/>
                                        </p:tgtEl>
                                        <p:attrNameLst>
                                          <p:attrName>ppt_h</p:attrName>
                                        </p:attrNameLst>
                                      </p:cBhvr>
                                      <p:tavLst>
                                        <p:tav tm="0">
                                          <p:val>
                                            <p:fltVal val="0"/>
                                          </p:val>
                                        </p:tav>
                                        <p:tav tm="100000">
                                          <p:val>
                                            <p:strVal val="#ppt_h"/>
                                          </p:val>
                                        </p:tav>
                                      </p:tavLst>
                                    </p:anim>
                                    <p:animEffect transition="in" filter="fade">
                                      <p:cBhvr>
                                        <p:cTn id="42" dur="500"/>
                                        <p:tgtEl>
                                          <p:spTgt spid="60"/>
                                        </p:tgtEl>
                                      </p:cBhvr>
                                    </p:animEffect>
                                  </p:childTnLst>
                                </p:cTn>
                              </p:par>
                              <p:par>
                                <p:cTn id="43" presetID="22" presetClass="entr" presetSubtype="8" fill="hold" grpId="0" nodeType="withEffect">
                                  <p:stCondLst>
                                    <p:cond delay="4000"/>
                                  </p:stCondLst>
                                  <p:childTnLst>
                                    <p:set>
                                      <p:cBhvr>
                                        <p:cTn id="44" dur="1" fill="hold">
                                          <p:stCondLst>
                                            <p:cond delay="0"/>
                                          </p:stCondLst>
                                        </p:cTn>
                                        <p:tgtEl>
                                          <p:spTgt spid="59"/>
                                        </p:tgtEl>
                                        <p:attrNameLst>
                                          <p:attrName>style.visibility</p:attrName>
                                        </p:attrNameLst>
                                      </p:cBhvr>
                                      <p:to>
                                        <p:strVal val="visible"/>
                                      </p:to>
                                    </p:set>
                                    <p:animEffect transition="in" filter="wipe(left)">
                                      <p:cBhvr>
                                        <p:cTn id="45" dur="500"/>
                                        <p:tgtEl>
                                          <p:spTgt spid="59"/>
                                        </p:tgtEl>
                                      </p:cBhvr>
                                    </p:animEffect>
                                  </p:childTnLst>
                                </p:cTn>
                              </p:par>
                              <p:par>
                                <p:cTn id="46" presetID="22" presetClass="entr" presetSubtype="8" fill="hold" grpId="0" nodeType="withEffect">
                                  <p:stCondLst>
                                    <p:cond delay="4000"/>
                                  </p:stCondLst>
                                  <p:childTnLst>
                                    <p:set>
                                      <p:cBhvr>
                                        <p:cTn id="47" dur="1" fill="hold">
                                          <p:stCondLst>
                                            <p:cond delay="0"/>
                                          </p:stCondLst>
                                        </p:cTn>
                                        <p:tgtEl>
                                          <p:spTgt spid="57"/>
                                        </p:tgtEl>
                                        <p:attrNameLst>
                                          <p:attrName>style.visibility</p:attrName>
                                        </p:attrNameLst>
                                      </p:cBhvr>
                                      <p:to>
                                        <p:strVal val="visible"/>
                                      </p:to>
                                    </p:set>
                                    <p:animEffect transition="in" filter="wipe(left)">
                                      <p:cBhvr>
                                        <p:cTn id="48" dur="500"/>
                                        <p:tgtEl>
                                          <p:spTgt spid="57"/>
                                        </p:tgtEl>
                                      </p:cBhvr>
                                    </p:animEffect>
                                  </p:childTnLst>
                                </p:cTn>
                              </p:par>
                              <p:par>
                                <p:cTn id="49" presetID="22" presetClass="entr" presetSubtype="8" fill="hold" grpId="0" nodeType="withEffect">
                                  <p:stCondLst>
                                    <p:cond delay="4000"/>
                                  </p:stCondLst>
                                  <p:childTnLst>
                                    <p:set>
                                      <p:cBhvr>
                                        <p:cTn id="50" dur="1" fill="hold">
                                          <p:stCondLst>
                                            <p:cond delay="0"/>
                                          </p:stCondLst>
                                        </p:cTn>
                                        <p:tgtEl>
                                          <p:spTgt spid="58"/>
                                        </p:tgtEl>
                                        <p:attrNameLst>
                                          <p:attrName>style.visibility</p:attrName>
                                        </p:attrNameLst>
                                      </p:cBhvr>
                                      <p:to>
                                        <p:strVal val="visible"/>
                                      </p:to>
                                    </p:set>
                                    <p:animEffect transition="in" filter="wipe(left)">
                                      <p:cBhvr>
                                        <p:cTn id="51" dur="500"/>
                                        <p:tgtEl>
                                          <p:spTgt spid="58"/>
                                        </p:tgtEl>
                                      </p:cBhvr>
                                    </p:animEffect>
                                  </p:childTnLst>
                                </p:cTn>
                              </p:par>
                            </p:childTnLst>
                          </p:cTn>
                        </p:par>
                        <p:par>
                          <p:cTn id="52" fill="hold">
                            <p:stCondLst>
                              <p:cond delay="1799"/>
                            </p:stCondLst>
                            <p:childTnLst>
                              <p:par>
                                <p:cTn id="53" presetID="10" presetClass="entr" presetSubtype="0" fill="hold" grpId="0" nodeType="afterEffect">
                                  <p:stCondLst>
                                    <p:cond delay="0"/>
                                  </p:stCondLst>
                                  <p:childTnLst>
                                    <p:set>
                                      <p:cBhvr>
                                        <p:cTn id="54" dur="1" fill="hold">
                                          <p:stCondLst>
                                            <p:cond delay="0"/>
                                          </p:stCondLst>
                                        </p:cTn>
                                        <p:tgtEl>
                                          <p:spTgt spid="69"/>
                                        </p:tgtEl>
                                        <p:attrNameLst>
                                          <p:attrName>style.visibility</p:attrName>
                                        </p:attrNameLst>
                                      </p:cBhvr>
                                      <p:to>
                                        <p:strVal val="visible"/>
                                      </p:to>
                                    </p:set>
                                    <p:animEffect transition="in" filter="fade">
                                      <p:cBhvr>
                                        <p:cTn id="55" dur="500"/>
                                        <p:tgtEl>
                                          <p:spTgt spid="69"/>
                                        </p:tgtEl>
                                      </p:cBhvr>
                                    </p:animEffect>
                                  </p:childTnLst>
                                </p:cTn>
                              </p:par>
                            </p:childTnLst>
                          </p:cTn>
                        </p:par>
                        <p:par>
                          <p:cTn id="56" fill="hold">
                            <p:stCondLst>
                              <p:cond delay="2299"/>
                            </p:stCondLst>
                            <p:childTnLst>
                              <p:par>
                                <p:cTn id="57" presetID="10" presetClass="entr" presetSubtype="0" fill="hold" grpId="0" nodeType="afterEffect">
                                  <p:stCondLst>
                                    <p:cond delay="0"/>
                                  </p:stCondLst>
                                  <p:childTnLst>
                                    <p:set>
                                      <p:cBhvr>
                                        <p:cTn id="58" dur="1" fill="hold">
                                          <p:stCondLst>
                                            <p:cond delay="0"/>
                                          </p:stCondLst>
                                        </p:cTn>
                                        <p:tgtEl>
                                          <p:spTgt spid="70"/>
                                        </p:tgtEl>
                                        <p:attrNameLst>
                                          <p:attrName>style.visibility</p:attrName>
                                        </p:attrNameLst>
                                      </p:cBhvr>
                                      <p:to>
                                        <p:strVal val="visible"/>
                                      </p:to>
                                    </p:set>
                                    <p:animEffect transition="in" filter="fade">
                                      <p:cBhvr>
                                        <p:cTn id="59" dur="500"/>
                                        <p:tgtEl>
                                          <p:spTgt spid="70"/>
                                        </p:tgtEl>
                                      </p:cBhvr>
                                    </p:animEffect>
                                  </p:childTnLst>
                                </p:cTn>
                              </p:par>
                            </p:childTnLst>
                          </p:cTn>
                        </p:par>
                        <p:par>
                          <p:cTn id="60" fill="hold">
                            <p:stCondLst>
                              <p:cond delay="2799"/>
                            </p:stCondLst>
                            <p:childTnLst>
                              <p:par>
                                <p:cTn id="61" presetID="10" presetClass="entr" presetSubtype="0" fill="hold" grpId="0" nodeType="afterEffect">
                                  <p:stCondLst>
                                    <p:cond delay="0"/>
                                  </p:stCondLst>
                                  <p:childTnLst>
                                    <p:set>
                                      <p:cBhvr>
                                        <p:cTn id="62" dur="1" fill="hold">
                                          <p:stCondLst>
                                            <p:cond delay="0"/>
                                          </p:stCondLst>
                                        </p:cTn>
                                        <p:tgtEl>
                                          <p:spTgt spid="71"/>
                                        </p:tgtEl>
                                        <p:attrNameLst>
                                          <p:attrName>style.visibility</p:attrName>
                                        </p:attrNameLst>
                                      </p:cBhvr>
                                      <p:to>
                                        <p:strVal val="visible"/>
                                      </p:to>
                                    </p:set>
                                    <p:animEffect transition="in" filter="fade">
                                      <p:cBhvr>
                                        <p:cTn id="63" dur="500"/>
                                        <p:tgtEl>
                                          <p:spTgt spid="71"/>
                                        </p:tgtEl>
                                      </p:cBhvr>
                                    </p:animEffect>
                                  </p:childTnLst>
                                </p:cTn>
                              </p:par>
                              <p:par>
                                <p:cTn id="64" presetID="2" presetClass="entr" presetSubtype="4" fill="hold" grpId="0" nodeType="withEffect">
                                  <p:stCondLst>
                                    <p:cond delay="500"/>
                                  </p:stCondLst>
                                  <p:childTnLst>
                                    <p:set>
                                      <p:cBhvr>
                                        <p:cTn id="65" dur="1" fill="hold">
                                          <p:stCondLst>
                                            <p:cond delay="0"/>
                                          </p:stCondLst>
                                        </p:cTn>
                                        <p:tgtEl>
                                          <p:spTgt spid="72"/>
                                        </p:tgtEl>
                                        <p:attrNameLst>
                                          <p:attrName>style.visibility</p:attrName>
                                        </p:attrNameLst>
                                      </p:cBhvr>
                                      <p:to>
                                        <p:strVal val="visible"/>
                                      </p:to>
                                    </p:set>
                                    <p:anim calcmode="lin" valueType="num">
                                      <p:cBhvr>
                                        <p:cTn id="66" dur="500" fill="hold"/>
                                        <p:tgtEl>
                                          <p:spTgt spid="72"/>
                                        </p:tgtEl>
                                        <p:attrNameLst>
                                          <p:attrName>ppt_x</p:attrName>
                                        </p:attrNameLst>
                                      </p:cBhvr>
                                      <p:tavLst>
                                        <p:tav tm="0">
                                          <p:val>
                                            <p:strVal val="#ppt_x"/>
                                          </p:val>
                                        </p:tav>
                                        <p:tav tm="100000">
                                          <p:val>
                                            <p:strVal val="#ppt_x"/>
                                          </p:val>
                                        </p:tav>
                                      </p:tavLst>
                                    </p:anim>
                                    <p:anim calcmode="lin" valueType="num">
                                      <p:cBhvr>
                                        <p:cTn id="67" dur="500" fill="hold"/>
                                        <p:tgtEl>
                                          <p:spTgt spid="72"/>
                                        </p:tgtEl>
                                        <p:attrNameLst>
                                          <p:attrName>ppt_y</p:attrName>
                                        </p:attrNameLst>
                                      </p:cBhvr>
                                      <p:tavLst>
                                        <p:tav tm="0">
                                          <p:val>
                                            <p:strVal val="1+#ppt_h/2"/>
                                          </p:val>
                                        </p:tav>
                                        <p:tav tm="100000">
                                          <p:val>
                                            <p:strVal val="#ppt_y"/>
                                          </p:val>
                                        </p:tav>
                                      </p:tavLst>
                                    </p:anim>
                                  </p:childTnLst>
                                </p:cTn>
                              </p:par>
                            </p:childTnLst>
                          </p:cTn>
                        </p:par>
                        <p:par>
                          <p:cTn id="68" fill="hold">
                            <p:stCondLst>
                              <p:cond delay="3299"/>
                            </p:stCondLst>
                            <p:childTnLst>
                              <p:par>
                                <p:cTn id="69" presetID="1" presetClass="mediacall" presetSubtype="0" fill="hold" nodeType="afterEffect">
                                  <p:stCondLst>
                                    <p:cond delay="0"/>
                                  </p:stCondLst>
                                  <p:childTnLst>
                                    <p:cmd type="call" cmd="playFrom(0.0)">
                                      <p:cBhvr>
                                        <p:cTn id="70" dur="1" fill="hold"/>
                                        <p:tgtEl>
                                          <p:spTgt spid="3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71" fill="hold" display="0">
                  <p:stCondLst>
                    <p:cond delay="indefinite"/>
                  </p:stCondLst>
                  <p:endCondLst>
                    <p:cond evt="onStopAudio" delay="0">
                      <p:tgtEl>
                        <p:sldTgt/>
                      </p:tgtEl>
                    </p:cond>
                  </p:endCondLst>
                </p:cTn>
                <p:tgtEl>
                  <p:spTgt spid="38"/>
                </p:tgtEl>
              </p:cMediaNode>
            </p:audio>
          </p:childTnLst>
        </p:cTn>
      </p:par>
    </p:tnLst>
    <p:bldLst>
      <p:bldP spid="57" grpId="0"/>
      <p:bldP spid="58" grpId="0"/>
      <p:bldP spid="59" grpId="0"/>
      <p:bldP spid="69" grpId="0"/>
      <p:bldP spid="70" grpId="0"/>
      <p:bldP spid="71" grpId="0"/>
      <p:bldP spid="72" grpId="0"/>
      <p:bldP spid="30" grpId="0" animBg="1"/>
      <p:bldP spid="33"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组合 19"/>
          <p:cNvPicPr>
            <a:picLocks noGrp="1" noChangeAspect="1" noChangeArrowheads="1"/>
          </p:cNvPicPr>
          <p:nvPr/>
        </p:nvPicPr>
        <p:blipFill>
          <a:blip r:embed="rId5">
            <a:duotone>
              <a:prstClr val="black"/>
              <a:srgbClr val="00A4E3">
                <a:tint val="45000"/>
                <a:satMod val="400000"/>
              </a:srgbClr>
            </a:duotone>
            <a:extLst>
              <a:ext uri="{28A0092B-C50C-407E-A947-70E740481C1C}">
                <a14:useLocalDpi xmlns:a14="http://schemas.microsoft.com/office/drawing/2010/main" val="0"/>
              </a:ext>
            </a:extLst>
          </a:blip>
          <a:srcRect/>
          <a:stretch>
            <a:fillRect/>
          </a:stretch>
        </p:blipFill>
        <p:spPr bwMode="auto">
          <a:xfrm>
            <a:off x="1000125" y="1162724"/>
            <a:ext cx="106680" cy="1742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组合 23"/>
          <p:cNvPicPr>
            <a:picLocks noGrp="1"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09228" y="2163927"/>
            <a:ext cx="106680" cy="1761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组合 28"/>
          <p:cNvPicPr>
            <a:picLocks noGrp="1" noChangeAspect="1" noChangeArrowheads="1"/>
          </p:cNvPicPr>
          <p:nvPr/>
        </p:nvPicPr>
        <p:blipFill>
          <a:blip r:embed="rId5">
            <a:duotone>
              <a:prstClr val="black"/>
              <a:srgbClr val="07A9E6">
                <a:tint val="45000"/>
                <a:satMod val="400000"/>
              </a:srgbClr>
            </a:duotone>
            <a:extLst>
              <a:ext uri="{28A0092B-C50C-407E-A947-70E740481C1C}">
                <a14:useLocalDpi xmlns:a14="http://schemas.microsoft.com/office/drawing/2010/main" val="0"/>
              </a:ext>
            </a:extLst>
          </a:blip>
          <a:srcRect/>
          <a:stretch>
            <a:fillRect/>
          </a:stretch>
        </p:blipFill>
        <p:spPr bwMode="auto">
          <a:xfrm>
            <a:off x="4560570" y="1162724"/>
            <a:ext cx="106680" cy="1742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组合 33"/>
          <p:cNvPicPr>
            <a:picLocks noGrp="1"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68562" y="2163927"/>
            <a:ext cx="106680" cy="1761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4" name="组合 53"/>
          <p:cNvGrpSpPr/>
          <p:nvPr/>
        </p:nvGrpSpPr>
        <p:grpSpPr bwMode="auto">
          <a:xfrm>
            <a:off x="1005682" y="2165034"/>
            <a:ext cx="1550193" cy="746754"/>
            <a:chOff x="1331651" y="2945166"/>
            <a:chExt cx="2099921" cy="1017295"/>
          </a:xfrm>
        </p:grpSpPr>
        <p:sp>
          <p:nvSpPr>
            <p:cNvPr id="55" name="矩形 6"/>
            <p:cNvSpPr>
              <a:spLocks noChangeArrowheads="1"/>
            </p:cNvSpPr>
            <p:nvPr/>
          </p:nvSpPr>
          <p:spPr bwMode="auto">
            <a:xfrm>
              <a:off x="1331651" y="2945166"/>
              <a:ext cx="2099921" cy="1017295"/>
            </a:xfrm>
            <a:prstGeom prst="rect">
              <a:avLst/>
            </a:prstGeom>
            <a:solidFill>
              <a:srgbClr val="0070C0"/>
            </a:solidFill>
            <a:ln>
              <a:noFill/>
            </a:ln>
            <a:extLs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endParaRPr lang="zh-CN" altLang="en-US" sz="14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6" name="文本框 63"/>
            <p:cNvSpPr txBox="1">
              <a:spLocks noChangeArrowheads="1"/>
            </p:cNvSpPr>
            <p:nvPr/>
          </p:nvSpPr>
          <p:spPr bwMode="auto">
            <a:xfrm>
              <a:off x="1419945" y="3543679"/>
              <a:ext cx="1923330" cy="39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r>
                <a:rPr lang="en-US" altLang="zh-CN" sz="1500">
                  <a:solidFill>
                    <a:srgbClr val="FFFFFF"/>
                  </a:solidFill>
                  <a:latin typeface="Arial" panose="020B0604020202020204" pitchFamily="34" charset="0"/>
                  <a:ea typeface="微软雅黑" panose="020B0503020204020204" pitchFamily="34" charset="-122"/>
                  <a:sym typeface="Arial" panose="020B0604020202020204" pitchFamily="34" charset="0"/>
                </a:rPr>
                <a:t>YOUR TITLE</a:t>
              </a:r>
              <a:endParaRPr lang="zh-CN" altLang="en-US" sz="15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7" name="文本框 67"/>
            <p:cNvSpPr txBox="1">
              <a:spLocks noChangeArrowheads="1"/>
            </p:cNvSpPr>
            <p:nvPr/>
          </p:nvSpPr>
          <p:spPr bwMode="auto">
            <a:xfrm>
              <a:off x="1843808" y="2945166"/>
              <a:ext cx="1075605" cy="703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r>
                <a:rPr lang="en-US" altLang="zh-CN" sz="2900">
                  <a:solidFill>
                    <a:srgbClr val="FFFFFF"/>
                  </a:solidFill>
                  <a:latin typeface="Arial" panose="020B0604020202020204" pitchFamily="34" charset="0"/>
                  <a:ea typeface="微软雅黑" panose="020B0503020204020204" pitchFamily="34" charset="-122"/>
                  <a:sym typeface="Arial" panose="020B0604020202020204" pitchFamily="34" charset="0"/>
                </a:rPr>
                <a:t>1</a:t>
              </a:r>
              <a:endParaRPr lang="zh-CN" altLang="en-US" sz="29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58" name="组合 57"/>
          <p:cNvGrpSpPr/>
          <p:nvPr/>
        </p:nvGrpSpPr>
        <p:grpSpPr bwMode="auto">
          <a:xfrm>
            <a:off x="2784793" y="2160127"/>
            <a:ext cx="1550194" cy="767276"/>
            <a:chOff x="3742306" y="2938479"/>
            <a:chExt cx="2099921" cy="1045251"/>
          </a:xfrm>
        </p:grpSpPr>
        <p:sp>
          <p:nvSpPr>
            <p:cNvPr id="59" name="矩形 58"/>
            <p:cNvSpPr/>
            <p:nvPr/>
          </p:nvSpPr>
          <p:spPr>
            <a:xfrm flipV="1">
              <a:off x="3742306" y="2945166"/>
              <a:ext cx="2099921" cy="1017295"/>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400" noProof="1">
                <a:solidFill>
                  <a:schemeClr val="bg1"/>
                </a:solidFill>
                <a:sym typeface="Arial" panose="020B0604020202020204" pitchFamily="34" charset="0"/>
              </a:endParaRPr>
            </a:p>
          </p:txBody>
        </p:sp>
        <p:sp>
          <p:nvSpPr>
            <p:cNvPr id="60" name="文本框 64"/>
            <p:cNvSpPr txBox="1"/>
            <p:nvPr/>
          </p:nvSpPr>
          <p:spPr>
            <a:xfrm>
              <a:off x="3831120" y="3543486"/>
              <a:ext cx="1922293" cy="440244"/>
            </a:xfrm>
            <a:prstGeom prst="rect">
              <a:avLst/>
            </a:prstGeom>
            <a:noFill/>
          </p:spPr>
          <p:txBody>
            <a:bodyPr>
              <a:spAutoFit/>
            </a:bodyPr>
            <a:lstStyle/>
            <a:p>
              <a:pPr algn="ctr" eaLnBrk="1" hangingPunct="1">
                <a:spcBef>
                  <a:spcPts val="735"/>
                </a:spcBef>
                <a:defRPr/>
              </a:pPr>
              <a:r>
                <a:rPr lang="en-US" altLang="zh-CN" sz="1500" noProof="1">
                  <a:solidFill>
                    <a:schemeClr val="bg1"/>
                  </a:solidFill>
                  <a:latin typeface="Arial" panose="020B0604020202020204" pitchFamily="34" charset="0"/>
                  <a:ea typeface="微软雅黑" panose="020B0503020204020204" pitchFamily="34" charset="-122"/>
                  <a:sym typeface="Arial" panose="020B0604020202020204" pitchFamily="34" charset="0"/>
                </a:rPr>
                <a:t>YOUR TITLE</a:t>
              </a:r>
              <a:endParaRPr lang="zh-CN" altLang="en-US" sz="1500"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61" name="文本框 68"/>
            <p:cNvSpPr txBox="1"/>
            <p:nvPr/>
          </p:nvSpPr>
          <p:spPr>
            <a:xfrm>
              <a:off x="4310786" y="2938479"/>
              <a:ext cx="1074797" cy="733741"/>
            </a:xfrm>
            <a:prstGeom prst="rect">
              <a:avLst/>
            </a:prstGeom>
            <a:noFill/>
          </p:spPr>
          <p:txBody>
            <a:bodyPr>
              <a:spAutoFit/>
            </a:bodyPr>
            <a:lstStyle/>
            <a:p>
              <a:pPr algn="ctr" eaLnBrk="1" hangingPunct="1">
                <a:spcBef>
                  <a:spcPts val="735"/>
                </a:spcBef>
                <a:defRPr/>
              </a:pPr>
              <a:r>
                <a:rPr lang="en-US" altLang="zh-CN" sz="2900" noProof="1">
                  <a:solidFill>
                    <a:schemeClr val="bg1"/>
                  </a:solidFill>
                  <a:latin typeface="Arial" panose="020B0604020202020204" pitchFamily="34" charset="0"/>
                  <a:ea typeface="微软雅黑" panose="020B0503020204020204" pitchFamily="34" charset="-122"/>
                  <a:sym typeface="Arial" panose="020B0604020202020204" pitchFamily="34" charset="0"/>
                </a:rPr>
                <a:t>2</a:t>
              </a:r>
              <a:endParaRPr lang="zh-CN" altLang="en-US" sz="2900"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62" name="组合 61"/>
          <p:cNvGrpSpPr/>
          <p:nvPr/>
        </p:nvGrpSpPr>
        <p:grpSpPr bwMode="auto">
          <a:xfrm>
            <a:off x="4565015" y="2160126"/>
            <a:ext cx="1550194" cy="751662"/>
            <a:chOff x="6152961" y="2938480"/>
            <a:chExt cx="2099921" cy="1023981"/>
          </a:xfrm>
          <a:solidFill>
            <a:srgbClr val="0070C0"/>
          </a:solidFill>
        </p:grpSpPr>
        <p:sp>
          <p:nvSpPr>
            <p:cNvPr id="63" name="矩形 27"/>
            <p:cNvSpPr>
              <a:spLocks noChangeArrowheads="1"/>
            </p:cNvSpPr>
            <p:nvPr/>
          </p:nvSpPr>
          <p:spPr bwMode="auto">
            <a:xfrm>
              <a:off x="6152961" y="2945166"/>
              <a:ext cx="2099921" cy="1017295"/>
            </a:xfrm>
            <a:prstGeom prst="rect">
              <a:avLst/>
            </a:prstGeom>
            <a:grpFill/>
            <a:ln>
              <a:noFill/>
            </a:ln>
            <a:extLs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endParaRPr lang="zh-CN" altLang="en-US" sz="14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64" name="文本框 65"/>
            <p:cNvSpPr txBox="1">
              <a:spLocks noChangeArrowheads="1"/>
            </p:cNvSpPr>
            <p:nvPr/>
          </p:nvSpPr>
          <p:spPr bwMode="auto">
            <a:xfrm>
              <a:off x="6246353" y="3543679"/>
              <a:ext cx="1923330" cy="395313"/>
            </a:xfrm>
            <a:prstGeom prst="rect">
              <a:avLst/>
            </a:prstGeom>
            <a:grpFill/>
            <a:ln>
              <a:noFill/>
            </a:ln>
            <a:extLs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r>
                <a:rPr lang="en-US" altLang="zh-CN" sz="1500">
                  <a:solidFill>
                    <a:srgbClr val="FFFFFF"/>
                  </a:solidFill>
                  <a:latin typeface="Arial" panose="020B0604020202020204" pitchFamily="34" charset="0"/>
                  <a:ea typeface="微软雅黑" panose="020B0503020204020204" pitchFamily="34" charset="-122"/>
                  <a:sym typeface="Arial" panose="020B0604020202020204" pitchFamily="34" charset="0"/>
                </a:rPr>
                <a:t>YOUR TITLE</a:t>
              </a:r>
              <a:endParaRPr lang="zh-CN" altLang="en-US" sz="15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65" name="文本框 69"/>
            <p:cNvSpPr txBox="1">
              <a:spLocks noChangeArrowheads="1"/>
            </p:cNvSpPr>
            <p:nvPr/>
          </p:nvSpPr>
          <p:spPr bwMode="auto">
            <a:xfrm>
              <a:off x="6650896" y="2938480"/>
              <a:ext cx="1075605" cy="703016"/>
            </a:xfrm>
            <a:prstGeom prst="rect">
              <a:avLst/>
            </a:prstGeom>
            <a:noFill/>
            <a:ln>
              <a:noFill/>
            </a:ln>
            <a:extLst>
              <a:ext uri="{91240B29-F687-4F45-9708-019B960494DF}">
                <a14:hiddenLine xmlns:a14="http://schemas.microsoft.com/office/drawing/2010/main" w="25400">
                  <a:solidFill>
                    <a:srgbClr val="000000"/>
                  </a:solidFill>
                  <a:miter lim="800000"/>
                  <a:headEnd/>
                  <a:tailEnd/>
                </a14:hiddenLine>
              </a:ext>
            </a:extLst>
          </p:spPr>
          <p:txBody>
            <a:bodyPr lIns="96417" tIns="48208" rIns="96417" bIns="48208" anchor="ctr"/>
            <a:lstStyle/>
            <a:p>
              <a:pPr algn="ctr" eaLnBrk="1" hangingPunct="1">
                <a:lnSpc>
                  <a:spcPct val="130000"/>
                </a:lnSpc>
              </a:pPr>
              <a:r>
                <a:rPr lang="en-US" altLang="zh-CN" sz="2900">
                  <a:solidFill>
                    <a:srgbClr val="FFFFFF"/>
                  </a:solidFill>
                  <a:latin typeface="Arial" panose="020B0604020202020204" pitchFamily="34" charset="0"/>
                  <a:ea typeface="微软雅黑" panose="020B0503020204020204" pitchFamily="34" charset="-122"/>
                  <a:sym typeface="Arial" panose="020B0604020202020204" pitchFamily="34" charset="0"/>
                </a:rPr>
                <a:t>3</a:t>
              </a:r>
              <a:endParaRPr lang="zh-CN" altLang="en-US" sz="290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66" name="组合 65"/>
          <p:cNvGrpSpPr/>
          <p:nvPr/>
        </p:nvGrpSpPr>
        <p:grpSpPr bwMode="auto">
          <a:xfrm>
            <a:off x="6344127" y="2165035"/>
            <a:ext cx="1550193" cy="762367"/>
            <a:chOff x="8563615" y="2945166"/>
            <a:chExt cx="2099921" cy="1038564"/>
          </a:xfrm>
        </p:grpSpPr>
        <p:sp>
          <p:nvSpPr>
            <p:cNvPr id="67" name="矩形 66"/>
            <p:cNvSpPr/>
            <p:nvPr/>
          </p:nvSpPr>
          <p:spPr>
            <a:xfrm flipV="1">
              <a:off x="8563615" y="2945166"/>
              <a:ext cx="2099921" cy="1017295"/>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1400" noProof="1">
                <a:solidFill>
                  <a:schemeClr val="bg1"/>
                </a:solidFill>
                <a:sym typeface="Arial" panose="020B0604020202020204" pitchFamily="34" charset="0"/>
              </a:endParaRPr>
            </a:p>
          </p:txBody>
        </p:sp>
        <p:sp>
          <p:nvSpPr>
            <p:cNvPr id="68" name="文本框 66"/>
            <p:cNvSpPr txBox="1"/>
            <p:nvPr/>
          </p:nvSpPr>
          <p:spPr>
            <a:xfrm>
              <a:off x="8652428" y="3543486"/>
              <a:ext cx="1922294" cy="440244"/>
            </a:xfrm>
            <a:prstGeom prst="rect">
              <a:avLst/>
            </a:prstGeom>
            <a:noFill/>
          </p:spPr>
          <p:txBody>
            <a:bodyPr>
              <a:spAutoFit/>
            </a:bodyPr>
            <a:lstStyle/>
            <a:p>
              <a:pPr algn="ctr" eaLnBrk="1" hangingPunct="1">
                <a:spcBef>
                  <a:spcPts val="735"/>
                </a:spcBef>
                <a:defRPr/>
              </a:pPr>
              <a:r>
                <a:rPr lang="en-US" altLang="zh-CN" sz="1500" noProof="1">
                  <a:solidFill>
                    <a:schemeClr val="bg1"/>
                  </a:solidFill>
                  <a:latin typeface="Arial" panose="020B0604020202020204" pitchFamily="34" charset="0"/>
                  <a:ea typeface="微软雅黑" panose="020B0503020204020204" pitchFamily="34" charset="-122"/>
                  <a:sym typeface="Arial" panose="020B0604020202020204" pitchFamily="34" charset="0"/>
                </a:rPr>
                <a:t>YOUR TITLE</a:t>
              </a:r>
              <a:endParaRPr lang="zh-CN" altLang="en-US" sz="1500"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69" name="文本框 70"/>
            <p:cNvSpPr txBox="1"/>
            <p:nvPr/>
          </p:nvSpPr>
          <p:spPr>
            <a:xfrm>
              <a:off x="9087467" y="3041621"/>
              <a:ext cx="1076303" cy="733741"/>
            </a:xfrm>
            <a:prstGeom prst="rect">
              <a:avLst/>
            </a:prstGeom>
            <a:noFill/>
          </p:spPr>
          <p:txBody>
            <a:bodyPr>
              <a:spAutoFit/>
            </a:bodyPr>
            <a:lstStyle/>
            <a:p>
              <a:pPr algn="ctr" eaLnBrk="1" hangingPunct="1">
                <a:spcBef>
                  <a:spcPts val="735"/>
                </a:spcBef>
                <a:defRPr/>
              </a:pPr>
              <a:r>
                <a:rPr lang="en-US" altLang="zh-CN" sz="2900" noProof="1">
                  <a:solidFill>
                    <a:schemeClr val="bg1"/>
                  </a:solidFill>
                  <a:latin typeface="Arial" panose="020B0604020202020204" pitchFamily="34" charset="0"/>
                  <a:ea typeface="微软雅黑" panose="020B0503020204020204" pitchFamily="34" charset="-122"/>
                  <a:sym typeface="Arial" panose="020B0604020202020204" pitchFamily="34" charset="0"/>
                </a:rPr>
                <a:t>4</a:t>
              </a:r>
              <a:endParaRPr lang="zh-CN" altLang="en-US" sz="2900" noProof="1">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70" name="Text Placeholder 7"/>
          <p:cNvSpPr txBox="1">
            <a:spLocks noChangeArrowheads="1"/>
          </p:cNvSpPr>
          <p:nvPr/>
        </p:nvSpPr>
        <p:spPr bwMode="auto">
          <a:xfrm>
            <a:off x="1190149" y="1166042"/>
            <a:ext cx="1860233" cy="24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82" rIns="0" bIns="72582" anchor="ctr"/>
          <a:lstStyle/>
          <a:p>
            <a:pPr>
              <a:buFont typeface="Arial" panose="020B0604020202020204" pitchFamily="34" charset="0"/>
              <a:buNone/>
            </a:pPr>
            <a:r>
              <a:rPr lang="zh-CN" altLang="en-US" sz="1100">
                <a:solidFill>
                  <a:schemeClr val="bg1">
                    <a:lumMod val="85000"/>
                  </a:schemeClr>
                </a:solidFill>
                <a:latin typeface="Lato Regular"/>
                <a:ea typeface="微软雅黑" panose="020B0503020204020204" pitchFamily="34" charset="-122"/>
              </a:rPr>
              <a:t>请替换文字内容</a:t>
            </a:r>
          </a:p>
        </p:txBody>
      </p:sp>
      <p:sp>
        <p:nvSpPr>
          <p:cNvPr id="71" name="Text Placeholder 2"/>
          <p:cNvSpPr txBox="1">
            <a:spLocks noChangeArrowheads="1"/>
          </p:cNvSpPr>
          <p:nvPr/>
        </p:nvSpPr>
        <p:spPr bwMode="auto">
          <a:xfrm>
            <a:off x="1190149" y="1433768"/>
            <a:ext cx="1604645" cy="402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nSpc>
                <a:spcPct val="150000"/>
              </a:lnSpc>
              <a:buFont typeface="Arial" panose="020B0604020202020204" pitchFamily="34" charset="0"/>
              <a:buNone/>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2" name="Text Placeholder 7"/>
          <p:cNvSpPr txBox="1">
            <a:spLocks noChangeArrowheads="1"/>
          </p:cNvSpPr>
          <p:nvPr/>
        </p:nvSpPr>
        <p:spPr bwMode="auto">
          <a:xfrm>
            <a:off x="2923699" y="3197213"/>
            <a:ext cx="1860233" cy="24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82" rIns="0" bIns="72582" anchor="ctr"/>
          <a:lstStyle/>
          <a:p>
            <a:pPr>
              <a:buFont typeface="Arial" panose="020B0604020202020204" pitchFamily="34" charset="0"/>
              <a:buNone/>
            </a:pPr>
            <a:r>
              <a:rPr lang="zh-CN" altLang="en-US" sz="1100">
                <a:solidFill>
                  <a:schemeClr val="bg1">
                    <a:lumMod val="85000"/>
                  </a:schemeClr>
                </a:solidFill>
                <a:latin typeface="Lato Regular"/>
                <a:ea typeface="微软雅黑" panose="020B0503020204020204" pitchFamily="34" charset="-122"/>
              </a:rPr>
              <a:t>请替换文字内容</a:t>
            </a:r>
          </a:p>
        </p:txBody>
      </p:sp>
      <p:sp>
        <p:nvSpPr>
          <p:cNvPr id="73" name="Text Placeholder 2"/>
          <p:cNvSpPr txBox="1">
            <a:spLocks noChangeArrowheads="1"/>
          </p:cNvSpPr>
          <p:nvPr/>
        </p:nvSpPr>
        <p:spPr bwMode="auto">
          <a:xfrm>
            <a:off x="2923699" y="3464939"/>
            <a:ext cx="1604645" cy="402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nSpc>
                <a:spcPct val="150000"/>
              </a:lnSpc>
              <a:buFont typeface="Arial" panose="020B0604020202020204" pitchFamily="34" charset="0"/>
              <a:buNone/>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4" name="Text Placeholder 7"/>
          <p:cNvSpPr txBox="1">
            <a:spLocks noChangeArrowheads="1"/>
          </p:cNvSpPr>
          <p:nvPr/>
        </p:nvSpPr>
        <p:spPr bwMode="auto">
          <a:xfrm>
            <a:off x="4750594" y="1232421"/>
            <a:ext cx="1860233" cy="24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82" rIns="0" bIns="72582" anchor="ctr"/>
          <a:lstStyle/>
          <a:p>
            <a:pPr>
              <a:buFont typeface="Arial" panose="020B0604020202020204" pitchFamily="34" charset="0"/>
              <a:buNone/>
            </a:pPr>
            <a:r>
              <a:rPr lang="zh-CN" altLang="en-US" sz="1100">
                <a:solidFill>
                  <a:schemeClr val="bg1">
                    <a:lumMod val="85000"/>
                  </a:schemeClr>
                </a:solidFill>
                <a:latin typeface="Lato Regular"/>
                <a:ea typeface="微软雅黑" panose="020B0503020204020204" pitchFamily="34" charset="-122"/>
              </a:rPr>
              <a:t>请替换文字内容</a:t>
            </a:r>
          </a:p>
        </p:txBody>
      </p:sp>
      <p:sp>
        <p:nvSpPr>
          <p:cNvPr id="75" name="Text Placeholder 2"/>
          <p:cNvSpPr txBox="1">
            <a:spLocks noChangeArrowheads="1"/>
          </p:cNvSpPr>
          <p:nvPr/>
        </p:nvSpPr>
        <p:spPr bwMode="auto">
          <a:xfrm>
            <a:off x="4750594" y="1500146"/>
            <a:ext cx="1604645" cy="402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nSpc>
                <a:spcPct val="150000"/>
              </a:lnSpc>
              <a:buFont typeface="Arial" panose="020B0604020202020204" pitchFamily="34" charset="0"/>
              <a:buNone/>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6" name="Text Placeholder 7"/>
          <p:cNvSpPr txBox="1">
            <a:spLocks noChangeArrowheads="1"/>
          </p:cNvSpPr>
          <p:nvPr/>
        </p:nvSpPr>
        <p:spPr bwMode="auto">
          <a:xfrm>
            <a:off x="6497479" y="3276867"/>
            <a:ext cx="1860233" cy="24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82" rIns="0" bIns="72582" anchor="ctr"/>
          <a:lstStyle/>
          <a:p>
            <a:pPr>
              <a:buFont typeface="Arial" panose="020B0604020202020204" pitchFamily="34" charset="0"/>
              <a:buNone/>
            </a:pPr>
            <a:r>
              <a:rPr lang="zh-CN" altLang="en-US" sz="1100">
                <a:solidFill>
                  <a:schemeClr val="bg1">
                    <a:lumMod val="85000"/>
                  </a:schemeClr>
                </a:solidFill>
                <a:latin typeface="Lato Regular"/>
                <a:ea typeface="微软雅黑" panose="020B0503020204020204" pitchFamily="34" charset="-122"/>
              </a:rPr>
              <a:t>请替换文字内容</a:t>
            </a:r>
          </a:p>
        </p:txBody>
      </p:sp>
      <p:sp>
        <p:nvSpPr>
          <p:cNvPr id="77" name="Text Placeholder 2"/>
          <p:cNvSpPr txBox="1">
            <a:spLocks noChangeArrowheads="1"/>
          </p:cNvSpPr>
          <p:nvPr/>
        </p:nvSpPr>
        <p:spPr bwMode="auto">
          <a:xfrm>
            <a:off x="6497479" y="3544592"/>
            <a:ext cx="1604645" cy="402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nSpc>
                <a:spcPct val="150000"/>
              </a:lnSpc>
              <a:buFont typeface="Arial" panose="020B0604020202020204" pitchFamily="34" charset="0"/>
              <a:buNone/>
            </a:pPr>
            <a:r>
              <a:rPr lang="zh-CN"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0" name="平行四边形 29"/>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平行四边形 30"/>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平行四边形 31"/>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平行四边形 32"/>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4" name="直接连接符 33"/>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5"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36" name="Group 7"/>
          <p:cNvGrpSpPr/>
          <p:nvPr/>
        </p:nvGrpSpPr>
        <p:grpSpPr bwMode="auto">
          <a:xfrm>
            <a:off x="180202" y="181952"/>
            <a:ext cx="216018" cy="113981"/>
            <a:chOff x="0" y="0"/>
            <a:chExt cx="1041399" cy="549275"/>
          </a:xfrm>
          <a:solidFill>
            <a:srgbClr val="133E73"/>
          </a:solidFill>
        </p:grpSpPr>
        <p:sp>
          <p:nvSpPr>
            <p:cNvPr id="37"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8"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9"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40"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2268377" y="-1568065"/>
            <a:ext cx="1008084" cy="1008084"/>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additive="base">
                                        <p:cTn id="7" dur="500" fill="hold"/>
                                        <p:tgtEl>
                                          <p:spTgt spid="36"/>
                                        </p:tgtEl>
                                        <p:attrNameLst>
                                          <p:attrName>ppt_x</p:attrName>
                                        </p:attrNameLst>
                                      </p:cBhvr>
                                      <p:tavLst>
                                        <p:tav tm="0">
                                          <p:val>
                                            <p:strVal val="0-#ppt_w/2"/>
                                          </p:val>
                                        </p:tav>
                                        <p:tav tm="100000">
                                          <p:val>
                                            <p:strVal val="#ppt_x"/>
                                          </p:val>
                                        </p:tav>
                                      </p:tavLst>
                                    </p:anim>
                                    <p:anim calcmode="lin" valueType="num">
                                      <p:cBhvr additive="base">
                                        <p:cTn id="8" dur="500" fill="hold"/>
                                        <p:tgtEl>
                                          <p:spTgt spid="3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35"/>
                                        </p:tgtEl>
                                        <p:attrNameLst>
                                          <p:attrName>style.visibility</p:attrName>
                                        </p:attrNameLst>
                                      </p:cBhvr>
                                      <p:to>
                                        <p:strVal val="visible"/>
                                      </p:to>
                                    </p:set>
                                    <p:anim calcmode="lin" valueType="num">
                                      <p:cBhvr>
                                        <p:cTn id="12" dur="500" fill="hold"/>
                                        <p:tgtEl>
                                          <p:spTgt spid="35"/>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35"/>
                                        </p:tgtEl>
                                        <p:attrNameLst>
                                          <p:attrName>ppt_y</p:attrName>
                                        </p:attrNameLst>
                                      </p:cBhvr>
                                      <p:tavLst>
                                        <p:tav tm="0">
                                          <p:val>
                                            <p:strVal val="#ppt_y"/>
                                          </p:val>
                                        </p:tav>
                                        <p:tav tm="100000">
                                          <p:val>
                                            <p:strVal val="#ppt_y"/>
                                          </p:val>
                                        </p:tav>
                                      </p:tavLst>
                                    </p:anim>
                                    <p:anim calcmode="lin" valueType="num">
                                      <p:cBhvr>
                                        <p:cTn id="14" dur="500" fill="hold"/>
                                        <p:tgtEl>
                                          <p:spTgt spid="35"/>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35"/>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35"/>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32"/>
                                        </p:tgtEl>
                                        <p:attrNameLst>
                                          <p:attrName>fillcolor</p:attrName>
                                        </p:attrNameLst>
                                      </p:cBhvr>
                                      <p:to>
                                        <a:srgbClr val="00AEEF"/>
                                      </p:to>
                                    </p:animClr>
                                    <p:set>
                                      <p:cBhvr>
                                        <p:cTn id="20" dur="300" fill="hold"/>
                                        <p:tgtEl>
                                          <p:spTgt spid="32"/>
                                        </p:tgtEl>
                                        <p:attrNameLst>
                                          <p:attrName>fill.type</p:attrName>
                                        </p:attrNameLst>
                                      </p:cBhvr>
                                      <p:to>
                                        <p:strVal val="solid"/>
                                      </p:to>
                                    </p:set>
                                    <p:set>
                                      <p:cBhvr>
                                        <p:cTn id="21" dur="300" fill="hold"/>
                                        <p:tgtEl>
                                          <p:spTgt spid="32"/>
                                        </p:tgtEl>
                                        <p:attrNameLst>
                                          <p:attrName>fill.on</p:attrName>
                                        </p:attrNameLst>
                                      </p:cBhvr>
                                      <p:to>
                                        <p:strVal val="true"/>
                                      </p:to>
                                    </p:set>
                                  </p:childTnLst>
                                </p:cTn>
                              </p:par>
                            </p:childTnLst>
                          </p:cTn>
                        </p:par>
                        <p:par>
                          <p:cTn id="22" fill="hold">
                            <p:stCondLst>
                              <p:cond delay="1799"/>
                            </p:stCondLst>
                            <p:childTnLst>
                              <p:par>
                                <p:cTn id="23" presetID="2" presetClass="entr" presetSubtype="2" fill="hold" nodeType="afterEffect">
                                  <p:stCondLst>
                                    <p:cond delay="0"/>
                                  </p:stCondLst>
                                  <p:childTnLst>
                                    <p:set>
                                      <p:cBhvr>
                                        <p:cTn id="24" dur="1" fill="hold">
                                          <p:stCondLst>
                                            <p:cond delay="0"/>
                                          </p:stCondLst>
                                        </p:cTn>
                                        <p:tgtEl>
                                          <p:spTgt spid="54"/>
                                        </p:tgtEl>
                                        <p:attrNameLst>
                                          <p:attrName>style.visibility</p:attrName>
                                        </p:attrNameLst>
                                      </p:cBhvr>
                                      <p:to>
                                        <p:strVal val="visible"/>
                                      </p:to>
                                    </p:set>
                                    <p:anim calcmode="lin" valueType="num">
                                      <p:cBhvr>
                                        <p:cTn id="25" dur="500" fill="hold"/>
                                        <p:tgtEl>
                                          <p:spTgt spid="54"/>
                                        </p:tgtEl>
                                        <p:attrNameLst>
                                          <p:attrName>ppt_x</p:attrName>
                                        </p:attrNameLst>
                                      </p:cBhvr>
                                      <p:tavLst>
                                        <p:tav tm="0">
                                          <p:val>
                                            <p:strVal val="1+#ppt_w/2"/>
                                          </p:val>
                                        </p:tav>
                                        <p:tav tm="100000">
                                          <p:val>
                                            <p:strVal val="#ppt_x"/>
                                          </p:val>
                                        </p:tav>
                                      </p:tavLst>
                                    </p:anim>
                                    <p:anim calcmode="lin" valueType="num">
                                      <p:cBhvr>
                                        <p:cTn id="26" dur="500" fill="hold"/>
                                        <p:tgtEl>
                                          <p:spTgt spid="54"/>
                                        </p:tgtEl>
                                        <p:attrNameLst>
                                          <p:attrName>ppt_y</p:attrName>
                                        </p:attrNameLst>
                                      </p:cBhvr>
                                      <p:tavLst>
                                        <p:tav tm="0">
                                          <p:val>
                                            <p:strVal val="#ppt_y"/>
                                          </p:val>
                                        </p:tav>
                                        <p:tav tm="100000">
                                          <p:val>
                                            <p:strVal val="#ppt_y"/>
                                          </p:val>
                                        </p:tav>
                                      </p:tavLst>
                                    </p:anim>
                                  </p:childTnLst>
                                </p:cTn>
                              </p:par>
                              <p:par>
                                <p:cTn id="27" presetID="2" presetClass="entr" presetSubtype="2" fill="hold" nodeType="withEffect">
                                  <p:stCondLst>
                                    <p:cond delay="250"/>
                                  </p:stCondLst>
                                  <p:childTnLst>
                                    <p:set>
                                      <p:cBhvr>
                                        <p:cTn id="28" dur="1" fill="hold">
                                          <p:stCondLst>
                                            <p:cond delay="0"/>
                                          </p:stCondLst>
                                        </p:cTn>
                                        <p:tgtEl>
                                          <p:spTgt spid="58"/>
                                        </p:tgtEl>
                                        <p:attrNameLst>
                                          <p:attrName>style.visibility</p:attrName>
                                        </p:attrNameLst>
                                      </p:cBhvr>
                                      <p:to>
                                        <p:strVal val="visible"/>
                                      </p:to>
                                    </p:set>
                                    <p:anim calcmode="lin" valueType="num">
                                      <p:cBhvr>
                                        <p:cTn id="29" dur="500" fill="hold"/>
                                        <p:tgtEl>
                                          <p:spTgt spid="58"/>
                                        </p:tgtEl>
                                        <p:attrNameLst>
                                          <p:attrName>ppt_x</p:attrName>
                                        </p:attrNameLst>
                                      </p:cBhvr>
                                      <p:tavLst>
                                        <p:tav tm="0">
                                          <p:val>
                                            <p:strVal val="1+#ppt_w/2"/>
                                          </p:val>
                                        </p:tav>
                                        <p:tav tm="100000">
                                          <p:val>
                                            <p:strVal val="#ppt_x"/>
                                          </p:val>
                                        </p:tav>
                                      </p:tavLst>
                                    </p:anim>
                                    <p:anim calcmode="lin" valueType="num">
                                      <p:cBhvr>
                                        <p:cTn id="30" dur="500" fill="hold"/>
                                        <p:tgtEl>
                                          <p:spTgt spid="58"/>
                                        </p:tgtEl>
                                        <p:attrNameLst>
                                          <p:attrName>ppt_y</p:attrName>
                                        </p:attrNameLst>
                                      </p:cBhvr>
                                      <p:tavLst>
                                        <p:tav tm="0">
                                          <p:val>
                                            <p:strVal val="#ppt_y"/>
                                          </p:val>
                                        </p:tav>
                                        <p:tav tm="100000">
                                          <p:val>
                                            <p:strVal val="#ppt_y"/>
                                          </p:val>
                                        </p:tav>
                                      </p:tavLst>
                                    </p:anim>
                                  </p:childTnLst>
                                </p:cTn>
                              </p:par>
                              <p:par>
                                <p:cTn id="31" presetID="2" presetClass="entr" presetSubtype="2" fill="hold" nodeType="withEffect">
                                  <p:stCondLst>
                                    <p:cond delay="500"/>
                                  </p:stCondLst>
                                  <p:childTnLst>
                                    <p:set>
                                      <p:cBhvr>
                                        <p:cTn id="32" dur="1" fill="hold">
                                          <p:stCondLst>
                                            <p:cond delay="0"/>
                                          </p:stCondLst>
                                        </p:cTn>
                                        <p:tgtEl>
                                          <p:spTgt spid="62"/>
                                        </p:tgtEl>
                                        <p:attrNameLst>
                                          <p:attrName>style.visibility</p:attrName>
                                        </p:attrNameLst>
                                      </p:cBhvr>
                                      <p:to>
                                        <p:strVal val="visible"/>
                                      </p:to>
                                    </p:set>
                                    <p:anim calcmode="lin" valueType="num">
                                      <p:cBhvr>
                                        <p:cTn id="33" dur="500" fill="hold"/>
                                        <p:tgtEl>
                                          <p:spTgt spid="62"/>
                                        </p:tgtEl>
                                        <p:attrNameLst>
                                          <p:attrName>ppt_x</p:attrName>
                                        </p:attrNameLst>
                                      </p:cBhvr>
                                      <p:tavLst>
                                        <p:tav tm="0">
                                          <p:val>
                                            <p:strVal val="1+#ppt_w/2"/>
                                          </p:val>
                                        </p:tav>
                                        <p:tav tm="100000">
                                          <p:val>
                                            <p:strVal val="#ppt_x"/>
                                          </p:val>
                                        </p:tav>
                                      </p:tavLst>
                                    </p:anim>
                                    <p:anim calcmode="lin" valueType="num">
                                      <p:cBhvr>
                                        <p:cTn id="34" dur="500" fill="hold"/>
                                        <p:tgtEl>
                                          <p:spTgt spid="62"/>
                                        </p:tgtEl>
                                        <p:attrNameLst>
                                          <p:attrName>ppt_y</p:attrName>
                                        </p:attrNameLst>
                                      </p:cBhvr>
                                      <p:tavLst>
                                        <p:tav tm="0">
                                          <p:val>
                                            <p:strVal val="#ppt_y"/>
                                          </p:val>
                                        </p:tav>
                                        <p:tav tm="100000">
                                          <p:val>
                                            <p:strVal val="#ppt_y"/>
                                          </p:val>
                                        </p:tav>
                                      </p:tavLst>
                                    </p:anim>
                                  </p:childTnLst>
                                </p:cTn>
                              </p:par>
                              <p:par>
                                <p:cTn id="35" presetID="2" presetClass="entr" presetSubtype="2" fill="hold" nodeType="withEffect">
                                  <p:stCondLst>
                                    <p:cond delay="750"/>
                                  </p:stCondLst>
                                  <p:childTnLst>
                                    <p:set>
                                      <p:cBhvr>
                                        <p:cTn id="36" dur="1" fill="hold">
                                          <p:stCondLst>
                                            <p:cond delay="0"/>
                                          </p:stCondLst>
                                        </p:cTn>
                                        <p:tgtEl>
                                          <p:spTgt spid="66"/>
                                        </p:tgtEl>
                                        <p:attrNameLst>
                                          <p:attrName>style.visibility</p:attrName>
                                        </p:attrNameLst>
                                      </p:cBhvr>
                                      <p:to>
                                        <p:strVal val="visible"/>
                                      </p:to>
                                    </p:set>
                                    <p:anim calcmode="lin" valueType="num">
                                      <p:cBhvr>
                                        <p:cTn id="37" dur="500" fill="hold"/>
                                        <p:tgtEl>
                                          <p:spTgt spid="66"/>
                                        </p:tgtEl>
                                        <p:attrNameLst>
                                          <p:attrName>ppt_x</p:attrName>
                                        </p:attrNameLst>
                                      </p:cBhvr>
                                      <p:tavLst>
                                        <p:tav tm="0">
                                          <p:val>
                                            <p:strVal val="1+#ppt_w/2"/>
                                          </p:val>
                                        </p:tav>
                                        <p:tav tm="100000">
                                          <p:val>
                                            <p:strVal val="#ppt_x"/>
                                          </p:val>
                                        </p:tav>
                                      </p:tavLst>
                                    </p:anim>
                                    <p:anim calcmode="lin" valueType="num">
                                      <p:cBhvr>
                                        <p:cTn id="38" dur="500" fill="hold"/>
                                        <p:tgtEl>
                                          <p:spTgt spid="66"/>
                                        </p:tgtEl>
                                        <p:attrNameLst>
                                          <p:attrName>ppt_y</p:attrName>
                                        </p:attrNameLst>
                                      </p:cBhvr>
                                      <p:tavLst>
                                        <p:tav tm="0">
                                          <p:val>
                                            <p:strVal val="#ppt_y"/>
                                          </p:val>
                                        </p:tav>
                                        <p:tav tm="100000">
                                          <p:val>
                                            <p:strVal val="#ppt_y"/>
                                          </p:val>
                                        </p:tav>
                                      </p:tavLst>
                                    </p:anim>
                                  </p:childTnLst>
                                </p:cTn>
                              </p:par>
                              <p:par>
                                <p:cTn id="39" presetID="22" presetClass="entr" presetSubtype="4" fill="hold" nodeType="withEffect">
                                  <p:stCondLst>
                                    <p:cond delay="500"/>
                                  </p:stCondLst>
                                  <p:childTnLst>
                                    <p:set>
                                      <p:cBhvr>
                                        <p:cTn id="40" dur="1" fill="hold">
                                          <p:stCondLst>
                                            <p:cond delay="0"/>
                                          </p:stCondLst>
                                        </p:cTn>
                                        <p:tgtEl>
                                          <p:spTgt spid="50"/>
                                        </p:tgtEl>
                                        <p:attrNameLst>
                                          <p:attrName>style.visibility</p:attrName>
                                        </p:attrNameLst>
                                      </p:cBhvr>
                                      <p:to>
                                        <p:strVal val="visible"/>
                                      </p:to>
                                    </p:set>
                                    <p:animEffect transition="in" filter="wipe(down)">
                                      <p:cBhvr>
                                        <p:cTn id="41" dur="250"/>
                                        <p:tgtEl>
                                          <p:spTgt spid="50"/>
                                        </p:tgtEl>
                                      </p:cBhvr>
                                    </p:animEffect>
                                  </p:childTnLst>
                                </p:cTn>
                              </p:par>
                              <p:par>
                                <p:cTn id="42" presetID="22" presetClass="entr" presetSubtype="1" fill="hold" nodeType="withEffect">
                                  <p:stCondLst>
                                    <p:cond delay="750"/>
                                  </p:stCondLst>
                                  <p:childTnLst>
                                    <p:set>
                                      <p:cBhvr>
                                        <p:cTn id="43" dur="1" fill="hold">
                                          <p:stCondLst>
                                            <p:cond delay="0"/>
                                          </p:stCondLst>
                                        </p:cTn>
                                        <p:tgtEl>
                                          <p:spTgt spid="51"/>
                                        </p:tgtEl>
                                        <p:attrNameLst>
                                          <p:attrName>style.visibility</p:attrName>
                                        </p:attrNameLst>
                                      </p:cBhvr>
                                      <p:to>
                                        <p:strVal val="visible"/>
                                      </p:to>
                                    </p:set>
                                    <p:animEffect transition="in" filter="wipe(up)">
                                      <p:cBhvr>
                                        <p:cTn id="44" dur="250"/>
                                        <p:tgtEl>
                                          <p:spTgt spid="51"/>
                                        </p:tgtEl>
                                      </p:cBhvr>
                                    </p:animEffect>
                                  </p:childTnLst>
                                </p:cTn>
                              </p:par>
                              <p:par>
                                <p:cTn id="45" presetID="22" presetClass="entr" presetSubtype="4" fill="hold" nodeType="withEffect">
                                  <p:stCondLst>
                                    <p:cond delay="1000"/>
                                  </p:stCondLst>
                                  <p:childTnLst>
                                    <p:set>
                                      <p:cBhvr>
                                        <p:cTn id="46" dur="1" fill="hold">
                                          <p:stCondLst>
                                            <p:cond delay="0"/>
                                          </p:stCondLst>
                                        </p:cTn>
                                        <p:tgtEl>
                                          <p:spTgt spid="52"/>
                                        </p:tgtEl>
                                        <p:attrNameLst>
                                          <p:attrName>style.visibility</p:attrName>
                                        </p:attrNameLst>
                                      </p:cBhvr>
                                      <p:to>
                                        <p:strVal val="visible"/>
                                      </p:to>
                                    </p:set>
                                    <p:animEffect transition="in" filter="wipe(down)">
                                      <p:cBhvr>
                                        <p:cTn id="47" dur="250"/>
                                        <p:tgtEl>
                                          <p:spTgt spid="52"/>
                                        </p:tgtEl>
                                      </p:cBhvr>
                                    </p:animEffect>
                                  </p:childTnLst>
                                </p:cTn>
                              </p:par>
                              <p:par>
                                <p:cTn id="48" presetID="22" presetClass="entr" presetSubtype="1" fill="hold" nodeType="withEffect">
                                  <p:stCondLst>
                                    <p:cond delay="1250"/>
                                  </p:stCondLst>
                                  <p:childTnLst>
                                    <p:set>
                                      <p:cBhvr>
                                        <p:cTn id="49" dur="1" fill="hold">
                                          <p:stCondLst>
                                            <p:cond delay="0"/>
                                          </p:stCondLst>
                                        </p:cTn>
                                        <p:tgtEl>
                                          <p:spTgt spid="53"/>
                                        </p:tgtEl>
                                        <p:attrNameLst>
                                          <p:attrName>style.visibility</p:attrName>
                                        </p:attrNameLst>
                                      </p:cBhvr>
                                      <p:to>
                                        <p:strVal val="visible"/>
                                      </p:to>
                                    </p:set>
                                    <p:animEffect transition="in" filter="wipe(up)">
                                      <p:cBhvr>
                                        <p:cTn id="50" dur="250"/>
                                        <p:tgtEl>
                                          <p:spTgt spid="53"/>
                                        </p:tgtEl>
                                      </p:cBhvr>
                                    </p:animEffect>
                                  </p:childTnLst>
                                </p:cTn>
                              </p:par>
                            </p:childTnLst>
                          </p:cTn>
                        </p:par>
                        <p:par>
                          <p:cTn id="51" fill="hold">
                            <p:stCondLst>
                              <p:cond delay="2299"/>
                            </p:stCondLst>
                            <p:childTnLst>
                              <p:par>
                                <p:cTn id="52" presetID="53" presetClass="entr" presetSubtype="16" fill="hold" grpId="0" nodeType="afterEffect">
                                  <p:stCondLst>
                                    <p:cond delay="0"/>
                                  </p:stCondLst>
                                  <p:childTnLst>
                                    <p:set>
                                      <p:cBhvr>
                                        <p:cTn id="53" dur="1" fill="hold">
                                          <p:stCondLst>
                                            <p:cond delay="0"/>
                                          </p:stCondLst>
                                        </p:cTn>
                                        <p:tgtEl>
                                          <p:spTgt spid="70">
                                            <p:txEl>
                                              <p:pRg st="0" end="0"/>
                                            </p:txEl>
                                          </p:spTgt>
                                        </p:tgtEl>
                                        <p:attrNameLst>
                                          <p:attrName>style.visibility</p:attrName>
                                        </p:attrNameLst>
                                      </p:cBhvr>
                                      <p:to>
                                        <p:strVal val="visible"/>
                                      </p:to>
                                    </p:set>
                                    <p:anim calcmode="lin" valueType="num">
                                      <p:cBhvr>
                                        <p:cTn id="54" dur="400" fill="hold"/>
                                        <p:tgtEl>
                                          <p:spTgt spid="70">
                                            <p:txEl>
                                              <p:pRg st="0" end="0"/>
                                            </p:txEl>
                                          </p:spTgt>
                                        </p:tgtEl>
                                        <p:attrNameLst>
                                          <p:attrName>ppt_w</p:attrName>
                                        </p:attrNameLst>
                                      </p:cBhvr>
                                      <p:tavLst>
                                        <p:tav tm="0">
                                          <p:val>
                                            <p:fltVal val="0"/>
                                          </p:val>
                                        </p:tav>
                                        <p:tav tm="100000">
                                          <p:val>
                                            <p:strVal val="#ppt_w"/>
                                          </p:val>
                                        </p:tav>
                                      </p:tavLst>
                                    </p:anim>
                                    <p:anim calcmode="lin" valueType="num">
                                      <p:cBhvr>
                                        <p:cTn id="55" dur="400" fill="hold"/>
                                        <p:tgtEl>
                                          <p:spTgt spid="70">
                                            <p:txEl>
                                              <p:pRg st="0" end="0"/>
                                            </p:txEl>
                                          </p:spTgt>
                                        </p:tgtEl>
                                        <p:attrNameLst>
                                          <p:attrName>ppt_h</p:attrName>
                                        </p:attrNameLst>
                                      </p:cBhvr>
                                      <p:tavLst>
                                        <p:tav tm="0">
                                          <p:val>
                                            <p:fltVal val="0"/>
                                          </p:val>
                                        </p:tav>
                                        <p:tav tm="100000">
                                          <p:val>
                                            <p:strVal val="#ppt_h"/>
                                          </p:val>
                                        </p:tav>
                                      </p:tavLst>
                                    </p:anim>
                                    <p:animEffect transition="in" filter="fade">
                                      <p:cBhvr>
                                        <p:cTn id="56" dur="400"/>
                                        <p:tgtEl>
                                          <p:spTgt spid="70">
                                            <p:txEl>
                                              <p:pRg st="0" end="0"/>
                                            </p:txEl>
                                          </p:spTgt>
                                        </p:tgtEl>
                                      </p:cBhvr>
                                    </p:animEffect>
                                  </p:childTnLst>
                                </p:cTn>
                              </p:par>
                            </p:childTnLst>
                          </p:cTn>
                        </p:par>
                        <p:par>
                          <p:cTn id="57" fill="hold">
                            <p:stCondLst>
                              <p:cond delay="2799"/>
                            </p:stCondLst>
                            <p:childTnLst>
                              <p:par>
                                <p:cTn id="58" presetID="53" presetClass="entr" presetSubtype="16" fill="hold" grpId="0" nodeType="afterEffect">
                                  <p:stCondLst>
                                    <p:cond delay="0"/>
                                  </p:stCondLst>
                                  <p:childTnLst>
                                    <p:set>
                                      <p:cBhvr>
                                        <p:cTn id="59" dur="1" fill="hold">
                                          <p:stCondLst>
                                            <p:cond delay="0"/>
                                          </p:stCondLst>
                                        </p:cTn>
                                        <p:tgtEl>
                                          <p:spTgt spid="71">
                                            <p:txEl>
                                              <p:pRg st="0" end="0"/>
                                            </p:txEl>
                                          </p:spTgt>
                                        </p:tgtEl>
                                        <p:attrNameLst>
                                          <p:attrName>style.visibility</p:attrName>
                                        </p:attrNameLst>
                                      </p:cBhvr>
                                      <p:to>
                                        <p:strVal val="visible"/>
                                      </p:to>
                                    </p:set>
                                    <p:anim calcmode="lin" valueType="num">
                                      <p:cBhvr>
                                        <p:cTn id="60" dur="400" fill="hold"/>
                                        <p:tgtEl>
                                          <p:spTgt spid="71">
                                            <p:txEl>
                                              <p:pRg st="0" end="0"/>
                                            </p:txEl>
                                          </p:spTgt>
                                        </p:tgtEl>
                                        <p:attrNameLst>
                                          <p:attrName>ppt_w</p:attrName>
                                        </p:attrNameLst>
                                      </p:cBhvr>
                                      <p:tavLst>
                                        <p:tav tm="0">
                                          <p:val>
                                            <p:fltVal val="0"/>
                                          </p:val>
                                        </p:tav>
                                        <p:tav tm="100000">
                                          <p:val>
                                            <p:strVal val="#ppt_w"/>
                                          </p:val>
                                        </p:tav>
                                      </p:tavLst>
                                    </p:anim>
                                    <p:anim calcmode="lin" valueType="num">
                                      <p:cBhvr>
                                        <p:cTn id="61" dur="400" fill="hold"/>
                                        <p:tgtEl>
                                          <p:spTgt spid="71">
                                            <p:txEl>
                                              <p:pRg st="0" end="0"/>
                                            </p:txEl>
                                          </p:spTgt>
                                        </p:tgtEl>
                                        <p:attrNameLst>
                                          <p:attrName>ppt_h</p:attrName>
                                        </p:attrNameLst>
                                      </p:cBhvr>
                                      <p:tavLst>
                                        <p:tav tm="0">
                                          <p:val>
                                            <p:fltVal val="0"/>
                                          </p:val>
                                        </p:tav>
                                        <p:tav tm="100000">
                                          <p:val>
                                            <p:strVal val="#ppt_h"/>
                                          </p:val>
                                        </p:tav>
                                      </p:tavLst>
                                    </p:anim>
                                    <p:animEffect transition="in" filter="fade">
                                      <p:cBhvr>
                                        <p:cTn id="62" dur="400"/>
                                        <p:tgtEl>
                                          <p:spTgt spid="71">
                                            <p:txEl>
                                              <p:pRg st="0" end="0"/>
                                            </p:txEl>
                                          </p:spTgt>
                                        </p:tgtEl>
                                      </p:cBhvr>
                                    </p:animEffect>
                                  </p:childTnLst>
                                </p:cTn>
                              </p:par>
                            </p:childTnLst>
                          </p:cTn>
                        </p:par>
                        <p:par>
                          <p:cTn id="63" fill="hold">
                            <p:stCondLst>
                              <p:cond delay="3299"/>
                            </p:stCondLst>
                            <p:childTnLst>
                              <p:par>
                                <p:cTn id="64" presetID="53" presetClass="entr" presetSubtype="16" fill="hold" grpId="0" nodeType="afterEffect">
                                  <p:stCondLst>
                                    <p:cond delay="0"/>
                                  </p:stCondLst>
                                  <p:childTnLst>
                                    <p:set>
                                      <p:cBhvr>
                                        <p:cTn id="65" dur="1" fill="hold">
                                          <p:stCondLst>
                                            <p:cond delay="0"/>
                                          </p:stCondLst>
                                        </p:cTn>
                                        <p:tgtEl>
                                          <p:spTgt spid="72">
                                            <p:txEl>
                                              <p:pRg st="0" end="0"/>
                                            </p:txEl>
                                          </p:spTgt>
                                        </p:tgtEl>
                                        <p:attrNameLst>
                                          <p:attrName>style.visibility</p:attrName>
                                        </p:attrNameLst>
                                      </p:cBhvr>
                                      <p:to>
                                        <p:strVal val="visible"/>
                                      </p:to>
                                    </p:set>
                                    <p:anim calcmode="lin" valueType="num">
                                      <p:cBhvr>
                                        <p:cTn id="66" dur="400" fill="hold"/>
                                        <p:tgtEl>
                                          <p:spTgt spid="72">
                                            <p:txEl>
                                              <p:pRg st="0" end="0"/>
                                            </p:txEl>
                                          </p:spTgt>
                                        </p:tgtEl>
                                        <p:attrNameLst>
                                          <p:attrName>ppt_w</p:attrName>
                                        </p:attrNameLst>
                                      </p:cBhvr>
                                      <p:tavLst>
                                        <p:tav tm="0">
                                          <p:val>
                                            <p:fltVal val="0"/>
                                          </p:val>
                                        </p:tav>
                                        <p:tav tm="100000">
                                          <p:val>
                                            <p:strVal val="#ppt_w"/>
                                          </p:val>
                                        </p:tav>
                                      </p:tavLst>
                                    </p:anim>
                                    <p:anim calcmode="lin" valueType="num">
                                      <p:cBhvr>
                                        <p:cTn id="67" dur="400" fill="hold"/>
                                        <p:tgtEl>
                                          <p:spTgt spid="72">
                                            <p:txEl>
                                              <p:pRg st="0" end="0"/>
                                            </p:txEl>
                                          </p:spTgt>
                                        </p:tgtEl>
                                        <p:attrNameLst>
                                          <p:attrName>ppt_h</p:attrName>
                                        </p:attrNameLst>
                                      </p:cBhvr>
                                      <p:tavLst>
                                        <p:tav tm="0">
                                          <p:val>
                                            <p:fltVal val="0"/>
                                          </p:val>
                                        </p:tav>
                                        <p:tav tm="100000">
                                          <p:val>
                                            <p:strVal val="#ppt_h"/>
                                          </p:val>
                                        </p:tav>
                                      </p:tavLst>
                                    </p:anim>
                                    <p:animEffect transition="in" filter="fade">
                                      <p:cBhvr>
                                        <p:cTn id="68" dur="400"/>
                                        <p:tgtEl>
                                          <p:spTgt spid="72">
                                            <p:txEl>
                                              <p:pRg st="0" end="0"/>
                                            </p:txEl>
                                          </p:spTgt>
                                        </p:tgtEl>
                                      </p:cBhvr>
                                    </p:animEffect>
                                  </p:childTnLst>
                                </p:cTn>
                              </p:par>
                            </p:childTnLst>
                          </p:cTn>
                        </p:par>
                        <p:par>
                          <p:cTn id="69" fill="hold">
                            <p:stCondLst>
                              <p:cond delay="3799"/>
                            </p:stCondLst>
                            <p:childTnLst>
                              <p:par>
                                <p:cTn id="70" presetID="1" presetClass="mediacall" presetSubtype="0" fill="hold" nodeType="afterEffect">
                                  <p:stCondLst>
                                    <p:cond delay="0"/>
                                  </p:stCondLst>
                                  <p:childTnLst>
                                    <p:cmd type="call" cmd="playFrom(0.0)">
                                      <p:cBhvr>
                                        <p:cTn id="71" dur="1" fill="hold"/>
                                        <p:tgtEl>
                                          <p:spTgt spid="40"/>
                                        </p:tgtEl>
                                      </p:cBhvr>
                                    </p:cmd>
                                  </p:childTnLst>
                                </p:cTn>
                              </p:par>
                            </p:childTnLst>
                          </p:cTn>
                        </p:par>
                        <p:par>
                          <p:cTn id="72" fill="hold">
                            <p:stCondLst>
                              <p:cond delay="3799"/>
                            </p:stCondLst>
                            <p:childTnLst>
                              <p:par>
                                <p:cTn id="73" presetID="53" presetClass="entr" presetSubtype="16" fill="hold" grpId="0" nodeType="afterEffect">
                                  <p:stCondLst>
                                    <p:cond delay="0"/>
                                  </p:stCondLst>
                                  <p:childTnLst>
                                    <p:set>
                                      <p:cBhvr>
                                        <p:cTn id="74" dur="1" fill="hold">
                                          <p:stCondLst>
                                            <p:cond delay="0"/>
                                          </p:stCondLst>
                                        </p:cTn>
                                        <p:tgtEl>
                                          <p:spTgt spid="73">
                                            <p:txEl>
                                              <p:pRg st="0" end="0"/>
                                            </p:txEl>
                                          </p:spTgt>
                                        </p:tgtEl>
                                        <p:attrNameLst>
                                          <p:attrName>style.visibility</p:attrName>
                                        </p:attrNameLst>
                                      </p:cBhvr>
                                      <p:to>
                                        <p:strVal val="visible"/>
                                      </p:to>
                                    </p:set>
                                    <p:anim calcmode="lin" valueType="num">
                                      <p:cBhvr>
                                        <p:cTn id="75" dur="400" fill="hold"/>
                                        <p:tgtEl>
                                          <p:spTgt spid="73">
                                            <p:txEl>
                                              <p:pRg st="0" end="0"/>
                                            </p:txEl>
                                          </p:spTgt>
                                        </p:tgtEl>
                                        <p:attrNameLst>
                                          <p:attrName>ppt_w</p:attrName>
                                        </p:attrNameLst>
                                      </p:cBhvr>
                                      <p:tavLst>
                                        <p:tav tm="0">
                                          <p:val>
                                            <p:fltVal val="0"/>
                                          </p:val>
                                        </p:tav>
                                        <p:tav tm="100000">
                                          <p:val>
                                            <p:strVal val="#ppt_w"/>
                                          </p:val>
                                        </p:tav>
                                      </p:tavLst>
                                    </p:anim>
                                    <p:anim calcmode="lin" valueType="num">
                                      <p:cBhvr>
                                        <p:cTn id="76" dur="400" fill="hold"/>
                                        <p:tgtEl>
                                          <p:spTgt spid="73">
                                            <p:txEl>
                                              <p:pRg st="0" end="0"/>
                                            </p:txEl>
                                          </p:spTgt>
                                        </p:tgtEl>
                                        <p:attrNameLst>
                                          <p:attrName>ppt_h</p:attrName>
                                        </p:attrNameLst>
                                      </p:cBhvr>
                                      <p:tavLst>
                                        <p:tav tm="0">
                                          <p:val>
                                            <p:fltVal val="0"/>
                                          </p:val>
                                        </p:tav>
                                        <p:tav tm="100000">
                                          <p:val>
                                            <p:strVal val="#ppt_h"/>
                                          </p:val>
                                        </p:tav>
                                      </p:tavLst>
                                    </p:anim>
                                    <p:animEffect transition="in" filter="fade">
                                      <p:cBhvr>
                                        <p:cTn id="77" dur="400"/>
                                        <p:tgtEl>
                                          <p:spTgt spid="73">
                                            <p:txEl>
                                              <p:pRg st="0" end="0"/>
                                            </p:txEl>
                                          </p:spTgt>
                                        </p:tgtEl>
                                      </p:cBhvr>
                                    </p:animEffect>
                                  </p:childTnLst>
                                </p:cTn>
                              </p:par>
                            </p:childTnLst>
                          </p:cTn>
                        </p:par>
                        <p:par>
                          <p:cTn id="78" fill="hold">
                            <p:stCondLst>
                              <p:cond delay="4299"/>
                            </p:stCondLst>
                            <p:childTnLst>
                              <p:par>
                                <p:cTn id="79" presetID="53" presetClass="entr" presetSubtype="16" fill="hold" grpId="0" nodeType="afterEffect">
                                  <p:stCondLst>
                                    <p:cond delay="0"/>
                                  </p:stCondLst>
                                  <p:childTnLst>
                                    <p:set>
                                      <p:cBhvr>
                                        <p:cTn id="80" dur="1" fill="hold">
                                          <p:stCondLst>
                                            <p:cond delay="0"/>
                                          </p:stCondLst>
                                        </p:cTn>
                                        <p:tgtEl>
                                          <p:spTgt spid="74">
                                            <p:txEl>
                                              <p:pRg st="0" end="0"/>
                                            </p:txEl>
                                          </p:spTgt>
                                        </p:tgtEl>
                                        <p:attrNameLst>
                                          <p:attrName>style.visibility</p:attrName>
                                        </p:attrNameLst>
                                      </p:cBhvr>
                                      <p:to>
                                        <p:strVal val="visible"/>
                                      </p:to>
                                    </p:set>
                                    <p:anim calcmode="lin" valueType="num">
                                      <p:cBhvr>
                                        <p:cTn id="81" dur="400" fill="hold"/>
                                        <p:tgtEl>
                                          <p:spTgt spid="74">
                                            <p:txEl>
                                              <p:pRg st="0" end="0"/>
                                            </p:txEl>
                                          </p:spTgt>
                                        </p:tgtEl>
                                        <p:attrNameLst>
                                          <p:attrName>ppt_w</p:attrName>
                                        </p:attrNameLst>
                                      </p:cBhvr>
                                      <p:tavLst>
                                        <p:tav tm="0">
                                          <p:val>
                                            <p:fltVal val="0"/>
                                          </p:val>
                                        </p:tav>
                                        <p:tav tm="100000">
                                          <p:val>
                                            <p:strVal val="#ppt_w"/>
                                          </p:val>
                                        </p:tav>
                                      </p:tavLst>
                                    </p:anim>
                                    <p:anim calcmode="lin" valueType="num">
                                      <p:cBhvr>
                                        <p:cTn id="82" dur="400" fill="hold"/>
                                        <p:tgtEl>
                                          <p:spTgt spid="74">
                                            <p:txEl>
                                              <p:pRg st="0" end="0"/>
                                            </p:txEl>
                                          </p:spTgt>
                                        </p:tgtEl>
                                        <p:attrNameLst>
                                          <p:attrName>ppt_h</p:attrName>
                                        </p:attrNameLst>
                                      </p:cBhvr>
                                      <p:tavLst>
                                        <p:tav tm="0">
                                          <p:val>
                                            <p:fltVal val="0"/>
                                          </p:val>
                                        </p:tav>
                                        <p:tav tm="100000">
                                          <p:val>
                                            <p:strVal val="#ppt_h"/>
                                          </p:val>
                                        </p:tav>
                                      </p:tavLst>
                                    </p:anim>
                                    <p:animEffect transition="in" filter="fade">
                                      <p:cBhvr>
                                        <p:cTn id="83" dur="400"/>
                                        <p:tgtEl>
                                          <p:spTgt spid="74">
                                            <p:txEl>
                                              <p:pRg st="0" end="0"/>
                                            </p:txEl>
                                          </p:spTgt>
                                        </p:tgtEl>
                                      </p:cBhvr>
                                    </p:animEffect>
                                  </p:childTnLst>
                                </p:cTn>
                              </p:par>
                            </p:childTnLst>
                          </p:cTn>
                        </p:par>
                        <p:par>
                          <p:cTn id="84" fill="hold">
                            <p:stCondLst>
                              <p:cond delay="4799"/>
                            </p:stCondLst>
                            <p:childTnLst>
                              <p:par>
                                <p:cTn id="85" presetID="53" presetClass="entr" presetSubtype="16" fill="hold" grpId="0" nodeType="afterEffect">
                                  <p:stCondLst>
                                    <p:cond delay="0"/>
                                  </p:stCondLst>
                                  <p:childTnLst>
                                    <p:set>
                                      <p:cBhvr>
                                        <p:cTn id="86" dur="1" fill="hold">
                                          <p:stCondLst>
                                            <p:cond delay="0"/>
                                          </p:stCondLst>
                                        </p:cTn>
                                        <p:tgtEl>
                                          <p:spTgt spid="75">
                                            <p:txEl>
                                              <p:pRg st="0" end="0"/>
                                            </p:txEl>
                                          </p:spTgt>
                                        </p:tgtEl>
                                        <p:attrNameLst>
                                          <p:attrName>style.visibility</p:attrName>
                                        </p:attrNameLst>
                                      </p:cBhvr>
                                      <p:to>
                                        <p:strVal val="visible"/>
                                      </p:to>
                                    </p:set>
                                    <p:anim calcmode="lin" valueType="num">
                                      <p:cBhvr>
                                        <p:cTn id="87" dur="400" fill="hold"/>
                                        <p:tgtEl>
                                          <p:spTgt spid="75">
                                            <p:txEl>
                                              <p:pRg st="0" end="0"/>
                                            </p:txEl>
                                          </p:spTgt>
                                        </p:tgtEl>
                                        <p:attrNameLst>
                                          <p:attrName>ppt_w</p:attrName>
                                        </p:attrNameLst>
                                      </p:cBhvr>
                                      <p:tavLst>
                                        <p:tav tm="0">
                                          <p:val>
                                            <p:fltVal val="0"/>
                                          </p:val>
                                        </p:tav>
                                        <p:tav tm="100000">
                                          <p:val>
                                            <p:strVal val="#ppt_w"/>
                                          </p:val>
                                        </p:tav>
                                      </p:tavLst>
                                    </p:anim>
                                    <p:anim calcmode="lin" valueType="num">
                                      <p:cBhvr>
                                        <p:cTn id="88" dur="400" fill="hold"/>
                                        <p:tgtEl>
                                          <p:spTgt spid="75">
                                            <p:txEl>
                                              <p:pRg st="0" end="0"/>
                                            </p:txEl>
                                          </p:spTgt>
                                        </p:tgtEl>
                                        <p:attrNameLst>
                                          <p:attrName>ppt_h</p:attrName>
                                        </p:attrNameLst>
                                      </p:cBhvr>
                                      <p:tavLst>
                                        <p:tav tm="0">
                                          <p:val>
                                            <p:fltVal val="0"/>
                                          </p:val>
                                        </p:tav>
                                        <p:tav tm="100000">
                                          <p:val>
                                            <p:strVal val="#ppt_h"/>
                                          </p:val>
                                        </p:tav>
                                      </p:tavLst>
                                    </p:anim>
                                    <p:animEffect transition="in" filter="fade">
                                      <p:cBhvr>
                                        <p:cTn id="89" dur="400"/>
                                        <p:tgtEl>
                                          <p:spTgt spid="75">
                                            <p:txEl>
                                              <p:pRg st="0" end="0"/>
                                            </p:txEl>
                                          </p:spTgt>
                                        </p:tgtEl>
                                      </p:cBhvr>
                                    </p:animEffect>
                                  </p:childTnLst>
                                </p:cTn>
                              </p:par>
                            </p:childTnLst>
                          </p:cTn>
                        </p:par>
                        <p:par>
                          <p:cTn id="90" fill="hold">
                            <p:stCondLst>
                              <p:cond delay="5299"/>
                            </p:stCondLst>
                            <p:childTnLst>
                              <p:par>
                                <p:cTn id="91" presetID="53" presetClass="entr" presetSubtype="16" fill="hold" grpId="0" nodeType="afterEffect">
                                  <p:stCondLst>
                                    <p:cond delay="0"/>
                                  </p:stCondLst>
                                  <p:childTnLst>
                                    <p:set>
                                      <p:cBhvr>
                                        <p:cTn id="92" dur="1" fill="hold">
                                          <p:stCondLst>
                                            <p:cond delay="0"/>
                                          </p:stCondLst>
                                        </p:cTn>
                                        <p:tgtEl>
                                          <p:spTgt spid="76">
                                            <p:txEl>
                                              <p:pRg st="0" end="0"/>
                                            </p:txEl>
                                          </p:spTgt>
                                        </p:tgtEl>
                                        <p:attrNameLst>
                                          <p:attrName>style.visibility</p:attrName>
                                        </p:attrNameLst>
                                      </p:cBhvr>
                                      <p:to>
                                        <p:strVal val="visible"/>
                                      </p:to>
                                    </p:set>
                                    <p:anim calcmode="lin" valueType="num">
                                      <p:cBhvr>
                                        <p:cTn id="93" dur="400" fill="hold"/>
                                        <p:tgtEl>
                                          <p:spTgt spid="76">
                                            <p:txEl>
                                              <p:pRg st="0" end="0"/>
                                            </p:txEl>
                                          </p:spTgt>
                                        </p:tgtEl>
                                        <p:attrNameLst>
                                          <p:attrName>ppt_w</p:attrName>
                                        </p:attrNameLst>
                                      </p:cBhvr>
                                      <p:tavLst>
                                        <p:tav tm="0">
                                          <p:val>
                                            <p:fltVal val="0"/>
                                          </p:val>
                                        </p:tav>
                                        <p:tav tm="100000">
                                          <p:val>
                                            <p:strVal val="#ppt_w"/>
                                          </p:val>
                                        </p:tav>
                                      </p:tavLst>
                                    </p:anim>
                                    <p:anim calcmode="lin" valueType="num">
                                      <p:cBhvr>
                                        <p:cTn id="94" dur="400" fill="hold"/>
                                        <p:tgtEl>
                                          <p:spTgt spid="76">
                                            <p:txEl>
                                              <p:pRg st="0" end="0"/>
                                            </p:txEl>
                                          </p:spTgt>
                                        </p:tgtEl>
                                        <p:attrNameLst>
                                          <p:attrName>ppt_h</p:attrName>
                                        </p:attrNameLst>
                                      </p:cBhvr>
                                      <p:tavLst>
                                        <p:tav tm="0">
                                          <p:val>
                                            <p:fltVal val="0"/>
                                          </p:val>
                                        </p:tav>
                                        <p:tav tm="100000">
                                          <p:val>
                                            <p:strVal val="#ppt_h"/>
                                          </p:val>
                                        </p:tav>
                                      </p:tavLst>
                                    </p:anim>
                                    <p:animEffect transition="in" filter="fade">
                                      <p:cBhvr>
                                        <p:cTn id="95" dur="400"/>
                                        <p:tgtEl>
                                          <p:spTgt spid="76">
                                            <p:txEl>
                                              <p:pRg st="0" end="0"/>
                                            </p:txEl>
                                          </p:spTgt>
                                        </p:tgtEl>
                                      </p:cBhvr>
                                    </p:animEffect>
                                  </p:childTnLst>
                                </p:cTn>
                              </p:par>
                            </p:childTnLst>
                          </p:cTn>
                        </p:par>
                        <p:par>
                          <p:cTn id="96" fill="hold">
                            <p:stCondLst>
                              <p:cond delay="5799"/>
                            </p:stCondLst>
                            <p:childTnLst>
                              <p:par>
                                <p:cTn id="97" presetID="53" presetClass="entr" presetSubtype="16" fill="hold" grpId="0" nodeType="afterEffect">
                                  <p:stCondLst>
                                    <p:cond delay="0"/>
                                  </p:stCondLst>
                                  <p:childTnLst>
                                    <p:set>
                                      <p:cBhvr>
                                        <p:cTn id="98" dur="1" fill="hold">
                                          <p:stCondLst>
                                            <p:cond delay="0"/>
                                          </p:stCondLst>
                                        </p:cTn>
                                        <p:tgtEl>
                                          <p:spTgt spid="77">
                                            <p:txEl>
                                              <p:pRg st="0" end="0"/>
                                            </p:txEl>
                                          </p:spTgt>
                                        </p:tgtEl>
                                        <p:attrNameLst>
                                          <p:attrName>style.visibility</p:attrName>
                                        </p:attrNameLst>
                                      </p:cBhvr>
                                      <p:to>
                                        <p:strVal val="visible"/>
                                      </p:to>
                                    </p:set>
                                    <p:anim calcmode="lin" valueType="num">
                                      <p:cBhvr>
                                        <p:cTn id="99" dur="400" fill="hold"/>
                                        <p:tgtEl>
                                          <p:spTgt spid="77">
                                            <p:txEl>
                                              <p:pRg st="0" end="0"/>
                                            </p:txEl>
                                          </p:spTgt>
                                        </p:tgtEl>
                                        <p:attrNameLst>
                                          <p:attrName>ppt_w</p:attrName>
                                        </p:attrNameLst>
                                      </p:cBhvr>
                                      <p:tavLst>
                                        <p:tav tm="0">
                                          <p:val>
                                            <p:fltVal val="0"/>
                                          </p:val>
                                        </p:tav>
                                        <p:tav tm="100000">
                                          <p:val>
                                            <p:strVal val="#ppt_w"/>
                                          </p:val>
                                        </p:tav>
                                      </p:tavLst>
                                    </p:anim>
                                    <p:anim calcmode="lin" valueType="num">
                                      <p:cBhvr>
                                        <p:cTn id="100" dur="400" fill="hold"/>
                                        <p:tgtEl>
                                          <p:spTgt spid="77">
                                            <p:txEl>
                                              <p:pRg st="0" end="0"/>
                                            </p:txEl>
                                          </p:spTgt>
                                        </p:tgtEl>
                                        <p:attrNameLst>
                                          <p:attrName>ppt_h</p:attrName>
                                        </p:attrNameLst>
                                      </p:cBhvr>
                                      <p:tavLst>
                                        <p:tav tm="0">
                                          <p:val>
                                            <p:fltVal val="0"/>
                                          </p:val>
                                        </p:tav>
                                        <p:tav tm="100000">
                                          <p:val>
                                            <p:strVal val="#ppt_h"/>
                                          </p:val>
                                        </p:tav>
                                      </p:tavLst>
                                    </p:anim>
                                    <p:animEffect transition="in" filter="fade">
                                      <p:cBhvr>
                                        <p:cTn id="101" dur="400"/>
                                        <p:tgtEl>
                                          <p:spTgt spid="7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02" fill="hold" display="0">
                  <p:stCondLst>
                    <p:cond delay="indefinite"/>
                  </p:stCondLst>
                  <p:endCondLst>
                    <p:cond evt="onStopAudio" delay="0">
                      <p:tgtEl>
                        <p:sldTgt/>
                      </p:tgtEl>
                    </p:cond>
                  </p:endCondLst>
                </p:cTn>
                <p:tgtEl>
                  <p:spTgt spid="40"/>
                </p:tgtEl>
              </p:cMediaNode>
            </p:audio>
          </p:childTnLst>
        </p:cTn>
      </p:par>
    </p:tnLst>
    <p:bldLst>
      <p:bldP spid="70" grpId="0" build="p">
        <p:tmplLst>
          <p:tmpl lvl="1">
            <p:tnLst>
              <p:par>
                <p:cTn presetID="53" presetClass="entr" presetSubtype="16" fill="hold" nodeType="afterEffect">
                  <p:stCondLst>
                    <p:cond delay="0"/>
                  </p:stCondLst>
                  <p:childTnLst>
                    <p:set>
                      <p:cBhvr>
                        <p:cTn dur="1" fill="hold">
                          <p:stCondLst>
                            <p:cond delay="0"/>
                          </p:stCondLst>
                        </p:cTn>
                        <p:tgtEl>
                          <p:spTgt spid="70"/>
                        </p:tgtEl>
                        <p:attrNameLst>
                          <p:attrName>style.visibility</p:attrName>
                        </p:attrNameLst>
                      </p:cBhvr>
                      <p:to>
                        <p:strVal val="visible"/>
                      </p:to>
                    </p:set>
                    <p:anim calcmode="lin" valueType="num">
                      <p:cBhvr>
                        <p:cTn dur="400" fill="hold"/>
                        <p:tgtEl>
                          <p:spTgt spid="70"/>
                        </p:tgtEl>
                        <p:attrNameLst>
                          <p:attrName>ppt_w</p:attrName>
                        </p:attrNameLst>
                      </p:cBhvr>
                      <p:tavLst>
                        <p:tav tm="0">
                          <p:val>
                            <p:fltVal val="0"/>
                          </p:val>
                        </p:tav>
                        <p:tav tm="100000">
                          <p:val>
                            <p:strVal val="#ppt_w"/>
                          </p:val>
                        </p:tav>
                      </p:tavLst>
                    </p:anim>
                    <p:anim calcmode="lin" valueType="num">
                      <p:cBhvr>
                        <p:cTn dur="400" fill="hold"/>
                        <p:tgtEl>
                          <p:spTgt spid="70"/>
                        </p:tgtEl>
                        <p:attrNameLst>
                          <p:attrName>ppt_h</p:attrName>
                        </p:attrNameLst>
                      </p:cBhvr>
                      <p:tavLst>
                        <p:tav tm="0">
                          <p:val>
                            <p:fltVal val="0"/>
                          </p:val>
                        </p:tav>
                        <p:tav tm="100000">
                          <p:val>
                            <p:strVal val="#ppt_h"/>
                          </p:val>
                        </p:tav>
                      </p:tavLst>
                    </p:anim>
                    <p:animEffect transition="in" filter="fade">
                      <p:cBhvr>
                        <p:cTn dur="400"/>
                        <p:tgtEl>
                          <p:spTgt spid="70"/>
                        </p:tgtEl>
                      </p:cBhvr>
                    </p:animEffect>
                  </p:childTnLst>
                </p:cTn>
              </p:par>
            </p:tnLst>
          </p:tmpl>
        </p:tmplLst>
      </p:bldP>
      <p:bldP spid="71" grpId="0" build="p">
        <p:tmplLst>
          <p:tmpl lvl="1">
            <p:tnLst>
              <p:par>
                <p:cTn presetID="53" presetClass="entr" presetSubtype="16" fill="hold" nodeType="afterEffect">
                  <p:stCondLst>
                    <p:cond delay="0"/>
                  </p:stCondLst>
                  <p:childTnLst>
                    <p:set>
                      <p:cBhvr>
                        <p:cTn dur="1" fill="hold">
                          <p:stCondLst>
                            <p:cond delay="0"/>
                          </p:stCondLst>
                        </p:cTn>
                        <p:tgtEl>
                          <p:spTgt spid="71"/>
                        </p:tgtEl>
                        <p:attrNameLst>
                          <p:attrName>style.visibility</p:attrName>
                        </p:attrNameLst>
                      </p:cBhvr>
                      <p:to>
                        <p:strVal val="visible"/>
                      </p:to>
                    </p:set>
                    <p:anim calcmode="lin" valueType="num">
                      <p:cBhvr>
                        <p:cTn dur="400" fill="hold"/>
                        <p:tgtEl>
                          <p:spTgt spid="71"/>
                        </p:tgtEl>
                        <p:attrNameLst>
                          <p:attrName>ppt_w</p:attrName>
                        </p:attrNameLst>
                      </p:cBhvr>
                      <p:tavLst>
                        <p:tav tm="0">
                          <p:val>
                            <p:fltVal val="0"/>
                          </p:val>
                        </p:tav>
                        <p:tav tm="100000">
                          <p:val>
                            <p:strVal val="#ppt_w"/>
                          </p:val>
                        </p:tav>
                      </p:tavLst>
                    </p:anim>
                    <p:anim calcmode="lin" valueType="num">
                      <p:cBhvr>
                        <p:cTn dur="400" fill="hold"/>
                        <p:tgtEl>
                          <p:spTgt spid="71"/>
                        </p:tgtEl>
                        <p:attrNameLst>
                          <p:attrName>ppt_h</p:attrName>
                        </p:attrNameLst>
                      </p:cBhvr>
                      <p:tavLst>
                        <p:tav tm="0">
                          <p:val>
                            <p:fltVal val="0"/>
                          </p:val>
                        </p:tav>
                        <p:tav tm="100000">
                          <p:val>
                            <p:strVal val="#ppt_h"/>
                          </p:val>
                        </p:tav>
                      </p:tavLst>
                    </p:anim>
                    <p:animEffect transition="in" filter="fade">
                      <p:cBhvr>
                        <p:cTn dur="400"/>
                        <p:tgtEl>
                          <p:spTgt spid="71"/>
                        </p:tgtEl>
                      </p:cBhvr>
                    </p:animEffect>
                  </p:childTnLst>
                </p:cTn>
              </p:par>
            </p:tnLst>
          </p:tmpl>
        </p:tmplLst>
      </p:bldP>
      <p:bldP spid="72" grpId="0" build="p">
        <p:tmplLst>
          <p:tmpl lvl="1">
            <p:tnLst>
              <p:par>
                <p:cTn presetID="53" presetClass="entr" presetSubtype="16" fill="hold" nodeType="afterEffect">
                  <p:stCondLst>
                    <p:cond delay="0"/>
                  </p:stCondLst>
                  <p:childTnLst>
                    <p:set>
                      <p:cBhvr>
                        <p:cTn dur="1" fill="hold">
                          <p:stCondLst>
                            <p:cond delay="0"/>
                          </p:stCondLst>
                        </p:cTn>
                        <p:tgtEl>
                          <p:spTgt spid="72"/>
                        </p:tgtEl>
                        <p:attrNameLst>
                          <p:attrName>style.visibility</p:attrName>
                        </p:attrNameLst>
                      </p:cBhvr>
                      <p:to>
                        <p:strVal val="visible"/>
                      </p:to>
                    </p:set>
                    <p:anim calcmode="lin" valueType="num">
                      <p:cBhvr>
                        <p:cTn dur="400" fill="hold"/>
                        <p:tgtEl>
                          <p:spTgt spid="72"/>
                        </p:tgtEl>
                        <p:attrNameLst>
                          <p:attrName>ppt_w</p:attrName>
                        </p:attrNameLst>
                      </p:cBhvr>
                      <p:tavLst>
                        <p:tav tm="0">
                          <p:val>
                            <p:fltVal val="0"/>
                          </p:val>
                        </p:tav>
                        <p:tav tm="100000">
                          <p:val>
                            <p:strVal val="#ppt_w"/>
                          </p:val>
                        </p:tav>
                      </p:tavLst>
                    </p:anim>
                    <p:anim calcmode="lin" valueType="num">
                      <p:cBhvr>
                        <p:cTn dur="400" fill="hold"/>
                        <p:tgtEl>
                          <p:spTgt spid="72"/>
                        </p:tgtEl>
                        <p:attrNameLst>
                          <p:attrName>ppt_h</p:attrName>
                        </p:attrNameLst>
                      </p:cBhvr>
                      <p:tavLst>
                        <p:tav tm="0">
                          <p:val>
                            <p:fltVal val="0"/>
                          </p:val>
                        </p:tav>
                        <p:tav tm="100000">
                          <p:val>
                            <p:strVal val="#ppt_h"/>
                          </p:val>
                        </p:tav>
                      </p:tavLst>
                    </p:anim>
                    <p:animEffect transition="in" filter="fade">
                      <p:cBhvr>
                        <p:cTn dur="400"/>
                        <p:tgtEl>
                          <p:spTgt spid="72"/>
                        </p:tgtEl>
                      </p:cBhvr>
                    </p:animEffect>
                  </p:childTnLst>
                </p:cTn>
              </p:par>
            </p:tnLst>
          </p:tmpl>
        </p:tmplLst>
      </p:bldP>
      <p:bldP spid="73" grpId="0" build="p">
        <p:tmplLst>
          <p:tmpl lvl="1">
            <p:tnLst>
              <p:par>
                <p:cTn presetID="53" presetClass="entr" presetSubtype="16" fill="hold" nodeType="afterEffect">
                  <p:stCondLst>
                    <p:cond delay="0"/>
                  </p:stCondLst>
                  <p:childTnLst>
                    <p:set>
                      <p:cBhvr>
                        <p:cTn dur="1" fill="hold">
                          <p:stCondLst>
                            <p:cond delay="0"/>
                          </p:stCondLst>
                        </p:cTn>
                        <p:tgtEl>
                          <p:spTgt spid="73"/>
                        </p:tgtEl>
                        <p:attrNameLst>
                          <p:attrName>style.visibility</p:attrName>
                        </p:attrNameLst>
                      </p:cBhvr>
                      <p:to>
                        <p:strVal val="visible"/>
                      </p:to>
                    </p:set>
                    <p:anim calcmode="lin" valueType="num">
                      <p:cBhvr>
                        <p:cTn dur="400" fill="hold"/>
                        <p:tgtEl>
                          <p:spTgt spid="73"/>
                        </p:tgtEl>
                        <p:attrNameLst>
                          <p:attrName>ppt_w</p:attrName>
                        </p:attrNameLst>
                      </p:cBhvr>
                      <p:tavLst>
                        <p:tav tm="0">
                          <p:val>
                            <p:fltVal val="0"/>
                          </p:val>
                        </p:tav>
                        <p:tav tm="100000">
                          <p:val>
                            <p:strVal val="#ppt_w"/>
                          </p:val>
                        </p:tav>
                      </p:tavLst>
                    </p:anim>
                    <p:anim calcmode="lin" valueType="num">
                      <p:cBhvr>
                        <p:cTn dur="400" fill="hold"/>
                        <p:tgtEl>
                          <p:spTgt spid="73"/>
                        </p:tgtEl>
                        <p:attrNameLst>
                          <p:attrName>ppt_h</p:attrName>
                        </p:attrNameLst>
                      </p:cBhvr>
                      <p:tavLst>
                        <p:tav tm="0">
                          <p:val>
                            <p:fltVal val="0"/>
                          </p:val>
                        </p:tav>
                        <p:tav tm="100000">
                          <p:val>
                            <p:strVal val="#ppt_h"/>
                          </p:val>
                        </p:tav>
                      </p:tavLst>
                    </p:anim>
                    <p:animEffect transition="in" filter="fade">
                      <p:cBhvr>
                        <p:cTn dur="400"/>
                        <p:tgtEl>
                          <p:spTgt spid="73"/>
                        </p:tgtEl>
                      </p:cBhvr>
                    </p:animEffect>
                  </p:childTnLst>
                </p:cTn>
              </p:par>
            </p:tnLst>
          </p:tmpl>
        </p:tmplLst>
      </p:bldP>
      <p:bldP spid="74" grpId="0" build="p">
        <p:tmplLst>
          <p:tmpl lvl="1">
            <p:tnLst>
              <p:par>
                <p:cTn presetID="53" presetClass="entr" presetSubtype="16" fill="hold" nodeType="afterEffect">
                  <p:stCondLst>
                    <p:cond delay="0"/>
                  </p:stCondLst>
                  <p:childTnLst>
                    <p:set>
                      <p:cBhvr>
                        <p:cTn dur="1" fill="hold">
                          <p:stCondLst>
                            <p:cond delay="0"/>
                          </p:stCondLst>
                        </p:cTn>
                        <p:tgtEl>
                          <p:spTgt spid="74"/>
                        </p:tgtEl>
                        <p:attrNameLst>
                          <p:attrName>style.visibility</p:attrName>
                        </p:attrNameLst>
                      </p:cBhvr>
                      <p:to>
                        <p:strVal val="visible"/>
                      </p:to>
                    </p:set>
                    <p:anim calcmode="lin" valueType="num">
                      <p:cBhvr>
                        <p:cTn dur="400" fill="hold"/>
                        <p:tgtEl>
                          <p:spTgt spid="74"/>
                        </p:tgtEl>
                        <p:attrNameLst>
                          <p:attrName>ppt_w</p:attrName>
                        </p:attrNameLst>
                      </p:cBhvr>
                      <p:tavLst>
                        <p:tav tm="0">
                          <p:val>
                            <p:fltVal val="0"/>
                          </p:val>
                        </p:tav>
                        <p:tav tm="100000">
                          <p:val>
                            <p:strVal val="#ppt_w"/>
                          </p:val>
                        </p:tav>
                      </p:tavLst>
                    </p:anim>
                    <p:anim calcmode="lin" valueType="num">
                      <p:cBhvr>
                        <p:cTn dur="400" fill="hold"/>
                        <p:tgtEl>
                          <p:spTgt spid="74"/>
                        </p:tgtEl>
                        <p:attrNameLst>
                          <p:attrName>ppt_h</p:attrName>
                        </p:attrNameLst>
                      </p:cBhvr>
                      <p:tavLst>
                        <p:tav tm="0">
                          <p:val>
                            <p:fltVal val="0"/>
                          </p:val>
                        </p:tav>
                        <p:tav tm="100000">
                          <p:val>
                            <p:strVal val="#ppt_h"/>
                          </p:val>
                        </p:tav>
                      </p:tavLst>
                    </p:anim>
                    <p:animEffect transition="in" filter="fade">
                      <p:cBhvr>
                        <p:cTn dur="400"/>
                        <p:tgtEl>
                          <p:spTgt spid="74"/>
                        </p:tgtEl>
                      </p:cBhvr>
                    </p:animEffect>
                  </p:childTnLst>
                </p:cTn>
              </p:par>
            </p:tnLst>
          </p:tmpl>
        </p:tmplLst>
      </p:bldP>
      <p:bldP spid="75" grpId="0" build="p">
        <p:tmplLst>
          <p:tmpl lvl="1">
            <p:tnLst>
              <p:par>
                <p:cTn presetID="53" presetClass="entr" presetSubtype="16" fill="hold" nodeType="afterEffect">
                  <p:stCondLst>
                    <p:cond delay="0"/>
                  </p:stCondLst>
                  <p:childTnLst>
                    <p:set>
                      <p:cBhvr>
                        <p:cTn dur="1" fill="hold">
                          <p:stCondLst>
                            <p:cond delay="0"/>
                          </p:stCondLst>
                        </p:cTn>
                        <p:tgtEl>
                          <p:spTgt spid="75"/>
                        </p:tgtEl>
                        <p:attrNameLst>
                          <p:attrName>style.visibility</p:attrName>
                        </p:attrNameLst>
                      </p:cBhvr>
                      <p:to>
                        <p:strVal val="visible"/>
                      </p:to>
                    </p:set>
                    <p:anim calcmode="lin" valueType="num">
                      <p:cBhvr>
                        <p:cTn dur="400" fill="hold"/>
                        <p:tgtEl>
                          <p:spTgt spid="75"/>
                        </p:tgtEl>
                        <p:attrNameLst>
                          <p:attrName>ppt_w</p:attrName>
                        </p:attrNameLst>
                      </p:cBhvr>
                      <p:tavLst>
                        <p:tav tm="0">
                          <p:val>
                            <p:fltVal val="0"/>
                          </p:val>
                        </p:tav>
                        <p:tav tm="100000">
                          <p:val>
                            <p:strVal val="#ppt_w"/>
                          </p:val>
                        </p:tav>
                      </p:tavLst>
                    </p:anim>
                    <p:anim calcmode="lin" valueType="num">
                      <p:cBhvr>
                        <p:cTn dur="400" fill="hold"/>
                        <p:tgtEl>
                          <p:spTgt spid="75"/>
                        </p:tgtEl>
                        <p:attrNameLst>
                          <p:attrName>ppt_h</p:attrName>
                        </p:attrNameLst>
                      </p:cBhvr>
                      <p:tavLst>
                        <p:tav tm="0">
                          <p:val>
                            <p:fltVal val="0"/>
                          </p:val>
                        </p:tav>
                        <p:tav tm="100000">
                          <p:val>
                            <p:strVal val="#ppt_h"/>
                          </p:val>
                        </p:tav>
                      </p:tavLst>
                    </p:anim>
                    <p:animEffect transition="in" filter="fade">
                      <p:cBhvr>
                        <p:cTn dur="400"/>
                        <p:tgtEl>
                          <p:spTgt spid="75"/>
                        </p:tgtEl>
                      </p:cBhvr>
                    </p:animEffect>
                  </p:childTnLst>
                </p:cTn>
              </p:par>
            </p:tnLst>
          </p:tmpl>
        </p:tmplLst>
      </p:bldP>
      <p:bldP spid="76" grpId="0" build="p">
        <p:tmplLst>
          <p:tmpl lvl="1">
            <p:tnLst>
              <p:par>
                <p:cTn presetID="53" presetClass="entr" presetSubtype="16" fill="hold" nodeType="afterEffect">
                  <p:stCondLst>
                    <p:cond delay="0"/>
                  </p:stCondLst>
                  <p:childTnLst>
                    <p:set>
                      <p:cBhvr>
                        <p:cTn dur="1" fill="hold">
                          <p:stCondLst>
                            <p:cond delay="0"/>
                          </p:stCondLst>
                        </p:cTn>
                        <p:tgtEl>
                          <p:spTgt spid="76"/>
                        </p:tgtEl>
                        <p:attrNameLst>
                          <p:attrName>style.visibility</p:attrName>
                        </p:attrNameLst>
                      </p:cBhvr>
                      <p:to>
                        <p:strVal val="visible"/>
                      </p:to>
                    </p:set>
                    <p:anim calcmode="lin" valueType="num">
                      <p:cBhvr>
                        <p:cTn dur="400" fill="hold"/>
                        <p:tgtEl>
                          <p:spTgt spid="76"/>
                        </p:tgtEl>
                        <p:attrNameLst>
                          <p:attrName>ppt_w</p:attrName>
                        </p:attrNameLst>
                      </p:cBhvr>
                      <p:tavLst>
                        <p:tav tm="0">
                          <p:val>
                            <p:fltVal val="0"/>
                          </p:val>
                        </p:tav>
                        <p:tav tm="100000">
                          <p:val>
                            <p:strVal val="#ppt_w"/>
                          </p:val>
                        </p:tav>
                      </p:tavLst>
                    </p:anim>
                    <p:anim calcmode="lin" valueType="num">
                      <p:cBhvr>
                        <p:cTn dur="400" fill="hold"/>
                        <p:tgtEl>
                          <p:spTgt spid="76"/>
                        </p:tgtEl>
                        <p:attrNameLst>
                          <p:attrName>ppt_h</p:attrName>
                        </p:attrNameLst>
                      </p:cBhvr>
                      <p:tavLst>
                        <p:tav tm="0">
                          <p:val>
                            <p:fltVal val="0"/>
                          </p:val>
                        </p:tav>
                        <p:tav tm="100000">
                          <p:val>
                            <p:strVal val="#ppt_h"/>
                          </p:val>
                        </p:tav>
                      </p:tavLst>
                    </p:anim>
                    <p:animEffect transition="in" filter="fade">
                      <p:cBhvr>
                        <p:cTn dur="400"/>
                        <p:tgtEl>
                          <p:spTgt spid="76"/>
                        </p:tgtEl>
                      </p:cBhvr>
                    </p:animEffect>
                  </p:childTnLst>
                </p:cTn>
              </p:par>
            </p:tnLst>
          </p:tmpl>
        </p:tmplLst>
      </p:bldP>
      <p:bldP spid="77" grpId="0" build="p">
        <p:tmplLst>
          <p:tmpl lvl="1">
            <p:tnLst>
              <p:par>
                <p:cTn presetID="53" presetClass="entr" presetSubtype="16" fill="hold" nodeType="afterEffect">
                  <p:stCondLst>
                    <p:cond delay="0"/>
                  </p:stCondLst>
                  <p:childTnLst>
                    <p:set>
                      <p:cBhvr>
                        <p:cTn dur="1" fill="hold">
                          <p:stCondLst>
                            <p:cond delay="0"/>
                          </p:stCondLst>
                        </p:cTn>
                        <p:tgtEl>
                          <p:spTgt spid="77"/>
                        </p:tgtEl>
                        <p:attrNameLst>
                          <p:attrName>style.visibility</p:attrName>
                        </p:attrNameLst>
                      </p:cBhvr>
                      <p:to>
                        <p:strVal val="visible"/>
                      </p:to>
                    </p:set>
                    <p:anim calcmode="lin" valueType="num">
                      <p:cBhvr>
                        <p:cTn dur="400" fill="hold"/>
                        <p:tgtEl>
                          <p:spTgt spid="77"/>
                        </p:tgtEl>
                        <p:attrNameLst>
                          <p:attrName>ppt_w</p:attrName>
                        </p:attrNameLst>
                      </p:cBhvr>
                      <p:tavLst>
                        <p:tav tm="0">
                          <p:val>
                            <p:fltVal val="0"/>
                          </p:val>
                        </p:tav>
                        <p:tav tm="100000">
                          <p:val>
                            <p:strVal val="#ppt_w"/>
                          </p:val>
                        </p:tav>
                      </p:tavLst>
                    </p:anim>
                    <p:anim calcmode="lin" valueType="num">
                      <p:cBhvr>
                        <p:cTn dur="400" fill="hold"/>
                        <p:tgtEl>
                          <p:spTgt spid="77"/>
                        </p:tgtEl>
                        <p:attrNameLst>
                          <p:attrName>ppt_h</p:attrName>
                        </p:attrNameLst>
                      </p:cBhvr>
                      <p:tavLst>
                        <p:tav tm="0">
                          <p:val>
                            <p:fltVal val="0"/>
                          </p:val>
                        </p:tav>
                        <p:tav tm="100000">
                          <p:val>
                            <p:strVal val="#ppt_h"/>
                          </p:val>
                        </p:tav>
                      </p:tavLst>
                    </p:anim>
                    <p:animEffect transition="in" filter="fade">
                      <p:cBhvr>
                        <p:cTn dur="400"/>
                        <p:tgtEl>
                          <p:spTgt spid="77"/>
                        </p:tgtEl>
                      </p:cBhvr>
                    </p:animEffect>
                  </p:childTnLst>
                </p:cTn>
              </p:par>
            </p:tnLst>
          </p:tmpl>
        </p:tmplLst>
      </p:bldP>
      <p:bldP spid="32" grpId="0" animBg="1"/>
      <p:bldP spid="35"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1" name="Group 1"/>
          <p:cNvGrpSpPr/>
          <p:nvPr/>
        </p:nvGrpSpPr>
        <p:grpSpPr bwMode="auto">
          <a:xfrm>
            <a:off x="2613660" y="1867438"/>
            <a:ext cx="1322388" cy="685907"/>
            <a:chOff x="3913901" y="5865040"/>
            <a:chExt cx="3322518" cy="1730427"/>
          </a:xfrm>
        </p:grpSpPr>
        <p:cxnSp>
          <p:nvCxnSpPr>
            <p:cNvPr id="102" name="直接连接符 84"/>
            <p:cNvCxnSpPr/>
            <p:nvPr/>
          </p:nvCxnSpPr>
          <p:spPr>
            <a:xfrm flipV="1">
              <a:off x="5664506" y="6733045"/>
              <a:ext cx="1571913" cy="0"/>
            </a:xfrm>
            <a:prstGeom prst="line">
              <a:avLst/>
            </a:prstGeom>
            <a:noFill/>
            <a:ln w="38100">
              <a:solidFill>
                <a:srgbClr val="00A4E3"/>
              </a:solidFill>
              <a:tailEnd type="oval"/>
            </a:ln>
          </p:spPr>
          <p:style>
            <a:lnRef idx="2">
              <a:schemeClr val="accent1">
                <a:shade val="50000"/>
              </a:schemeClr>
            </a:lnRef>
            <a:fillRef idx="1">
              <a:schemeClr val="accent1"/>
            </a:fillRef>
            <a:effectRef idx="0">
              <a:schemeClr val="accent1"/>
            </a:effectRef>
            <a:fontRef idx="minor">
              <a:schemeClr val="lt1"/>
            </a:fontRef>
          </p:style>
        </p:cxnSp>
        <p:sp>
          <p:nvSpPr>
            <p:cNvPr id="103" name="弧形 85"/>
            <p:cNvSpPr/>
            <p:nvPr/>
          </p:nvSpPr>
          <p:spPr>
            <a:xfrm rot="16200000">
              <a:off x="3914217" y="5864724"/>
              <a:ext cx="1730427" cy="1731060"/>
            </a:xfrm>
            <a:prstGeom prst="arc">
              <a:avLst>
                <a:gd name="adj1" fmla="val 2657162"/>
                <a:gd name="adj2" fmla="val 8176062"/>
              </a:avLst>
            </a:prstGeom>
            <a:noFill/>
            <a:ln w="38100">
              <a:solidFill>
                <a:srgbClr val="00A4E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500" noProof="1">
                <a:latin typeface="Calibri Light" panose="020F0302020204030204"/>
              </a:endParaRPr>
            </a:p>
          </p:txBody>
        </p:sp>
      </p:grpSp>
      <p:grpSp>
        <p:nvGrpSpPr>
          <p:cNvPr id="104" name="Group 53"/>
          <p:cNvGrpSpPr/>
          <p:nvPr/>
        </p:nvGrpSpPr>
        <p:grpSpPr bwMode="auto">
          <a:xfrm>
            <a:off x="1107917" y="1838674"/>
            <a:ext cx="737870" cy="734585"/>
            <a:chOff x="7683929" y="9649657"/>
            <a:chExt cx="1999231" cy="1999752"/>
          </a:xfrm>
        </p:grpSpPr>
        <p:grpSp>
          <p:nvGrpSpPr>
            <p:cNvPr id="105" name="Group 78"/>
            <p:cNvGrpSpPr/>
            <p:nvPr/>
          </p:nvGrpSpPr>
          <p:grpSpPr bwMode="auto">
            <a:xfrm rot="-283084">
              <a:off x="7683929" y="9649657"/>
              <a:ext cx="1999231" cy="1999752"/>
              <a:chOff x="5013110" y="5059616"/>
              <a:chExt cx="3378533" cy="3379413"/>
            </a:xfrm>
          </p:grpSpPr>
          <p:sp>
            <p:nvSpPr>
              <p:cNvPr id="107" name="Oval 81"/>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08" name="Oval 82"/>
              <p:cNvSpPr/>
              <p:nvPr/>
            </p:nvSpPr>
            <p:spPr>
              <a:xfrm>
                <a:off x="5287870" y="5334448"/>
                <a:ext cx="2829013" cy="2829749"/>
              </a:xfrm>
              <a:prstGeom prst="ellipse">
                <a:avLst/>
              </a:prstGeom>
              <a:solidFill>
                <a:srgbClr val="07A9E6"/>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06" name="Freeform 3"/>
            <p:cNvSpPr>
              <a:spLocks noChangeArrowheads="1"/>
            </p:cNvSpPr>
            <p:nvPr/>
          </p:nvSpPr>
          <p:spPr bwMode="auto">
            <a:xfrm>
              <a:off x="8300770" y="10295371"/>
              <a:ext cx="804670" cy="648009"/>
            </a:xfrm>
            <a:custGeom>
              <a:avLst/>
              <a:gdLst>
                <a:gd name="T0" fmla="*/ 788479 w 497"/>
                <a:gd name="T1" fmla="*/ 115022 h 400"/>
                <a:gd name="T2" fmla="*/ 788479 w 497"/>
                <a:gd name="T3" fmla="*/ 115022 h 400"/>
                <a:gd name="T4" fmla="*/ 602288 w 497"/>
                <a:gd name="T5" fmla="*/ 0 h 400"/>
                <a:gd name="T6" fmla="*/ 573145 w 497"/>
                <a:gd name="T7" fmla="*/ 0 h 400"/>
                <a:gd name="T8" fmla="*/ 401525 w 497"/>
                <a:gd name="T9" fmla="*/ 115022 h 400"/>
                <a:gd name="T10" fmla="*/ 229906 w 497"/>
                <a:gd name="T11" fmla="*/ 0 h 400"/>
                <a:gd name="T12" fmla="*/ 199144 w 497"/>
                <a:gd name="T13" fmla="*/ 0 h 400"/>
                <a:gd name="T14" fmla="*/ 12952 w 497"/>
                <a:gd name="T15" fmla="*/ 115022 h 400"/>
                <a:gd name="T16" fmla="*/ 0 w 497"/>
                <a:gd name="T17" fmla="*/ 144182 h 400"/>
                <a:gd name="T18" fmla="*/ 0 w 497"/>
                <a:gd name="T19" fmla="*/ 618849 h 400"/>
                <a:gd name="T20" fmla="*/ 12952 w 497"/>
                <a:gd name="T21" fmla="*/ 631809 h 400"/>
                <a:gd name="T22" fmla="*/ 42095 w 497"/>
                <a:gd name="T23" fmla="*/ 631809 h 400"/>
                <a:gd name="T24" fmla="*/ 213715 w 497"/>
                <a:gd name="T25" fmla="*/ 531367 h 400"/>
                <a:gd name="T26" fmla="*/ 386954 w 497"/>
                <a:gd name="T27" fmla="*/ 631809 h 400"/>
                <a:gd name="T28" fmla="*/ 416097 w 497"/>
                <a:gd name="T29" fmla="*/ 631809 h 400"/>
                <a:gd name="T30" fmla="*/ 587717 w 497"/>
                <a:gd name="T31" fmla="*/ 531367 h 400"/>
                <a:gd name="T32" fmla="*/ 760956 w 497"/>
                <a:gd name="T33" fmla="*/ 631809 h 400"/>
                <a:gd name="T34" fmla="*/ 773908 w 497"/>
                <a:gd name="T35" fmla="*/ 646389 h 400"/>
                <a:gd name="T36" fmla="*/ 788479 w 497"/>
                <a:gd name="T37" fmla="*/ 631809 h 400"/>
                <a:gd name="T38" fmla="*/ 803051 w 497"/>
                <a:gd name="T39" fmla="*/ 618849 h 400"/>
                <a:gd name="T40" fmla="*/ 803051 w 497"/>
                <a:gd name="T41" fmla="*/ 144182 h 400"/>
                <a:gd name="T42" fmla="*/ 788479 w 497"/>
                <a:gd name="T43" fmla="*/ 115022 h 400"/>
                <a:gd name="T44" fmla="*/ 186191 w 497"/>
                <a:gd name="T45" fmla="*/ 474667 h 400"/>
                <a:gd name="T46" fmla="*/ 186191 w 497"/>
                <a:gd name="T47" fmla="*/ 474667 h 400"/>
                <a:gd name="T48" fmla="*/ 56667 w 497"/>
                <a:gd name="T49" fmla="*/ 560528 h 400"/>
                <a:gd name="T50" fmla="*/ 56667 w 497"/>
                <a:gd name="T51" fmla="*/ 158762 h 400"/>
                <a:gd name="T52" fmla="*/ 186191 w 497"/>
                <a:gd name="T53" fmla="*/ 71281 h 400"/>
                <a:gd name="T54" fmla="*/ 186191 w 497"/>
                <a:gd name="T55" fmla="*/ 474667 h 400"/>
                <a:gd name="T56" fmla="*/ 372382 w 497"/>
                <a:gd name="T57" fmla="*/ 560528 h 400"/>
                <a:gd name="T58" fmla="*/ 372382 w 497"/>
                <a:gd name="T59" fmla="*/ 560528 h 400"/>
                <a:gd name="T60" fmla="*/ 242858 w 497"/>
                <a:gd name="T61" fmla="*/ 474667 h 400"/>
                <a:gd name="T62" fmla="*/ 242858 w 497"/>
                <a:gd name="T63" fmla="*/ 71281 h 400"/>
                <a:gd name="T64" fmla="*/ 372382 w 497"/>
                <a:gd name="T65" fmla="*/ 158762 h 400"/>
                <a:gd name="T66" fmla="*/ 372382 w 497"/>
                <a:gd name="T67" fmla="*/ 560528 h 400"/>
                <a:gd name="T68" fmla="*/ 558574 w 497"/>
                <a:gd name="T69" fmla="*/ 474667 h 400"/>
                <a:gd name="T70" fmla="*/ 558574 w 497"/>
                <a:gd name="T71" fmla="*/ 474667 h 400"/>
                <a:gd name="T72" fmla="*/ 430668 w 497"/>
                <a:gd name="T73" fmla="*/ 560528 h 400"/>
                <a:gd name="T74" fmla="*/ 430668 w 497"/>
                <a:gd name="T75" fmla="*/ 158762 h 400"/>
                <a:gd name="T76" fmla="*/ 558574 w 497"/>
                <a:gd name="T77" fmla="*/ 71281 h 400"/>
                <a:gd name="T78" fmla="*/ 558574 w 497"/>
                <a:gd name="T79" fmla="*/ 474667 h 400"/>
                <a:gd name="T80" fmla="*/ 746384 w 497"/>
                <a:gd name="T81" fmla="*/ 560528 h 400"/>
                <a:gd name="T82" fmla="*/ 746384 w 497"/>
                <a:gd name="T83" fmla="*/ 560528 h 400"/>
                <a:gd name="T84" fmla="*/ 615241 w 497"/>
                <a:gd name="T85" fmla="*/ 474667 h 400"/>
                <a:gd name="T86" fmla="*/ 615241 w 497"/>
                <a:gd name="T87" fmla="*/ 71281 h 400"/>
                <a:gd name="T88" fmla="*/ 746384 w 497"/>
                <a:gd name="T89" fmla="*/ 158762 h 400"/>
                <a:gd name="T90" fmla="*/ 746384 w 497"/>
                <a:gd name="T91" fmla="*/ 560528 h 40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97" h="400">
                  <a:moveTo>
                    <a:pt x="487" y="71"/>
                  </a:moveTo>
                  <a:lnTo>
                    <a:pt x="487" y="71"/>
                  </a:lnTo>
                  <a:cubicBezTo>
                    <a:pt x="372" y="0"/>
                    <a:pt x="372" y="0"/>
                    <a:pt x="372" y="0"/>
                  </a:cubicBezTo>
                  <a:cubicBezTo>
                    <a:pt x="363" y="0"/>
                    <a:pt x="363" y="0"/>
                    <a:pt x="354" y="0"/>
                  </a:cubicBezTo>
                  <a:cubicBezTo>
                    <a:pt x="248" y="71"/>
                    <a:pt x="248" y="71"/>
                    <a:pt x="248" y="71"/>
                  </a:cubicBezTo>
                  <a:cubicBezTo>
                    <a:pt x="142" y="0"/>
                    <a:pt x="142" y="0"/>
                    <a:pt x="142" y="0"/>
                  </a:cubicBezTo>
                  <a:cubicBezTo>
                    <a:pt x="132" y="0"/>
                    <a:pt x="132" y="0"/>
                    <a:pt x="123" y="0"/>
                  </a:cubicBezTo>
                  <a:cubicBezTo>
                    <a:pt x="8" y="71"/>
                    <a:pt x="8" y="71"/>
                    <a:pt x="8" y="71"/>
                  </a:cubicBezTo>
                  <a:cubicBezTo>
                    <a:pt x="0" y="80"/>
                    <a:pt x="0" y="80"/>
                    <a:pt x="0" y="89"/>
                  </a:cubicBezTo>
                  <a:cubicBezTo>
                    <a:pt x="0" y="382"/>
                    <a:pt x="0" y="382"/>
                    <a:pt x="0" y="382"/>
                  </a:cubicBezTo>
                  <a:cubicBezTo>
                    <a:pt x="0" y="382"/>
                    <a:pt x="0" y="390"/>
                    <a:pt x="8" y="390"/>
                  </a:cubicBezTo>
                  <a:cubicBezTo>
                    <a:pt x="8" y="399"/>
                    <a:pt x="17" y="399"/>
                    <a:pt x="26" y="390"/>
                  </a:cubicBezTo>
                  <a:cubicBezTo>
                    <a:pt x="132" y="328"/>
                    <a:pt x="132" y="328"/>
                    <a:pt x="132" y="328"/>
                  </a:cubicBezTo>
                  <a:cubicBezTo>
                    <a:pt x="239" y="390"/>
                    <a:pt x="239" y="390"/>
                    <a:pt x="239" y="390"/>
                  </a:cubicBezTo>
                  <a:cubicBezTo>
                    <a:pt x="248" y="399"/>
                    <a:pt x="248" y="399"/>
                    <a:pt x="257" y="390"/>
                  </a:cubicBezTo>
                  <a:cubicBezTo>
                    <a:pt x="363" y="328"/>
                    <a:pt x="363" y="328"/>
                    <a:pt x="363" y="328"/>
                  </a:cubicBezTo>
                  <a:cubicBezTo>
                    <a:pt x="470" y="390"/>
                    <a:pt x="470" y="390"/>
                    <a:pt x="470" y="390"/>
                  </a:cubicBezTo>
                  <a:cubicBezTo>
                    <a:pt x="470" y="399"/>
                    <a:pt x="478" y="399"/>
                    <a:pt x="478" y="399"/>
                  </a:cubicBezTo>
                  <a:cubicBezTo>
                    <a:pt x="478" y="399"/>
                    <a:pt x="487" y="399"/>
                    <a:pt x="487" y="390"/>
                  </a:cubicBezTo>
                  <a:cubicBezTo>
                    <a:pt x="496" y="390"/>
                    <a:pt x="496" y="382"/>
                    <a:pt x="496" y="382"/>
                  </a:cubicBezTo>
                  <a:cubicBezTo>
                    <a:pt x="496" y="89"/>
                    <a:pt x="496" y="89"/>
                    <a:pt x="496" y="89"/>
                  </a:cubicBezTo>
                  <a:cubicBezTo>
                    <a:pt x="496" y="80"/>
                    <a:pt x="496" y="80"/>
                    <a:pt x="487" y="71"/>
                  </a:cubicBezTo>
                  <a:close/>
                  <a:moveTo>
                    <a:pt x="115" y="293"/>
                  </a:moveTo>
                  <a:lnTo>
                    <a:pt x="115" y="293"/>
                  </a:lnTo>
                  <a:cubicBezTo>
                    <a:pt x="35" y="346"/>
                    <a:pt x="35" y="346"/>
                    <a:pt x="35" y="346"/>
                  </a:cubicBezTo>
                  <a:cubicBezTo>
                    <a:pt x="35" y="98"/>
                    <a:pt x="35" y="98"/>
                    <a:pt x="35" y="98"/>
                  </a:cubicBezTo>
                  <a:cubicBezTo>
                    <a:pt x="115" y="44"/>
                    <a:pt x="115" y="44"/>
                    <a:pt x="115" y="44"/>
                  </a:cubicBezTo>
                  <a:lnTo>
                    <a:pt x="115" y="293"/>
                  </a:lnTo>
                  <a:close/>
                  <a:moveTo>
                    <a:pt x="230" y="346"/>
                  </a:moveTo>
                  <a:lnTo>
                    <a:pt x="230" y="346"/>
                  </a:lnTo>
                  <a:cubicBezTo>
                    <a:pt x="150" y="293"/>
                    <a:pt x="150" y="293"/>
                    <a:pt x="150" y="293"/>
                  </a:cubicBezTo>
                  <a:cubicBezTo>
                    <a:pt x="150" y="44"/>
                    <a:pt x="150" y="44"/>
                    <a:pt x="150" y="44"/>
                  </a:cubicBezTo>
                  <a:cubicBezTo>
                    <a:pt x="230" y="98"/>
                    <a:pt x="230" y="98"/>
                    <a:pt x="230" y="98"/>
                  </a:cubicBezTo>
                  <a:lnTo>
                    <a:pt x="230" y="346"/>
                  </a:lnTo>
                  <a:close/>
                  <a:moveTo>
                    <a:pt x="345" y="293"/>
                  </a:moveTo>
                  <a:lnTo>
                    <a:pt x="345" y="293"/>
                  </a:lnTo>
                  <a:cubicBezTo>
                    <a:pt x="266" y="346"/>
                    <a:pt x="266" y="346"/>
                    <a:pt x="266" y="346"/>
                  </a:cubicBezTo>
                  <a:cubicBezTo>
                    <a:pt x="266" y="98"/>
                    <a:pt x="266" y="98"/>
                    <a:pt x="266" y="98"/>
                  </a:cubicBezTo>
                  <a:cubicBezTo>
                    <a:pt x="345" y="44"/>
                    <a:pt x="345" y="44"/>
                    <a:pt x="345" y="44"/>
                  </a:cubicBezTo>
                  <a:lnTo>
                    <a:pt x="345" y="293"/>
                  </a:lnTo>
                  <a:close/>
                  <a:moveTo>
                    <a:pt x="461" y="346"/>
                  </a:moveTo>
                  <a:lnTo>
                    <a:pt x="461" y="346"/>
                  </a:lnTo>
                  <a:cubicBezTo>
                    <a:pt x="380" y="293"/>
                    <a:pt x="380" y="293"/>
                    <a:pt x="380" y="293"/>
                  </a:cubicBezTo>
                  <a:cubicBezTo>
                    <a:pt x="380" y="44"/>
                    <a:pt x="380" y="44"/>
                    <a:pt x="380" y="44"/>
                  </a:cubicBezTo>
                  <a:cubicBezTo>
                    <a:pt x="461" y="98"/>
                    <a:pt x="461" y="98"/>
                    <a:pt x="461" y="98"/>
                  </a:cubicBezTo>
                  <a:lnTo>
                    <a:pt x="461" y="346"/>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a:p>
          </p:txBody>
        </p:sp>
      </p:grpSp>
      <p:grpSp>
        <p:nvGrpSpPr>
          <p:cNvPr id="109" name="Group 54"/>
          <p:cNvGrpSpPr/>
          <p:nvPr/>
        </p:nvGrpSpPr>
        <p:grpSpPr bwMode="auto">
          <a:xfrm>
            <a:off x="5438458" y="1838674"/>
            <a:ext cx="737870" cy="734585"/>
            <a:chOff x="14361737" y="2978422"/>
            <a:chExt cx="1999231" cy="1999752"/>
          </a:xfrm>
        </p:grpSpPr>
        <p:grpSp>
          <p:nvGrpSpPr>
            <p:cNvPr id="110" name="Group 74"/>
            <p:cNvGrpSpPr/>
            <p:nvPr/>
          </p:nvGrpSpPr>
          <p:grpSpPr bwMode="auto">
            <a:xfrm rot="-283084">
              <a:off x="14361737" y="2978422"/>
              <a:ext cx="1999231" cy="1999752"/>
              <a:chOff x="5013110" y="5059616"/>
              <a:chExt cx="3378533" cy="3379413"/>
            </a:xfrm>
          </p:grpSpPr>
          <p:sp>
            <p:nvSpPr>
              <p:cNvPr id="112" name="Oval 76"/>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13" name="Oval 77"/>
              <p:cNvSpPr/>
              <p:nvPr/>
            </p:nvSpPr>
            <p:spPr>
              <a:xfrm>
                <a:off x="5287870" y="5334448"/>
                <a:ext cx="2829013" cy="2829749"/>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11" name="Freeform 22"/>
            <p:cNvSpPr>
              <a:spLocks noChangeArrowheads="1"/>
            </p:cNvSpPr>
            <p:nvPr/>
          </p:nvSpPr>
          <p:spPr bwMode="auto">
            <a:xfrm>
              <a:off x="15014064" y="3584307"/>
              <a:ext cx="747702" cy="747708"/>
            </a:xfrm>
            <a:custGeom>
              <a:avLst/>
              <a:gdLst>
                <a:gd name="T0" fmla="*/ 373040 w 461"/>
                <a:gd name="T1" fmla="*/ 12975 h 461"/>
                <a:gd name="T2" fmla="*/ 373040 w 461"/>
                <a:gd name="T3" fmla="*/ 12975 h 461"/>
                <a:gd name="T4" fmla="*/ 0 w 461"/>
                <a:gd name="T5" fmla="*/ 387640 h 461"/>
                <a:gd name="T6" fmla="*/ 373040 w 461"/>
                <a:gd name="T7" fmla="*/ 746086 h 461"/>
                <a:gd name="T8" fmla="*/ 746080 w 461"/>
                <a:gd name="T9" fmla="*/ 373043 h 461"/>
                <a:gd name="T10" fmla="*/ 373040 w 461"/>
                <a:gd name="T11" fmla="*/ 12975 h 461"/>
                <a:gd name="T12" fmla="*/ 373040 w 461"/>
                <a:gd name="T13" fmla="*/ 56767 h 461"/>
                <a:gd name="T14" fmla="*/ 373040 w 461"/>
                <a:gd name="T15" fmla="*/ 56767 h 461"/>
                <a:gd name="T16" fmla="*/ 517390 w 461"/>
                <a:gd name="T17" fmla="*/ 85962 h 461"/>
                <a:gd name="T18" fmla="*/ 471977 w 461"/>
                <a:gd name="T19" fmla="*/ 171924 h 461"/>
                <a:gd name="T20" fmla="*/ 373040 w 461"/>
                <a:gd name="T21" fmla="*/ 157327 h 461"/>
                <a:gd name="T22" fmla="*/ 272481 w 461"/>
                <a:gd name="T23" fmla="*/ 171924 h 461"/>
                <a:gd name="T24" fmla="*/ 228690 w 461"/>
                <a:gd name="T25" fmla="*/ 85962 h 461"/>
                <a:gd name="T26" fmla="*/ 373040 w 461"/>
                <a:gd name="T27" fmla="*/ 56767 h 461"/>
                <a:gd name="T28" fmla="*/ 171923 w 461"/>
                <a:gd name="T29" fmla="*/ 473602 h 461"/>
                <a:gd name="T30" fmla="*/ 171923 w 461"/>
                <a:gd name="T31" fmla="*/ 473602 h 461"/>
                <a:gd name="T32" fmla="*/ 85961 w 461"/>
                <a:gd name="T33" fmla="*/ 530370 h 461"/>
                <a:gd name="T34" fmla="*/ 56767 w 461"/>
                <a:gd name="T35" fmla="*/ 387640 h 461"/>
                <a:gd name="T36" fmla="*/ 85961 w 461"/>
                <a:gd name="T37" fmla="*/ 228692 h 461"/>
                <a:gd name="T38" fmla="*/ 171923 w 461"/>
                <a:gd name="T39" fmla="*/ 270862 h 461"/>
                <a:gd name="T40" fmla="*/ 142728 w 461"/>
                <a:gd name="T41" fmla="*/ 373043 h 461"/>
                <a:gd name="T42" fmla="*/ 171923 w 461"/>
                <a:gd name="T43" fmla="*/ 473602 h 461"/>
                <a:gd name="T44" fmla="*/ 373040 w 461"/>
                <a:gd name="T45" fmla="*/ 702294 h 461"/>
                <a:gd name="T46" fmla="*/ 373040 w 461"/>
                <a:gd name="T47" fmla="*/ 702294 h 461"/>
                <a:gd name="T48" fmla="*/ 228690 w 461"/>
                <a:gd name="T49" fmla="*/ 660124 h 461"/>
                <a:gd name="T50" fmla="*/ 272481 w 461"/>
                <a:gd name="T51" fmla="*/ 574162 h 461"/>
                <a:gd name="T52" fmla="*/ 373040 w 461"/>
                <a:gd name="T53" fmla="*/ 603357 h 461"/>
                <a:gd name="T54" fmla="*/ 471977 w 461"/>
                <a:gd name="T55" fmla="*/ 574162 h 461"/>
                <a:gd name="T56" fmla="*/ 517390 w 461"/>
                <a:gd name="T57" fmla="*/ 660124 h 461"/>
                <a:gd name="T58" fmla="*/ 373040 w 461"/>
                <a:gd name="T59" fmla="*/ 702294 h 461"/>
                <a:gd name="T60" fmla="*/ 373040 w 461"/>
                <a:gd name="T61" fmla="*/ 559565 h 461"/>
                <a:gd name="T62" fmla="*/ 373040 w 461"/>
                <a:gd name="T63" fmla="*/ 559565 h 461"/>
                <a:gd name="T64" fmla="*/ 201117 w 461"/>
                <a:gd name="T65" fmla="*/ 373043 h 461"/>
                <a:gd name="T66" fmla="*/ 373040 w 461"/>
                <a:gd name="T67" fmla="*/ 199497 h 461"/>
                <a:gd name="T68" fmla="*/ 544963 w 461"/>
                <a:gd name="T69" fmla="*/ 373043 h 461"/>
                <a:gd name="T70" fmla="*/ 373040 w 461"/>
                <a:gd name="T71" fmla="*/ 559565 h 461"/>
                <a:gd name="T72" fmla="*/ 574157 w 461"/>
                <a:gd name="T73" fmla="*/ 473602 h 461"/>
                <a:gd name="T74" fmla="*/ 574157 w 461"/>
                <a:gd name="T75" fmla="*/ 473602 h 461"/>
                <a:gd name="T76" fmla="*/ 603352 w 461"/>
                <a:gd name="T77" fmla="*/ 373043 h 461"/>
                <a:gd name="T78" fmla="*/ 574157 w 461"/>
                <a:gd name="T79" fmla="*/ 270862 h 461"/>
                <a:gd name="T80" fmla="*/ 660119 w 461"/>
                <a:gd name="T81" fmla="*/ 228692 h 461"/>
                <a:gd name="T82" fmla="*/ 689313 w 461"/>
                <a:gd name="T83" fmla="*/ 373043 h 461"/>
                <a:gd name="T84" fmla="*/ 660119 w 461"/>
                <a:gd name="T85" fmla="*/ 530370 h 461"/>
                <a:gd name="T86" fmla="*/ 574157 w 461"/>
                <a:gd name="T87" fmla="*/ 473602 h 46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61" h="461">
                  <a:moveTo>
                    <a:pt x="230" y="8"/>
                  </a:moveTo>
                  <a:lnTo>
                    <a:pt x="230" y="8"/>
                  </a:lnTo>
                  <a:cubicBezTo>
                    <a:pt x="97" y="8"/>
                    <a:pt x="0" y="106"/>
                    <a:pt x="0" y="239"/>
                  </a:cubicBezTo>
                  <a:cubicBezTo>
                    <a:pt x="0" y="363"/>
                    <a:pt x="106" y="460"/>
                    <a:pt x="230" y="460"/>
                  </a:cubicBezTo>
                  <a:cubicBezTo>
                    <a:pt x="363" y="460"/>
                    <a:pt x="460" y="354"/>
                    <a:pt x="460" y="230"/>
                  </a:cubicBezTo>
                  <a:cubicBezTo>
                    <a:pt x="460" y="106"/>
                    <a:pt x="354" y="0"/>
                    <a:pt x="230" y="8"/>
                  </a:cubicBezTo>
                  <a:close/>
                  <a:moveTo>
                    <a:pt x="230" y="35"/>
                  </a:moveTo>
                  <a:lnTo>
                    <a:pt x="230" y="35"/>
                  </a:lnTo>
                  <a:cubicBezTo>
                    <a:pt x="256" y="35"/>
                    <a:pt x="291" y="44"/>
                    <a:pt x="319" y="53"/>
                  </a:cubicBezTo>
                  <a:cubicBezTo>
                    <a:pt x="291" y="106"/>
                    <a:pt x="291" y="106"/>
                    <a:pt x="291" y="106"/>
                  </a:cubicBezTo>
                  <a:cubicBezTo>
                    <a:pt x="275" y="97"/>
                    <a:pt x="247" y="97"/>
                    <a:pt x="230" y="97"/>
                  </a:cubicBezTo>
                  <a:cubicBezTo>
                    <a:pt x="203" y="97"/>
                    <a:pt x="185" y="97"/>
                    <a:pt x="168" y="106"/>
                  </a:cubicBezTo>
                  <a:cubicBezTo>
                    <a:pt x="141" y="53"/>
                    <a:pt x="141" y="53"/>
                    <a:pt x="141" y="53"/>
                  </a:cubicBezTo>
                  <a:cubicBezTo>
                    <a:pt x="168" y="44"/>
                    <a:pt x="194" y="35"/>
                    <a:pt x="230" y="35"/>
                  </a:cubicBezTo>
                  <a:close/>
                  <a:moveTo>
                    <a:pt x="106" y="292"/>
                  </a:moveTo>
                  <a:lnTo>
                    <a:pt x="106" y="292"/>
                  </a:lnTo>
                  <a:cubicBezTo>
                    <a:pt x="53" y="327"/>
                    <a:pt x="53" y="327"/>
                    <a:pt x="53" y="327"/>
                  </a:cubicBezTo>
                  <a:cubicBezTo>
                    <a:pt x="35" y="301"/>
                    <a:pt x="35" y="265"/>
                    <a:pt x="35" y="239"/>
                  </a:cubicBezTo>
                  <a:cubicBezTo>
                    <a:pt x="26" y="204"/>
                    <a:pt x="35" y="167"/>
                    <a:pt x="53" y="141"/>
                  </a:cubicBezTo>
                  <a:cubicBezTo>
                    <a:pt x="106" y="167"/>
                    <a:pt x="106" y="167"/>
                    <a:pt x="106" y="167"/>
                  </a:cubicBezTo>
                  <a:cubicBezTo>
                    <a:pt x="97" y="185"/>
                    <a:pt x="88" y="212"/>
                    <a:pt x="88" y="230"/>
                  </a:cubicBezTo>
                  <a:cubicBezTo>
                    <a:pt x="88" y="257"/>
                    <a:pt x="97" y="274"/>
                    <a:pt x="106" y="292"/>
                  </a:cubicBezTo>
                  <a:close/>
                  <a:moveTo>
                    <a:pt x="230" y="433"/>
                  </a:moveTo>
                  <a:lnTo>
                    <a:pt x="230" y="433"/>
                  </a:lnTo>
                  <a:cubicBezTo>
                    <a:pt x="194" y="433"/>
                    <a:pt x="168" y="425"/>
                    <a:pt x="141" y="407"/>
                  </a:cubicBezTo>
                  <a:cubicBezTo>
                    <a:pt x="168" y="354"/>
                    <a:pt x="168" y="354"/>
                    <a:pt x="168" y="354"/>
                  </a:cubicBezTo>
                  <a:cubicBezTo>
                    <a:pt x="185" y="363"/>
                    <a:pt x="203" y="372"/>
                    <a:pt x="230" y="372"/>
                  </a:cubicBezTo>
                  <a:cubicBezTo>
                    <a:pt x="247" y="372"/>
                    <a:pt x="275" y="363"/>
                    <a:pt x="291" y="354"/>
                  </a:cubicBezTo>
                  <a:cubicBezTo>
                    <a:pt x="319" y="407"/>
                    <a:pt x="319" y="407"/>
                    <a:pt x="319" y="407"/>
                  </a:cubicBezTo>
                  <a:cubicBezTo>
                    <a:pt x="291" y="425"/>
                    <a:pt x="266" y="433"/>
                    <a:pt x="230" y="433"/>
                  </a:cubicBezTo>
                  <a:close/>
                  <a:moveTo>
                    <a:pt x="230" y="345"/>
                  </a:moveTo>
                  <a:lnTo>
                    <a:pt x="230" y="345"/>
                  </a:lnTo>
                  <a:cubicBezTo>
                    <a:pt x="168" y="345"/>
                    <a:pt x="124" y="292"/>
                    <a:pt x="124" y="230"/>
                  </a:cubicBezTo>
                  <a:cubicBezTo>
                    <a:pt x="124" y="167"/>
                    <a:pt x="168" y="123"/>
                    <a:pt x="230" y="123"/>
                  </a:cubicBezTo>
                  <a:cubicBezTo>
                    <a:pt x="291" y="123"/>
                    <a:pt x="336" y="167"/>
                    <a:pt x="336" y="230"/>
                  </a:cubicBezTo>
                  <a:cubicBezTo>
                    <a:pt x="336" y="292"/>
                    <a:pt x="291" y="345"/>
                    <a:pt x="230" y="345"/>
                  </a:cubicBezTo>
                  <a:close/>
                  <a:moveTo>
                    <a:pt x="354" y="292"/>
                  </a:moveTo>
                  <a:lnTo>
                    <a:pt x="354" y="292"/>
                  </a:lnTo>
                  <a:cubicBezTo>
                    <a:pt x="363" y="274"/>
                    <a:pt x="372" y="257"/>
                    <a:pt x="372" y="230"/>
                  </a:cubicBezTo>
                  <a:cubicBezTo>
                    <a:pt x="372" y="212"/>
                    <a:pt x="363" y="185"/>
                    <a:pt x="354" y="167"/>
                  </a:cubicBezTo>
                  <a:cubicBezTo>
                    <a:pt x="407" y="141"/>
                    <a:pt x="407" y="141"/>
                    <a:pt x="407" y="141"/>
                  </a:cubicBezTo>
                  <a:cubicBezTo>
                    <a:pt x="416" y="167"/>
                    <a:pt x="425" y="195"/>
                    <a:pt x="425" y="230"/>
                  </a:cubicBezTo>
                  <a:cubicBezTo>
                    <a:pt x="425" y="265"/>
                    <a:pt x="416" y="292"/>
                    <a:pt x="407" y="327"/>
                  </a:cubicBezTo>
                  <a:lnTo>
                    <a:pt x="354" y="292"/>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a:p>
          </p:txBody>
        </p:sp>
      </p:grpSp>
      <p:grpSp>
        <p:nvGrpSpPr>
          <p:cNvPr id="114" name="Group 55"/>
          <p:cNvGrpSpPr/>
          <p:nvPr/>
        </p:nvGrpSpPr>
        <p:grpSpPr bwMode="auto">
          <a:xfrm>
            <a:off x="3994944" y="1834249"/>
            <a:ext cx="737870" cy="735691"/>
            <a:chOff x="12208441" y="5274469"/>
            <a:chExt cx="1999231" cy="1999752"/>
          </a:xfrm>
        </p:grpSpPr>
        <p:grpSp>
          <p:nvGrpSpPr>
            <p:cNvPr id="115" name="Group 61"/>
            <p:cNvGrpSpPr/>
            <p:nvPr/>
          </p:nvGrpSpPr>
          <p:grpSpPr bwMode="auto">
            <a:xfrm rot="-283084">
              <a:off x="12208441" y="5274469"/>
              <a:ext cx="1999231" cy="1999752"/>
              <a:chOff x="5013110" y="5059616"/>
              <a:chExt cx="3378533" cy="3379413"/>
            </a:xfrm>
          </p:grpSpPr>
          <p:sp>
            <p:nvSpPr>
              <p:cNvPr id="117" name="Oval 63"/>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18" name="Oval 73"/>
              <p:cNvSpPr/>
              <p:nvPr/>
            </p:nvSpPr>
            <p:spPr>
              <a:xfrm>
                <a:off x="5287870" y="5334034"/>
                <a:ext cx="2829013" cy="2830576"/>
              </a:xfrm>
              <a:prstGeom prst="ellipse">
                <a:avLst/>
              </a:prstGeom>
              <a:solidFill>
                <a:srgbClr val="07A9E6"/>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16" name="Freeform 101"/>
            <p:cNvSpPr>
              <a:spLocks noChangeArrowheads="1"/>
            </p:cNvSpPr>
            <p:nvPr/>
          </p:nvSpPr>
          <p:spPr bwMode="auto">
            <a:xfrm>
              <a:off x="12885009" y="5933249"/>
              <a:ext cx="804670" cy="619524"/>
            </a:xfrm>
            <a:custGeom>
              <a:avLst/>
              <a:gdLst>
                <a:gd name="T0" fmla="*/ 129524 w 497"/>
                <a:gd name="T1" fmla="*/ 402204 h 382"/>
                <a:gd name="T2" fmla="*/ 129524 w 497"/>
                <a:gd name="T3" fmla="*/ 402204 h 382"/>
                <a:gd name="T4" fmla="*/ 257430 w 497"/>
                <a:gd name="T5" fmla="*/ 531947 h 382"/>
                <a:gd name="T6" fmla="*/ 401525 w 497"/>
                <a:gd name="T7" fmla="*/ 617902 h 382"/>
                <a:gd name="T8" fmla="*/ 545621 w 497"/>
                <a:gd name="T9" fmla="*/ 546543 h 382"/>
                <a:gd name="T10" fmla="*/ 631431 w 497"/>
                <a:gd name="T11" fmla="*/ 418422 h 382"/>
                <a:gd name="T12" fmla="*/ 401525 w 497"/>
                <a:gd name="T13" fmla="*/ 531947 h 382"/>
                <a:gd name="T14" fmla="*/ 129524 w 497"/>
                <a:gd name="T15" fmla="*/ 402204 h 382"/>
                <a:gd name="T16" fmla="*/ 788479 w 497"/>
                <a:gd name="T17" fmla="*/ 201102 h 382"/>
                <a:gd name="T18" fmla="*/ 788479 w 497"/>
                <a:gd name="T19" fmla="*/ 201102 h 382"/>
                <a:gd name="T20" fmla="*/ 443621 w 497"/>
                <a:gd name="T21" fmla="*/ 14596 h 382"/>
                <a:gd name="T22" fmla="*/ 357811 w 497"/>
                <a:gd name="T23" fmla="*/ 14596 h 382"/>
                <a:gd name="T24" fmla="*/ 14571 w 497"/>
                <a:gd name="T25" fmla="*/ 201102 h 382"/>
                <a:gd name="T26" fmla="*/ 14571 w 497"/>
                <a:gd name="T27" fmla="*/ 259486 h 382"/>
                <a:gd name="T28" fmla="*/ 357811 w 497"/>
                <a:gd name="T29" fmla="*/ 445992 h 382"/>
                <a:gd name="T30" fmla="*/ 443621 w 497"/>
                <a:gd name="T31" fmla="*/ 445992 h 382"/>
                <a:gd name="T32" fmla="*/ 660574 w 497"/>
                <a:gd name="T33" fmla="*/ 316249 h 382"/>
                <a:gd name="T34" fmla="*/ 430668 w 497"/>
                <a:gd name="T35" fmla="*/ 259486 h 382"/>
                <a:gd name="T36" fmla="*/ 401525 w 497"/>
                <a:gd name="T37" fmla="*/ 272461 h 382"/>
                <a:gd name="T38" fmla="*/ 328668 w 497"/>
                <a:gd name="T39" fmla="*/ 215698 h 382"/>
                <a:gd name="T40" fmla="*/ 401525 w 497"/>
                <a:gd name="T41" fmla="*/ 173532 h 382"/>
                <a:gd name="T42" fmla="*/ 474383 w 497"/>
                <a:gd name="T43" fmla="*/ 201102 h 382"/>
                <a:gd name="T44" fmla="*/ 717241 w 497"/>
                <a:gd name="T45" fmla="*/ 287057 h 382"/>
                <a:gd name="T46" fmla="*/ 788479 w 497"/>
                <a:gd name="T47" fmla="*/ 259486 h 382"/>
                <a:gd name="T48" fmla="*/ 788479 w 497"/>
                <a:gd name="T49" fmla="*/ 201102 h 382"/>
                <a:gd name="T50" fmla="*/ 688098 w 497"/>
                <a:gd name="T51" fmla="*/ 561140 h 382"/>
                <a:gd name="T52" fmla="*/ 688098 w 497"/>
                <a:gd name="T53" fmla="*/ 561140 h 382"/>
                <a:gd name="T54" fmla="*/ 746384 w 497"/>
                <a:gd name="T55" fmla="*/ 546543 h 382"/>
                <a:gd name="T56" fmla="*/ 717241 w 497"/>
                <a:gd name="T57" fmla="*/ 287057 h 382"/>
                <a:gd name="T58" fmla="*/ 660574 w 497"/>
                <a:gd name="T59" fmla="*/ 316249 h 382"/>
                <a:gd name="T60" fmla="*/ 688098 w 497"/>
                <a:gd name="T61" fmla="*/ 561140 h 38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497" h="382">
                  <a:moveTo>
                    <a:pt x="80" y="248"/>
                  </a:moveTo>
                  <a:lnTo>
                    <a:pt x="80" y="248"/>
                  </a:lnTo>
                  <a:cubicBezTo>
                    <a:pt x="97" y="293"/>
                    <a:pt x="106" y="311"/>
                    <a:pt x="159" y="328"/>
                  </a:cubicBezTo>
                  <a:cubicBezTo>
                    <a:pt x="203" y="355"/>
                    <a:pt x="230" y="381"/>
                    <a:pt x="248" y="381"/>
                  </a:cubicBezTo>
                  <a:cubicBezTo>
                    <a:pt x="266" y="381"/>
                    <a:pt x="293" y="355"/>
                    <a:pt x="337" y="337"/>
                  </a:cubicBezTo>
                  <a:cubicBezTo>
                    <a:pt x="390" y="311"/>
                    <a:pt x="372" y="311"/>
                    <a:pt x="390" y="258"/>
                  </a:cubicBezTo>
                  <a:cubicBezTo>
                    <a:pt x="248" y="328"/>
                    <a:pt x="248" y="328"/>
                    <a:pt x="248" y="328"/>
                  </a:cubicBezTo>
                  <a:lnTo>
                    <a:pt x="80" y="248"/>
                  </a:lnTo>
                  <a:close/>
                  <a:moveTo>
                    <a:pt x="487" y="124"/>
                  </a:moveTo>
                  <a:lnTo>
                    <a:pt x="487" y="124"/>
                  </a:lnTo>
                  <a:cubicBezTo>
                    <a:pt x="274" y="9"/>
                    <a:pt x="274" y="9"/>
                    <a:pt x="274" y="9"/>
                  </a:cubicBezTo>
                  <a:cubicBezTo>
                    <a:pt x="266" y="0"/>
                    <a:pt x="239" y="0"/>
                    <a:pt x="221" y="9"/>
                  </a:cubicBezTo>
                  <a:cubicBezTo>
                    <a:pt x="9" y="124"/>
                    <a:pt x="9" y="124"/>
                    <a:pt x="9" y="124"/>
                  </a:cubicBezTo>
                  <a:cubicBezTo>
                    <a:pt x="0" y="133"/>
                    <a:pt x="0" y="142"/>
                    <a:pt x="9" y="160"/>
                  </a:cubicBezTo>
                  <a:cubicBezTo>
                    <a:pt x="221" y="275"/>
                    <a:pt x="221" y="275"/>
                    <a:pt x="221" y="275"/>
                  </a:cubicBezTo>
                  <a:cubicBezTo>
                    <a:pt x="239" y="284"/>
                    <a:pt x="266" y="284"/>
                    <a:pt x="274" y="275"/>
                  </a:cubicBezTo>
                  <a:cubicBezTo>
                    <a:pt x="408" y="195"/>
                    <a:pt x="408" y="195"/>
                    <a:pt x="408" y="195"/>
                  </a:cubicBezTo>
                  <a:cubicBezTo>
                    <a:pt x="266" y="160"/>
                    <a:pt x="266" y="160"/>
                    <a:pt x="266" y="160"/>
                  </a:cubicBezTo>
                  <a:cubicBezTo>
                    <a:pt x="257" y="160"/>
                    <a:pt x="257" y="168"/>
                    <a:pt x="248" y="168"/>
                  </a:cubicBezTo>
                  <a:cubicBezTo>
                    <a:pt x="221" y="168"/>
                    <a:pt x="203" y="151"/>
                    <a:pt x="203" y="133"/>
                  </a:cubicBezTo>
                  <a:cubicBezTo>
                    <a:pt x="203" y="124"/>
                    <a:pt x="221" y="107"/>
                    <a:pt x="248" y="107"/>
                  </a:cubicBezTo>
                  <a:cubicBezTo>
                    <a:pt x="266" y="107"/>
                    <a:pt x="284" y="115"/>
                    <a:pt x="293" y="124"/>
                  </a:cubicBezTo>
                  <a:cubicBezTo>
                    <a:pt x="443" y="177"/>
                    <a:pt x="443" y="177"/>
                    <a:pt x="443" y="177"/>
                  </a:cubicBezTo>
                  <a:cubicBezTo>
                    <a:pt x="487" y="160"/>
                    <a:pt x="487" y="160"/>
                    <a:pt x="487" y="160"/>
                  </a:cubicBezTo>
                  <a:cubicBezTo>
                    <a:pt x="496" y="142"/>
                    <a:pt x="496" y="133"/>
                    <a:pt x="487" y="124"/>
                  </a:cubicBezTo>
                  <a:close/>
                  <a:moveTo>
                    <a:pt x="425" y="346"/>
                  </a:moveTo>
                  <a:lnTo>
                    <a:pt x="425" y="346"/>
                  </a:lnTo>
                  <a:cubicBezTo>
                    <a:pt x="416" y="355"/>
                    <a:pt x="452" y="364"/>
                    <a:pt x="461" y="337"/>
                  </a:cubicBezTo>
                  <a:cubicBezTo>
                    <a:pt x="469" y="213"/>
                    <a:pt x="443" y="177"/>
                    <a:pt x="443" y="177"/>
                  </a:cubicBezTo>
                  <a:cubicBezTo>
                    <a:pt x="408" y="195"/>
                    <a:pt x="408" y="195"/>
                    <a:pt x="408" y="195"/>
                  </a:cubicBezTo>
                  <a:cubicBezTo>
                    <a:pt x="408" y="195"/>
                    <a:pt x="443" y="222"/>
                    <a:pt x="425" y="346"/>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a:p>
          </p:txBody>
        </p:sp>
      </p:grpSp>
      <p:grpSp>
        <p:nvGrpSpPr>
          <p:cNvPr id="119" name="Group 56"/>
          <p:cNvGrpSpPr/>
          <p:nvPr/>
        </p:nvGrpSpPr>
        <p:grpSpPr bwMode="auto">
          <a:xfrm>
            <a:off x="2546985" y="1832037"/>
            <a:ext cx="737870" cy="735691"/>
            <a:chOff x="9907711" y="7463571"/>
            <a:chExt cx="1999231" cy="1999752"/>
          </a:xfrm>
        </p:grpSpPr>
        <p:grpSp>
          <p:nvGrpSpPr>
            <p:cNvPr id="120" name="Group 57"/>
            <p:cNvGrpSpPr/>
            <p:nvPr/>
          </p:nvGrpSpPr>
          <p:grpSpPr bwMode="auto">
            <a:xfrm rot="-283084">
              <a:off x="9907711" y="7463571"/>
              <a:ext cx="1999231" cy="1999752"/>
              <a:chOff x="5013110" y="5059616"/>
              <a:chExt cx="3378533" cy="3379413"/>
            </a:xfrm>
          </p:grpSpPr>
          <p:sp>
            <p:nvSpPr>
              <p:cNvPr id="122" name="Oval 59"/>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23" name="Oval 60"/>
              <p:cNvSpPr/>
              <p:nvPr/>
            </p:nvSpPr>
            <p:spPr>
              <a:xfrm>
                <a:off x="5287870" y="5334034"/>
                <a:ext cx="2829013" cy="2830576"/>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21" name="Freeform 104"/>
            <p:cNvSpPr>
              <a:spLocks noChangeArrowheads="1"/>
            </p:cNvSpPr>
            <p:nvPr/>
          </p:nvSpPr>
          <p:spPr bwMode="auto">
            <a:xfrm>
              <a:off x="10528124" y="8136492"/>
              <a:ext cx="804676" cy="541196"/>
            </a:xfrm>
            <a:custGeom>
              <a:avLst/>
              <a:gdLst>
                <a:gd name="T0" fmla="*/ 328670 w 497"/>
                <a:gd name="T1" fmla="*/ 412722 h 337"/>
                <a:gd name="T2" fmla="*/ 328670 w 497"/>
                <a:gd name="T3" fmla="*/ 412722 h 337"/>
                <a:gd name="T4" fmla="*/ 357814 w 497"/>
                <a:gd name="T5" fmla="*/ 525137 h 337"/>
                <a:gd name="T6" fmla="*/ 458196 w 497"/>
                <a:gd name="T7" fmla="*/ 497836 h 337"/>
                <a:gd name="T8" fmla="*/ 644388 w 497"/>
                <a:gd name="T9" fmla="*/ 14453 h 337"/>
                <a:gd name="T10" fmla="*/ 328670 w 497"/>
                <a:gd name="T11" fmla="*/ 412722 h 337"/>
                <a:gd name="T12" fmla="*/ 401528 w 497"/>
                <a:gd name="T13" fmla="*/ 114021 h 337"/>
                <a:gd name="T14" fmla="*/ 401528 w 497"/>
                <a:gd name="T15" fmla="*/ 114021 h 337"/>
                <a:gd name="T16" fmla="*/ 443624 w 497"/>
                <a:gd name="T17" fmla="*/ 114021 h 337"/>
                <a:gd name="T18" fmla="*/ 501911 w 497"/>
                <a:gd name="T19" fmla="*/ 41754 h 337"/>
                <a:gd name="T20" fmla="*/ 401528 w 497"/>
                <a:gd name="T21" fmla="*/ 27301 h 337"/>
                <a:gd name="T22" fmla="*/ 0 w 497"/>
                <a:gd name="T23" fmla="*/ 454476 h 337"/>
                <a:gd name="T24" fmla="*/ 0 w 497"/>
                <a:gd name="T25" fmla="*/ 497836 h 337"/>
                <a:gd name="T26" fmla="*/ 42096 w 497"/>
                <a:gd name="T27" fmla="*/ 539590 h 337"/>
                <a:gd name="T28" fmla="*/ 85811 w 497"/>
                <a:gd name="T29" fmla="*/ 497836 h 337"/>
                <a:gd name="T30" fmla="*/ 85811 w 497"/>
                <a:gd name="T31" fmla="*/ 454476 h 337"/>
                <a:gd name="T32" fmla="*/ 401528 w 497"/>
                <a:gd name="T33" fmla="*/ 114021 h 337"/>
                <a:gd name="T34" fmla="*/ 688103 w 497"/>
                <a:gd name="T35" fmla="*/ 157380 h 337"/>
                <a:gd name="T36" fmla="*/ 688103 w 497"/>
                <a:gd name="T37" fmla="*/ 157380 h 337"/>
                <a:gd name="T38" fmla="*/ 658960 w 497"/>
                <a:gd name="T39" fmla="*/ 242494 h 337"/>
                <a:gd name="T40" fmla="*/ 715627 w 497"/>
                <a:gd name="T41" fmla="*/ 454476 h 337"/>
                <a:gd name="T42" fmla="*/ 715627 w 497"/>
                <a:gd name="T43" fmla="*/ 497836 h 337"/>
                <a:gd name="T44" fmla="*/ 759342 w 497"/>
                <a:gd name="T45" fmla="*/ 539590 h 337"/>
                <a:gd name="T46" fmla="*/ 759342 w 497"/>
                <a:gd name="T47" fmla="*/ 539590 h 337"/>
                <a:gd name="T48" fmla="*/ 803057 w 497"/>
                <a:gd name="T49" fmla="*/ 497836 h 337"/>
                <a:gd name="T50" fmla="*/ 803057 w 497"/>
                <a:gd name="T51" fmla="*/ 454476 h 337"/>
                <a:gd name="T52" fmla="*/ 688103 w 497"/>
                <a:gd name="T53" fmla="*/ 157380 h 33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7" h="337">
                  <a:moveTo>
                    <a:pt x="203" y="257"/>
                  </a:moveTo>
                  <a:lnTo>
                    <a:pt x="203" y="257"/>
                  </a:lnTo>
                  <a:cubicBezTo>
                    <a:pt x="186" y="283"/>
                    <a:pt x="194" y="310"/>
                    <a:pt x="221" y="327"/>
                  </a:cubicBezTo>
                  <a:cubicBezTo>
                    <a:pt x="239" y="336"/>
                    <a:pt x="266" y="336"/>
                    <a:pt x="283" y="310"/>
                  </a:cubicBezTo>
                  <a:cubicBezTo>
                    <a:pt x="301" y="274"/>
                    <a:pt x="407" y="9"/>
                    <a:pt x="398" y="9"/>
                  </a:cubicBezTo>
                  <a:cubicBezTo>
                    <a:pt x="389" y="0"/>
                    <a:pt x="221" y="230"/>
                    <a:pt x="203" y="257"/>
                  </a:cubicBezTo>
                  <a:close/>
                  <a:moveTo>
                    <a:pt x="248" y="71"/>
                  </a:moveTo>
                  <a:lnTo>
                    <a:pt x="248" y="71"/>
                  </a:lnTo>
                  <a:cubicBezTo>
                    <a:pt x="257" y="71"/>
                    <a:pt x="266" y="71"/>
                    <a:pt x="274" y="71"/>
                  </a:cubicBezTo>
                  <a:cubicBezTo>
                    <a:pt x="292" y="53"/>
                    <a:pt x="301" y="44"/>
                    <a:pt x="310" y="26"/>
                  </a:cubicBezTo>
                  <a:cubicBezTo>
                    <a:pt x="292" y="17"/>
                    <a:pt x="274" y="17"/>
                    <a:pt x="248" y="17"/>
                  </a:cubicBezTo>
                  <a:cubicBezTo>
                    <a:pt x="106" y="17"/>
                    <a:pt x="0" y="133"/>
                    <a:pt x="0" y="283"/>
                  </a:cubicBezTo>
                  <a:cubicBezTo>
                    <a:pt x="0" y="292"/>
                    <a:pt x="0" y="301"/>
                    <a:pt x="0" y="310"/>
                  </a:cubicBezTo>
                  <a:cubicBezTo>
                    <a:pt x="0" y="327"/>
                    <a:pt x="17" y="336"/>
                    <a:pt x="26" y="336"/>
                  </a:cubicBezTo>
                  <a:cubicBezTo>
                    <a:pt x="44" y="336"/>
                    <a:pt x="53" y="319"/>
                    <a:pt x="53" y="310"/>
                  </a:cubicBezTo>
                  <a:cubicBezTo>
                    <a:pt x="53" y="301"/>
                    <a:pt x="53" y="292"/>
                    <a:pt x="53" y="283"/>
                  </a:cubicBezTo>
                  <a:cubicBezTo>
                    <a:pt x="53" y="160"/>
                    <a:pt x="132" y="71"/>
                    <a:pt x="248" y="71"/>
                  </a:cubicBezTo>
                  <a:close/>
                  <a:moveTo>
                    <a:pt x="425" y="98"/>
                  </a:moveTo>
                  <a:lnTo>
                    <a:pt x="425" y="98"/>
                  </a:lnTo>
                  <a:cubicBezTo>
                    <a:pt x="416" y="115"/>
                    <a:pt x="416" y="133"/>
                    <a:pt x="407" y="151"/>
                  </a:cubicBezTo>
                  <a:cubicBezTo>
                    <a:pt x="433" y="186"/>
                    <a:pt x="442" y="239"/>
                    <a:pt x="442" y="283"/>
                  </a:cubicBezTo>
                  <a:cubicBezTo>
                    <a:pt x="442" y="292"/>
                    <a:pt x="442" y="301"/>
                    <a:pt x="442" y="310"/>
                  </a:cubicBezTo>
                  <a:cubicBezTo>
                    <a:pt x="442" y="319"/>
                    <a:pt x="451" y="336"/>
                    <a:pt x="469" y="336"/>
                  </a:cubicBezTo>
                  <a:cubicBezTo>
                    <a:pt x="478" y="336"/>
                    <a:pt x="496" y="327"/>
                    <a:pt x="496" y="310"/>
                  </a:cubicBezTo>
                  <a:cubicBezTo>
                    <a:pt x="496" y="301"/>
                    <a:pt x="496" y="292"/>
                    <a:pt x="496" y="283"/>
                  </a:cubicBezTo>
                  <a:cubicBezTo>
                    <a:pt x="496" y="213"/>
                    <a:pt x="469" y="151"/>
                    <a:pt x="425" y="98"/>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a:p>
          </p:txBody>
        </p:sp>
      </p:grpSp>
      <p:grpSp>
        <p:nvGrpSpPr>
          <p:cNvPr id="124" name="Group 83"/>
          <p:cNvGrpSpPr/>
          <p:nvPr/>
        </p:nvGrpSpPr>
        <p:grpSpPr bwMode="auto">
          <a:xfrm>
            <a:off x="4060507" y="1867438"/>
            <a:ext cx="1321277" cy="685907"/>
            <a:chOff x="3913901" y="5865040"/>
            <a:chExt cx="3322518" cy="1730427"/>
          </a:xfrm>
        </p:grpSpPr>
        <p:cxnSp>
          <p:nvCxnSpPr>
            <p:cNvPr id="125" name="直接连接符 84"/>
            <p:cNvCxnSpPr/>
            <p:nvPr/>
          </p:nvCxnSpPr>
          <p:spPr>
            <a:xfrm flipV="1">
              <a:off x="5665978" y="6733045"/>
              <a:ext cx="1570441" cy="0"/>
            </a:xfrm>
            <a:prstGeom prst="line">
              <a:avLst/>
            </a:prstGeom>
            <a:noFill/>
            <a:ln w="38100">
              <a:solidFill>
                <a:srgbClr val="00A4E3"/>
              </a:solidFill>
              <a:tailEnd type="oval"/>
            </a:ln>
          </p:spPr>
          <p:style>
            <a:lnRef idx="2">
              <a:schemeClr val="accent1">
                <a:shade val="50000"/>
              </a:schemeClr>
            </a:lnRef>
            <a:fillRef idx="1">
              <a:schemeClr val="accent1"/>
            </a:fillRef>
            <a:effectRef idx="0">
              <a:schemeClr val="accent1"/>
            </a:effectRef>
            <a:fontRef idx="minor">
              <a:schemeClr val="lt1"/>
            </a:fontRef>
          </p:style>
        </p:cxnSp>
        <p:sp>
          <p:nvSpPr>
            <p:cNvPr id="126" name="弧形 85"/>
            <p:cNvSpPr/>
            <p:nvPr/>
          </p:nvSpPr>
          <p:spPr>
            <a:xfrm rot="16200000">
              <a:off x="3913549" y="5865392"/>
              <a:ext cx="1730427" cy="1729722"/>
            </a:xfrm>
            <a:prstGeom prst="arc">
              <a:avLst>
                <a:gd name="adj1" fmla="val 2657162"/>
                <a:gd name="adj2" fmla="val 8176062"/>
              </a:avLst>
            </a:prstGeom>
            <a:noFill/>
            <a:ln w="38100">
              <a:solidFill>
                <a:srgbClr val="00A4E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500" noProof="1">
                <a:latin typeface="Calibri Light" panose="020F0302020204030204"/>
              </a:endParaRPr>
            </a:p>
          </p:txBody>
        </p:sp>
      </p:grpSp>
      <p:grpSp>
        <p:nvGrpSpPr>
          <p:cNvPr id="127" name="Group 101"/>
          <p:cNvGrpSpPr/>
          <p:nvPr/>
        </p:nvGrpSpPr>
        <p:grpSpPr bwMode="auto">
          <a:xfrm>
            <a:off x="5504022" y="1867438"/>
            <a:ext cx="1321276" cy="685907"/>
            <a:chOff x="3913901" y="5865040"/>
            <a:chExt cx="3322518" cy="1730427"/>
          </a:xfrm>
        </p:grpSpPr>
        <p:cxnSp>
          <p:nvCxnSpPr>
            <p:cNvPr id="128" name="直接连接符 84"/>
            <p:cNvCxnSpPr/>
            <p:nvPr/>
          </p:nvCxnSpPr>
          <p:spPr>
            <a:xfrm flipV="1">
              <a:off x="5665977" y="6733045"/>
              <a:ext cx="1570442" cy="0"/>
            </a:xfrm>
            <a:prstGeom prst="line">
              <a:avLst/>
            </a:prstGeom>
            <a:noFill/>
            <a:ln w="38100">
              <a:solidFill>
                <a:srgbClr val="00A4E3"/>
              </a:solidFill>
              <a:tailEnd type="oval"/>
            </a:ln>
          </p:spPr>
          <p:style>
            <a:lnRef idx="2">
              <a:schemeClr val="accent1">
                <a:shade val="50000"/>
              </a:schemeClr>
            </a:lnRef>
            <a:fillRef idx="1">
              <a:schemeClr val="accent1"/>
            </a:fillRef>
            <a:effectRef idx="0">
              <a:schemeClr val="accent1"/>
            </a:effectRef>
            <a:fontRef idx="minor">
              <a:schemeClr val="lt1"/>
            </a:fontRef>
          </p:style>
        </p:cxnSp>
        <p:sp>
          <p:nvSpPr>
            <p:cNvPr id="129" name="弧形 85"/>
            <p:cNvSpPr/>
            <p:nvPr/>
          </p:nvSpPr>
          <p:spPr>
            <a:xfrm rot="16200000">
              <a:off x="3913548" y="5865393"/>
              <a:ext cx="1730427" cy="1729721"/>
            </a:xfrm>
            <a:prstGeom prst="arc">
              <a:avLst>
                <a:gd name="adj1" fmla="val 2657162"/>
                <a:gd name="adj2" fmla="val 8176062"/>
              </a:avLst>
            </a:prstGeom>
            <a:noFill/>
            <a:ln w="38100">
              <a:solidFill>
                <a:srgbClr val="00A4E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500" noProof="1">
                <a:latin typeface="Calibri Light" panose="020F0302020204030204"/>
              </a:endParaRPr>
            </a:p>
          </p:txBody>
        </p:sp>
      </p:grpSp>
      <p:grpSp>
        <p:nvGrpSpPr>
          <p:cNvPr id="130" name="Group 104"/>
          <p:cNvGrpSpPr/>
          <p:nvPr/>
        </p:nvGrpSpPr>
        <p:grpSpPr bwMode="auto">
          <a:xfrm>
            <a:off x="1167924" y="1867438"/>
            <a:ext cx="1322388" cy="685907"/>
            <a:chOff x="3913901" y="5865040"/>
            <a:chExt cx="3322518" cy="1730427"/>
          </a:xfrm>
        </p:grpSpPr>
        <p:cxnSp>
          <p:nvCxnSpPr>
            <p:cNvPr id="131" name="直接连接符 84"/>
            <p:cNvCxnSpPr/>
            <p:nvPr/>
          </p:nvCxnSpPr>
          <p:spPr>
            <a:xfrm flipV="1">
              <a:off x="5664504" y="6733045"/>
              <a:ext cx="1571915" cy="0"/>
            </a:xfrm>
            <a:prstGeom prst="line">
              <a:avLst/>
            </a:prstGeom>
            <a:noFill/>
            <a:ln w="38100">
              <a:solidFill>
                <a:srgbClr val="00A4E3"/>
              </a:solidFill>
              <a:tailEnd type="oval"/>
            </a:ln>
          </p:spPr>
          <p:style>
            <a:lnRef idx="2">
              <a:schemeClr val="accent1">
                <a:shade val="50000"/>
              </a:schemeClr>
            </a:lnRef>
            <a:fillRef idx="1">
              <a:schemeClr val="accent1"/>
            </a:fillRef>
            <a:effectRef idx="0">
              <a:schemeClr val="accent1"/>
            </a:effectRef>
            <a:fontRef idx="minor">
              <a:schemeClr val="lt1"/>
            </a:fontRef>
          </p:style>
        </p:cxnSp>
        <p:sp>
          <p:nvSpPr>
            <p:cNvPr id="132" name="弧形 85"/>
            <p:cNvSpPr/>
            <p:nvPr/>
          </p:nvSpPr>
          <p:spPr>
            <a:xfrm rot="16200000">
              <a:off x="3914217" y="5864724"/>
              <a:ext cx="1730427" cy="1731060"/>
            </a:xfrm>
            <a:prstGeom prst="arc">
              <a:avLst>
                <a:gd name="adj1" fmla="val 2657162"/>
                <a:gd name="adj2" fmla="val 8176062"/>
              </a:avLst>
            </a:prstGeom>
            <a:noFill/>
            <a:ln w="38100">
              <a:solidFill>
                <a:srgbClr val="00A4E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sz="500" noProof="1">
                <a:latin typeface="Calibri Light" panose="020F0302020204030204"/>
              </a:endParaRPr>
            </a:p>
          </p:txBody>
        </p:sp>
      </p:grpSp>
      <p:grpSp>
        <p:nvGrpSpPr>
          <p:cNvPr id="133" name="Group 107"/>
          <p:cNvGrpSpPr/>
          <p:nvPr/>
        </p:nvGrpSpPr>
        <p:grpSpPr bwMode="auto">
          <a:xfrm>
            <a:off x="6849745" y="1838674"/>
            <a:ext cx="738982" cy="734585"/>
            <a:chOff x="9907711" y="7463571"/>
            <a:chExt cx="1999231" cy="1999752"/>
          </a:xfrm>
        </p:grpSpPr>
        <p:grpSp>
          <p:nvGrpSpPr>
            <p:cNvPr id="134" name="Group 108"/>
            <p:cNvGrpSpPr/>
            <p:nvPr/>
          </p:nvGrpSpPr>
          <p:grpSpPr bwMode="auto">
            <a:xfrm rot="-283084">
              <a:off x="9907711" y="7463571"/>
              <a:ext cx="1999231" cy="1999752"/>
              <a:chOff x="5013110" y="5059616"/>
              <a:chExt cx="3378533" cy="3379413"/>
            </a:xfrm>
          </p:grpSpPr>
          <p:sp>
            <p:nvSpPr>
              <p:cNvPr id="136" name="Oval 110"/>
              <p:cNvSpPr/>
              <p:nvPr/>
            </p:nvSpPr>
            <p:spPr>
              <a:xfrm>
                <a:off x="5013110" y="5059616"/>
                <a:ext cx="3378533" cy="3379413"/>
              </a:xfrm>
              <a:prstGeom prst="ellipse">
                <a:avLst/>
              </a:prstGeom>
              <a:solidFill>
                <a:schemeClr val="bg1">
                  <a:lumMod val="7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sp>
            <p:nvSpPr>
              <p:cNvPr id="137" name="Oval 111"/>
              <p:cNvSpPr/>
              <p:nvPr/>
            </p:nvSpPr>
            <p:spPr>
              <a:xfrm>
                <a:off x="5287457" y="5334448"/>
                <a:ext cx="2829839" cy="2829749"/>
              </a:xfrm>
              <a:prstGeom prst="ellipse">
                <a:avLst/>
              </a:prstGeom>
              <a:solidFill>
                <a:srgbClr val="07A9E6"/>
              </a:solidFill>
              <a:ln>
                <a:noFill/>
              </a:ln>
            </p:spPr>
            <p:style>
              <a:lnRef idx="2">
                <a:schemeClr val="accent1">
                  <a:shade val="50000"/>
                </a:schemeClr>
              </a:lnRef>
              <a:fillRef idx="1">
                <a:schemeClr val="accent1"/>
              </a:fillRef>
              <a:effectRef idx="0">
                <a:schemeClr val="accent1"/>
              </a:effectRef>
              <a:fontRef idx="minor">
                <a:schemeClr val="lt1"/>
              </a:fontRef>
            </p:style>
            <p:txBody>
              <a:bodyPr lIns="115703" tIns="57852" rIns="115703" bIns="57852" anchor="ctr"/>
              <a:lstStyle/>
              <a:p>
                <a:pPr algn="ctr" eaLnBrk="1" hangingPunct="1">
                  <a:defRPr/>
                </a:pPr>
                <a:endParaRPr lang="bg-BG" noProof="1">
                  <a:latin typeface="Calibri Light" panose="020F0302020204030204"/>
                </a:endParaRPr>
              </a:p>
            </p:txBody>
          </p:sp>
        </p:grpSp>
        <p:sp>
          <p:nvSpPr>
            <p:cNvPr id="135" name="Freeform 104"/>
            <p:cNvSpPr>
              <a:spLocks noChangeArrowheads="1"/>
            </p:cNvSpPr>
            <p:nvPr/>
          </p:nvSpPr>
          <p:spPr bwMode="auto">
            <a:xfrm>
              <a:off x="10528124" y="8136492"/>
              <a:ext cx="804676" cy="541196"/>
            </a:xfrm>
            <a:custGeom>
              <a:avLst/>
              <a:gdLst>
                <a:gd name="T0" fmla="*/ 328670 w 497"/>
                <a:gd name="T1" fmla="*/ 412722 h 337"/>
                <a:gd name="T2" fmla="*/ 328670 w 497"/>
                <a:gd name="T3" fmla="*/ 412722 h 337"/>
                <a:gd name="T4" fmla="*/ 357814 w 497"/>
                <a:gd name="T5" fmla="*/ 525137 h 337"/>
                <a:gd name="T6" fmla="*/ 458196 w 497"/>
                <a:gd name="T7" fmla="*/ 497836 h 337"/>
                <a:gd name="T8" fmla="*/ 644388 w 497"/>
                <a:gd name="T9" fmla="*/ 14453 h 337"/>
                <a:gd name="T10" fmla="*/ 328670 w 497"/>
                <a:gd name="T11" fmla="*/ 412722 h 337"/>
                <a:gd name="T12" fmla="*/ 401528 w 497"/>
                <a:gd name="T13" fmla="*/ 114021 h 337"/>
                <a:gd name="T14" fmla="*/ 401528 w 497"/>
                <a:gd name="T15" fmla="*/ 114021 h 337"/>
                <a:gd name="T16" fmla="*/ 443624 w 497"/>
                <a:gd name="T17" fmla="*/ 114021 h 337"/>
                <a:gd name="T18" fmla="*/ 501911 w 497"/>
                <a:gd name="T19" fmla="*/ 41754 h 337"/>
                <a:gd name="T20" fmla="*/ 401528 w 497"/>
                <a:gd name="T21" fmla="*/ 27301 h 337"/>
                <a:gd name="T22" fmla="*/ 0 w 497"/>
                <a:gd name="T23" fmla="*/ 454476 h 337"/>
                <a:gd name="T24" fmla="*/ 0 w 497"/>
                <a:gd name="T25" fmla="*/ 497836 h 337"/>
                <a:gd name="T26" fmla="*/ 42096 w 497"/>
                <a:gd name="T27" fmla="*/ 539590 h 337"/>
                <a:gd name="T28" fmla="*/ 85811 w 497"/>
                <a:gd name="T29" fmla="*/ 497836 h 337"/>
                <a:gd name="T30" fmla="*/ 85811 w 497"/>
                <a:gd name="T31" fmla="*/ 454476 h 337"/>
                <a:gd name="T32" fmla="*/ 401528 w 497"/>
                <a:gd name="T33" fmla="*/ 114021 h 337"/>
                <a:gd name="T34" fmla="*/ 688103 w 497"/>
                <a:gd name="T35" fmla="*/ 157380 h 337"/>
                <a:gd name="T36" fmla="*/ 688103 w 497"/>
                <a:gd name="T37" fmla="*/ 157380 h 337"/>
                <a:gd name="T38" fmla="*/ 658960 w 497"/>
                <a:gd name="T39" fmla="*/ 242494 h 337"/>
                <a:gd name="T40" fmla="*/ 715627 w 497"/>
                <a:gd name="T41" fmla="*/ 454476 h 337"/>
                <a:gd name="T42" fmla="*/ 715627 w 497"/>
                <a:gd name="T43" fmla="*/ 497836 h 337"/>
                <a:gd name="T44" fmla="*/ 759342 w 497"/>
                <a:gd name="T45" fmla="*/ 539590 h 337"/>
                <a:gd name="T46" fmla="*/ 759342 w 497"/>
                <a:gd name="T47" fmla="*/ 539590 h 337"/>
                <a:gd name="T48" fmla="*/ 803057 w 497"/>
                <a:gd name="T49" fmla="*/ 497836 h 337"/>
                <a:gd name="T50" fmla="*/ 803057 w 497"/>
                <a:gd name="T51" fmla="*/ 454476 h 337"/>
                <a:gd name="T52" fmla="*/ 688103 w 497"/>
                <a:gd name="T53" fmla="*/ 157380 h 33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7" h="337">
                  <a:moveTo>
                    <a:pt x="203" y="257"/>
                  </a:moveTo>
                  <a:lnTo>
                    <a:pt x="203" y="257"/>
                  </a:lnTo>
                  <a:cubicBezTo>
                    <a:pt x="186" y="283"/>
                    <a:pt x="194" y="310"/>
                    <a:pt x="221" y="327"/>
                  </a:cubicBezTo>
                  <a:cubicBezTo>
                    <a:pt x="239" y="336"/>
                    <a:pt x="266" y="336"/>
                    <a:pt x="283" y="310"/>
                  </a:cubicBezTo>
                  <a:cubicBezTo>
                    <a:pt x="301" y="274"/>
                    <a:pt x="407" y="9"/>
                    <a:pt x="398" y="9"/>
                  </a:cubicBezTo>
                  <a:cubicBezTo>
                    <a:pt x="389" y="0"/>
                    <a:pt x="221" y="230"/>
                    <a:pt x="203" y="257"/>
                  </a:cubicBezTo>
                  <a:close/>
                  <a:moveTo>
                    <a:pt x="248" y="71"/>
                  </a:moveTo>
                  <a:lnTo>
                    <a:pt x="248" y="71"/>
                  </a:lnTo>
                  <a:cubicBezTo>
                    <a:pt x="257" y="71"/>
                    <a:pt x="266" y="71"/>
                    <a:pt x="274" y="71"/>
                  </a:cubicBezTo>
                  <a:cubicBezTo>
                    <a:pt x="292" y="53"/>
                    <a:pt x="301" y="44"/>
                    <a:pt x="310" y="26"/>
                  </a:cubicBezTo>
                  <a:cubicBezTo>
                    <a:pt x="292" y="17"/>
                    <a:pt x="274" y="17"/>
                    <a:pt x="248" y="17"/>
                  </a:cubicBezTo>
                  <a:cubicBezTo>
                    <a:pt x="106" y="17"/>
                    <a:pt x="0" y="133"/>
                    <a:pt x="0" y="283"/>
                  </a:cubicBezTo>
                  <a:cubicBezTo>
                    <a:pt x="0" y="292"/>
                    <a:pt x="0" y="301"/>
                    <a:pt x="0" y="310"/>
                  </a:cubicBezTo>
                  <a:cubicBezTo>
                    <a:pt x="0" y="327"/>
                    <a:pt x="17" y="336"/>
                    <a:pt x="26" y="336"/>
                  </a:cubicBezTo>
                  <a:cubicBezTo>
                    <a:pt x="44" y="336"/>
                    <a:pt x="53" y="319"/>
                    <a:pt x="53" y="310"/>
                  </a:cubicBezTo>
                  <a:cubicBezTo>
                    <a:pt x="53" y="301"/>
                    <a:pt x="53" y="292"/>
                    <a:pt x="53" y="283"/>
                  </a:cubicBezTo>
                  <a:cubicBezTo>
                    <a:pt x="53" y="160"/>
                    <a:pt x="132" y="71"/>
                    <a:pt x="248" y="71"/>
                  </a:cubicBezTo>
                  <a:close/>
                  <a:moveTo>
                    <a:pt x="425" y="98"/>
                  </a:moveTo>
                  <a:lnTo>
                    <a:pt x="425" y="98"/>
                  </a:lnTo>
                  <a:cubicBezTo>
                    <a:pt x="416" y="115"/>
                    <a:pt x="416" y="133"/>
                    <a:pt x="407" y="151"/>
                  </a:cubicBezTo>
                  <a:cubicBezTo>
                    <a:pt x="433" y="186"/>
                    <a:pt x="442" y="239"/>
                    <a:pt x="442" y="283"/>
                  </a:cubicBezTo>
                  <a:cubicBezTo>
                    <a:pt x="442" y="292"/>
                    <a:pt x="442" y="301"/>
                    <a:pt x="442" y="310"/>
                  </a:cubicBezTo>
                  <a:cubicBezTo>
                    <a:pt x="442" y="319"/>
                    <a:pt x="451" y="336"/>
                    <a:pt x="469" y="336"/>
                  </a:cubicBezTo>
                  <a:cubicBezTo>
                    <a:pt x="478" y="336"/>
                    <a:pt x="496" y="327"/>
                    <a:pt x="496" y="310"/>
                  </a:cubicBezTo>
                  <a:cubicBezTo>
                    <a:pt x="496" y="301"/>
                    <a:pt x="496" y="292"/>
                    <a:pt x="496" y="283"/>
                  </a:cubicBezTo>
                  <a:cubicBezTo>
                    <a:pt x="496" y="213"/>
                    <a:pt x="469" y="151"/>
                    <a:pt x="425" y="98"/>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a:p>
          </p:txBody>
        </p:sp>
      </p:grpSp>
      <p:sp>
        <p:nvSpPr>
          <p:cNvPr id="138" name="TextBox 23"/>
          <p:cNvSpPr txBox="1">
            <a:spLocks noChangeArrowheads="1"/>
          </p:cNvSpPr>
          <p:nvPr/>
        </p:nvSpPr>
        <p:spPr bwMode="auto">
          <a:xfrm>
            <a:off x="567849"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39" name="TextBox 24"/>
          <p:cNvSpPr txBox="1">
            <a:spLocks noChangeArrowheads="1"/>
          </p:cNvSpPr>
          <p:nvPr/>
        </p:nvSpPr>
        <p:spPr bwMode="auto">
          <a:xfrm>
            <a:off x="567849"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140" name="TextBox 23"/>
          <p:cNvSpPr txBox="1">
            <a:spLocks noChangeArrowheads="1"/>
          </p:cNvSpPr>
          <p:nvPr/>
        </p:nvSpPr>
        <p:spPr bwMode="auto">
          <a:xfrm>
            <a:off x="2128044"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41" name="TextBox 24"/>
          <p:cNvSpPr txBox="1">
            <a:spLocks noChangeArrowheads="1"/>
          </p:cNvSpPr>
          <p:nvPr/>
        </p:nvSpPr>
        <p:spPr bwMode="auto">
          <a:xfrm>
            <a:off x="2128044"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142" name="TextBox 23"/>
          <p:cNvSpPr txBox="1">
            <a:spLocks noChangeArrowheads="1"/>
          </p:cNvSpPr>
          <p:nvPr/>
        </p:nvSpPr>
        <p:spPr bwMode="auto">
          <a:xfrm>
            <a:off x="3674904"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43" name="TextBox 24"/>
          <p:cNvSpPr txBox="1">
            <a:spLocks noChangeArrowheads="1"/>
          </p:cNvSpPr>
          <p:nvPr/>
        </p:nvSpPr>
        <p:spPr bwMode="auto">
          <a:xfrm>
            <a:off x="3674904"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144" name="TextBox 23"/>
          <p:cNvSpPr txBox="1">
            <a:spLocks noChangeArrowheads="1"/>
          </p:cNvSpPr>
          <p:nvPr/>
        </p:nvSpPr>
        <p:spPr bwMode="auto">
          <a:xfrm>
            <a:off x="5261769"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45" name="TextBox 24"/>
          <p:cNvSpPr txBox="1">
            <a:spLocks noChangeArrowheads="1"/>
          </p:cNvSpPr>
          <p:nvPr/>
        </p:nvSpPr>
        <p:spPr bwMode="auto">
          <a:xfrm>
            <a:off x="5261769"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146" name="TextBox 23"/>
          <p:cNvSpPr txBox="1">
            <a:spLocks noChangeArrowheads="1"/>
          </p:cNvSpPr>
          <p:nvPr/>
        </p:nvSpPr>
        <p:spPr bwMode="auto">
          <a:xfrm>
            <a:off x="6808629" y="3149643"/>
            <a:ext cx="1410176" cy="463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3898" tIns="31949" rIns="63898" bIns="31949">
            <a:spAutoFit/>
          </a:bodyPr>
          <a:lstStyle/>
          <a:p>
            <a:pPr eaLnBrk="1" hangingPunct="1">
              <a:lnSpc>
                <a:spcPct val="150000"/>
              </a:lnSpc>
            </a:pPr>
            <a:r>
              <a:rPr lang="zh-CN" altLang="en-US"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点击添加相关标题文字，点击添加相关标题文字，点击添加相关标题文字。</a:t>
            </a:r>
            <a:endParaRPr lang="en-GB" altLang="zh-CN" sz="6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47" name="TextBox 24"/>
          <p:cNvSpPr txBox="1">
            <a:spLocks noChangeArrowheads="1"/>
          </p:cNvSpPr>
          <p:nvPr/>
        </p:nvSpPr>
        <p:spPr bwMode="auto">
          <a:xfrm>
            <a:off x="6808629" y="2914000"/>
            <a:ext cx="1134586" cy="2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3898" tIns="31949" rIns="63898" bIns="31949">
            <a:spAutoFit/>
          </a:bodyPr>
          <a:lstStyle/>
          <a:p>
            <a:pPr eaLnBrk="1" hangingPunct="1"/>
            <a:r>
              <a:rPr lang="zh-CN" altLang="en-US" sz="1100">
                <a:solidFill>
                  <a:schemeClr val="bg1">
                    <a:lumMod val="85000"/>
                  </a:schemeClr>
                </a:solidFill>
                <a:ea typeface="微软雅黑" panose="020B0503020204020204" pitchFamily="34" charset="-122"/>
              </a:rPr>
              <a:t>请替换文字内容</a:t>
            </a:r>
          </a:p>
        </p:txBody>
      </p:sp>
      <p:sp>
        <p:nvSpPr>
          <p:cNvPr id="49" name="平行四边形 48"/>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平行四边形 49"/>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平行四边形 50"/>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平行四边形 51"/>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3" name="直接连接符 52"/>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54"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55" name="Group 7"/>
          <p:cNvGrpSpPr/>
          <p:nvPr/>
        </p:nvGrpSpPr>
        <p:grpSpPr bwMode="auto">
          <a:xfrm>
            <a:off x="180202" y="181952"/>
            <a:ext cx="216018" cy="113981"/>
            <a:chOff x="0" y="0"/>
            <a:chExt cx="1041399" cy="549275"/>
          </a:xfrm>
          <a:solidFill>
            <a:srgbClr val="133E73"/>
          </a:solidFill>
        </p:grpSpPr>
        <p:sp>
          <p:nvSpPr>
            <p:cNvPr id="56"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7"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8"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59"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5"/>
                                        </p:tgtEl>
                                        <p:attrNameLst>
                                          <p:attrName>style.visibility</p:attrName>
                                        </p:attrNameLst>
                                      </p:cBhvr>
                                      <p:to>
                                        <p:strVal val="visible"/>
                                      </p:to>
                                    </p:set>
                                    <p:anim calcmode="lin" valueType="num">
                                      <p:cBhvr additive="base">
                                        <p:cTn id="7" dur="500" fill="hold"/>
                                        <p:tgtEl>
                                          <p:spTgt spid="55"/>
                                        </p:tgtEl>
                                        <p:attrNameLst>
                                          <p:attrName>ppt_x</p:attrName>
                                        </p:attrNameLst>
                                      </p:cBhvr>
                                      <p:tavLst>
                                        <p:tav tm="0">
                                          <p:val>
                                            <p:strVal val="0-#ppt_w/2"/>
                                          </p:val>
                                        </p:tav>
                                        <p:tav tm="100000">
                                          <p:val>
                                            <p:strVal val="#ppt_x"/>
                                          </p:val>
                                        </p:tav>
                                      </p:tavLst>
                                    </p:anim>
                                    <p:anim calcmode="lin" valueType="num">
                                      <p:cBhvr additive="base">
                                        <p:cTn id="8" dur="500" fill="hold"/>
                                        <p:tgtEl>
                                          <p:spTgt spid="5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54"/>
                                        </p:tgtEl>
                                        <p:attrNameLst>
                                          <p:attrName>style.visibility</p:attrName>
                                        </p:attrNameLst>
                                      </p:cBhvr>
                                      <p:to>
                                        <p:strVal val="visible"/>
                                      </p:to>
                                    </p:set>
                                    <p:anim calcmode="lin" valueType="num">
                                      <p:cBhvr>
                                        <p:cTn id="12" dur="500" fill="hold"/>
                                        <p:tgtEl>
                                          <p:spTgt spid="54"/>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54"/>
                                        </p:tgtEl>
                                        <p:attrNameLst>
                                          <p:attrName>ppt_y</p:attrName>
                                        </p:attrNameLst>
                                      </p:cBhvr>
                                      <p:tavLst>
                                        <p:tav tm="0">
                                          <p:val>
                                            <p:strVal val="#ppt_y"/>
                                          </p:val>
                                        </p:tav>
                                        <p:tav tm="100000">
                                          <p:val>
                                            <p:strVal val="#ppt_y"/>
                                          </p:val>
                                        </p:tav>
                                      </p:tavLst>
                                    </p:anim>
                                    <p:anim calcmode="lin" valueType="num">
                                      <p:cBhvr>
                                        <p:cTn id="14" dur="500" fill="hold"/>
                                        <p:tgtEl>
                                          <p:spTgt spid="54"/>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54"/>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54"/>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51"/>
                                        </p:tgtEl>
                                        <p:attrNameLst>
                                          <p:attrName>fillcolor</p:attrName>
                                        </p:attrNameLst>
                                      </p:cBhvr>
                                      <p:to>
                                        <a:srgbClr val="00AEEF"/>
                                      </p:to>
                                    </p:animClr>
                                    <p:set>
                                      <p:cBhvr>
                                        <p:cTn id="20" dur="300" fill="hold"/>
                                        <p:tgtEl>
                                          <p:spTgt spid="51"/>
                                        </p:tgtEl>
                                        <p:attrNameLst>
                                          <p:attrName>fill.type</p:attrName>
                                        </p:attrNameLst>
                                      </p:cBhvr>
                                      <p:to>
                                        <p:strVal val="solid"/>
                                      </p:to>
                                    </p:set>
                                    <p:set>
                                      <p:cBhvr>
                                        <p:cTn id="21" dur="300" fill="hold"/>
                                        <p:tgtEl>
                                          <p:spTgt spid="51"/>
                                        </p:tgtEl>
                                        <p:attrNameLst>
                                          <p:attrName>fill.on</p:attrName>
                                        </p:attrNameLst>
                                      </p:cBhvr>
                                      <p:to>
                                        <p:strVal val="true"/>
                                      </p:to>
                                    </p:set>
                                  </p:childTnLst>
                                </p:cTn>
                              </p:par>
                            </p:childTnLst>
                          </p:cTn>
                        </p:par>
                        <p:par>
                          <p:cTn id="22" fill="hold">
                            <p:stCondLst>
                              <p:cond delay="1799"/>
                            </p:stCondLst>
                            <p:childTnLst>
                              <p:par>
                                <p:cTn id="23" presetID="12" presetClass="entr" presetSubtype="8" fill="hold" nodeType="afterEffect">
                                  <p:stCondLst>
                                    <p:cond delay="0"/>
                                  </p:stCondLst>
                                  <p:childTnLst>
                                    <p:set>
                                      <p:cBhvr>
                                        <p:cTn id="24" dur="1" fill="hold">
                                          <p:stCondLst>
                                            <p:cond delay="0"/>
                                          </p:stCondLst>
                                        </p:cTn>
                                        <p:tgtEl>
                                          <p:spTgt spid="104"/>
                                        </p:tgtEl>
                                        <p:attrNameLst>
                                          <p:attrName>style.visibility</p:attrName>
                                        </p:attrNameLst>
                                      </p:cBhvr>
                                      <p:to>
                                        <p:strVal val="visible"/>
                                      </p:to>
                                    </p:set>
                                    <p:anim calcmode="lin" valueType="num">
                                      <p:cBhvr>
                                        <p:cTn id="25" dur="500"/>
                                        <p:tgtEl>
                                          <p:spTgt spid="104"/>
                                        </p:tgtEl>
                                        <p:attrNameLst>
                                          <p:attrName>ppt_x</p:attrName>
                                        </p:attrNameLst>
                                      </p:cBhvr>
                                      <p:tavLst>
                                        <p:tav tm="0">
                                          <p:val>
                                            <p:strVal val="#ppt_x-#ppt_w*1.125000"/>
                                          </p:val>
                                        </p:tav>
                                        <p:tav tm="100000">
                                          <p:val>
                                            <p:strVal val="#ppt_x"/>
                                          </p:val>
                                        </p:tav>
                                      </p:tavLst>
                                    </p:anim>
                                    <p:animEffect transition="in" filter="wipe(right)">
                                      <p:cBhvr>
                                        <p:cTn id="26" dur="500"/>
                                        <p:tgtEl>
                                          <p:spTgt spid="104"/>
                                        </p:tgtEl>
                                      </p:cBhvr>
                                    </p:animEffect>
                                  </p:childTnLst>
                                </p:cTn>
                              </p:par>
                            </p:childTnLst>
                          </p:cTn>
                        </p:par>
                        <p:par>
                          <p:cTn id="27" fill="hold">
                            <p:stCondLst>
                              <p:cond delay="2299"/>
                            </p:stCondLst>
                            <p:childTnLst>
                              <p:par>
                                <p:cTn id="28" presetID="12" presetClass="entr" presetSubtype="4" fill="hold" grpId="0" nodeType="afterEffect">
                                  <p:stCondLst>
                                    <p:cond delay="0"/>
                                  </p:stCondLst>
                                  <p:childTnLst>
                                    <p:set>
                                      <p:cBhvr>
                                        <p:cTn id="29" dur="1" fill="hold">
                                          <p:stCondLst>
                                            <p:cond delay="0"/>
                                          </p:stCondLst>
                                        </p:cTn>
                                        <p:tgtEl>
                                          <p:spTgt spid="138"/>
                                        </p:tgtEl>
                                        <p:attrNameLst>
                                          <p:attrName>style.visibility</p:attrName>
                                        </p:attrNameLst>
                                      </p:cBhvr>
                                      <p:to>
                                        <p:strVal val="visible"/>
                                      </p:to>
                                    </p:set>
                                    <p:anim calcmode="lin" valueType="num">
                                      <p:cBhvr>
                                        <p:cTn id="30" dur="500"/>
                                        <p:tgtEl>
                                          <p:spTgt spid="138"/>
                                        </p:tgtEl>
                                        <p:attrNameLst>
                                          <p:attrName>ppt_y</p:attrName>
                                        </p:attrNameLst>
                                      </p:cBhvr>
                                      <p:tavLst>
                                        <p:tav tm="0">
                                          <p:val>
                                            <p:strVal val="#ppt_y+#ppt_h*1.125000"/>
                                          </p:val>
                                        </p:tav>
                                        <p:tav tm="100000">
                                          <p:val>
                                            <p:strVal val="#ppt_y"/>
                                          </p:val>
                                        </p:tav>
                                      </p:tavLst>
                                    </p:anim>
                                    <p:animEffect transition="in" filter="wipe(up)">
                                      <p:cBhvr>
                                        <p:cTn id="31" dur="500"/>
                                        <p:tgtEl>
                                          <p:spTgt spid="138"/>
                                        </p:tgtEl>
                                      </p:cBhvr>
                                    </p:animEffect>
                                  </p:childTnLst>
                                </p:cTn>
                              </p:par>
                              <p:par>
                                <p:cTn id="32" presetID="12" presetClass="entr" presetSubtype="1" fill="hold" grpId="0" nodeType="withEffect">
                                  <p:stCondLst>
                                    <p:cond delay="0"/>
                                  </p:stCondLst>
                                  <p:childTnLst>
                                    <p:set>
                                      <p:cBhvr>
                                        <p:cTn id="33" dur="1" fill="hold">
                                          <p:stCondLst>
                                            <p:cond delay="0"/>
                                          </p:stCondLst>
                                        </p:cTn>
                                        <p:tgtEl>
                                          <p:spTgt spid="139"/>
                                        </p:tgtEl>
                                        <p:attrNameLst>
                                          <p:attrName>style.visibility</p:attrName>
                                        </p:attrNameLst>
                                      </p:cBhvr>
                                      <p:to>
                                        <p:strVal val="visible"/>
                                      </p:to>
                                    </p:set>
                                    <p:anim calcmode="lin" valueType="num">
                                      <p:cBhvr>
                                        <p:cTn id="34" dur="500"/>
                                        <p:tgtEl>
                                          <p:spTgt spid="139"/>
                                        </p:tgtEl>
                                        <p:attrNameLst>
                                          <p:attrName>ppt_y</p:attrName>
                                        </p:attrNameLst>
                                      </p:cBhvr>
                                      <p:tavLst>
                                        <p:tav tm="0">
                                          <p:val>
                                            <p:strVal val="#ppt_y-#ppt_h*1.125000"/>
                                          </p:val>
                                        </p:tav>
                                        <p:tav tm="100000">
                                          <p:val>
                                            <p:strVal val="#ppt_y"/>
                                          </p:val>
                                        </p:tav>
                                      </p:tavLst>
                                    </p:anim>
                                    <p:animEffect transition="in" filter="wipe(down)">
                                      <p:cBhvr>
                                        <p:cTn id="35" dur="500"/>
                                        <p:tgtEl>
                                          <p:spTgt spid="139"/>
                                        </p:tgtEl>
                                      </p:cBhvr>
                                    </p:animEffect>
                                  </p:childTnLst>
                                </p:cTn>
                              </p:par>
                            </p:childTnLst>
                          </p:cTn>
                        </p:par>
                        <p:par>
                          <p:cTn id="36" fill="hold">
                            <p:stCondLst>
                              <p:cond delay="2799"/>
                            </p:stCondLst>
                            <p:childTnLst>
                              <p:par>
                                <p:cTn id="37" presetID="22" presetClass="entr" presetSubtype="8" fill="hold" nodeType="afterEffect">
                                  <p:stCondLst>
                                    <p:cond delay="0"/>
                                  </p:stCondLst>
                                  <p:childTnLst>
                                    <p:set>
                                      <p:cBhvr>
                                        <p:cTn id="38" dur="1" fill="hold">
                                          <p:stCondLst>
                                            <p:cond delay="0"/>
                                          </p:stCondLst>
                                        </p:cTn>
                                        <p:tgtEl>
                                          <p:spTgt spid="130"/>
                                        </p:tgtEl>
                                        <p:attrNameLst>
                                          <p:attrName>style.visibility</p:attrName>
                                        </p:attrNameLst>
                                      </p:cBhvr>
                                      <p:to>
                                        <p:strVal val="visible"/>
                                      </p:to>
                                    </p:set>
                                    <p:animEffect transition="in" filter="wipe(left)">
                                      <p:cBhvr>
                                        <p:cTn id="39" dur="500"/>
                                        <p:tgtEl>
                                          <p:spTgt spid="130"/>
                                        </p:tgtEl>
                                      </p:cBhvr>
                                    </p:animEffect>
                                  </p:childTnLst>
                                </p:cTn>
                              </p:par>
                            </p:childTnLst>
                          </p:cTn>
                        </p:par>
                        <p:par>
                          <p:cTn id="40" fill="hold">
                            <p:stCondLst>
                              <p:cond delay="3299"/>
                            </p:stCondLst>
                            <p:childTnLst>
                              <p:par>
                                <p:cTn id="41" presetID="12" presetClass="entr" presetSubtype="8" fill="hold" nodeType="afterEffect">
                                  <p:stCondLst>
                                    <p:cond delay="0"/>
                                  </p:stCondLst>
                                  <p:childTnLst>
                                    <p:set>
                                      <p:cBhvr>
                                        <p:cTn id="42" dur="1" fill="hold">
                                          <p:stCondLst>
                                            <p:cond delay="0"/>
                                          </p:stCondLst>
                                        </p:cTn>
                                        <p:tgtEl>
                                          <p:spTgt spid="119"/>
                                        </p:tgtEl>
                                        <p:attrNameLst>
                                          <p:attrName>style.visibility</p:attrName>
                                        </p:attrNameLst>
                                      </p:cBhvr>
                                      <p:to>
                                        <p:strVal val="visible"/>
                                      </p:to>
                                    </p:set>
                                    <p:anim calcmode="lin" valueType="num">
                                      <p:cBhvr>
                                        <p:cTn id="43" dur="500"/>
                                        <p:tgtEl>
                                          <p:spTgt spid="119"/>
                                        </p:tgtEl>
                                        <p:attrNameLst>
                                          <p:attrName>ppt_x</p:attrName>
                                        </p:attrNameLst>
                                      </p:cBhvr>
                                      <p:tavLst>
                                        <p:tav tm="0">
                                          <p:val>
                                            <p:strVal val="#ppt_x-#ppt_w*1.125000"/>
                                          </p:val>
                                        </p:tav>
                                        <p:tav tm="100000">
                                          <p:val>
                                            <p:strVal val="#ppt_x"/>
                                          </p:val>
                                        </p:tav>
                                      </p:tavLst>
                                    </p:anim>
                                    <p:animEffect transition="in" filter="wipe(right)">
                                      <p:cBhvr>
                                        <p:cTn id="44" dur="500"/>
                                        <p:tgtEl>
                                          <p:spTgt spid="119"/>
                                        </p:tgtEl>
                                      </p:cBhvr>
                                    </p:animEffect>
                                  </p:childTnLst>
                                </p:cTn>
                              </p:par>
                            </p:childTnLst>
                          </p:cTn>
                        </p:par>
                        <p:par>
                          <p:cTn id="45" fill="hold">
                            <p:stCondLst>
                              <p:cond delay="3799"/>
                            </p:stCondLst>
                            <p:childTnLst>
                              <p:par>
                                <p:cTn id="46" presetID="12" presetClass="entr" presetSubtype="4" fill="hold" grpId="0" nodeType="afterEffect">
                                  <p:stCondLst>
                                    <p:cond delay="0"/>
                                  </p:stCondLst>
                                  <p:childTnLst>
                                    <p:set>
                                      <p:cBhvr>
                                        <p:cTn id="47" dur="1" fill="hold">
                                          <p:stCondLst>
                                            <p:cond delay="0"/>
                                          </p:stCondLst>
                                        </p:cTn>
                                        <p:tgtEl>
                                          <p:spTgt spid="140"/>
                                        </p:tgtEl>
                                        <p:attrNameLst>
                                          <p:attrName>style.visibility</p:attrName>
                                        </p:attrNameLst>
                                      </p:cBhvr>
                                      <p:to>
                                        <p:strVal val="visible"/>
                                      </p:to>
                                    </p:set>
                                    <p:anim calcmode="lin" valueType="num">
                                      <p:cBhvr>
                                        <p:cTn id="48" dur="500"/>
                                        <p:tgtEl>
                                          <p:spTgt spid="140"/>
                                        </p:tgtEl>
                                        <p:attrNameLst>
                                          <p:attrName>ppt_y</p:attrName>
                                        </p:attrNameLst>
                                      </p:cBhvr>
                                      <p:tavLst>
                                        <p:tav tm="0">
                                          <p:val>
                                            <p:strVal val="#ppt_y+#ppt_h*1.125000"/>
                                          </p:val>
                                        </p:tav>
                                        <p:tav tm="100000">
                                          <p:val>
                                            <p:strVal val="#ppt_y"/>
                                          </p:val>
                                        </p:tav>
                                      </p:tavLst>
                                    </p:anim>
                                    <p:animEffect transition="in" filter="wipe(up)">
                                      <p:cBhvr>
                                        <p:cTn id="49" dur="500"/>
                                        <p:tgtEl>
                                          <p:spTgt spid="140"/>
                                        </p:tgtEl>
                                      </p:cBhvr>
                                    </p:animEffect>
                                  </p:childTnLst>
                                </p:cTn>
                              </p:par>
                              <p:par>
                                <p:cTn id="50" presetID="12" presetClass="entr" presetSubtype="1" fill="hold" grpId="0" nodeType="withEffect">
                                  <p:stCondLst>
                                    <p:cond delay="0"/>
                                  </p:stCondLst>
                                  <p:childTnLst>
                                    <p:set>
                                      <p:cBhvr>
                                        <p:cTn id="51" dur="1" fill="hold">
                                          <p:stCondLst>
                                            <p:cond delay="0"/>
                                          </p:stCondLst>
                                        </p:cTn>
                                        <p:tgtEl>
                                          <p:spTgt spid="141"/>
                                        </p:tgtEl>
                                        <p:attrNameLst>
                                          <p:attrName>style.visibility</p:attrName>
                                        </p:attrNameLst>
                                      </p:cBhvr>
                                      <p:to>
                                        <p:strVal val="visible"/>
                                      </p:to>
                                    </p:set>
                                    <p:anim calcmode="lin" valueType="num">
                                      <p:cBhvr>
                                        <p:cTn id="52" dur="500"/>
                                        <p:tgtEl>
                                          <p:spTgt spid="141"/>
                                        </p:tgtEl>
                                        <p:attrNameLst>
                                          <p:attrName>ppt_y</p:attrName>
                                        </p:attrNameLst>
                                      </p:cBhvr>
                                      <p:tavLst>
                                        <p:tav tm="0">
                                          <p:val>
                                            <p:strVal val="#ppt_y-#ppt_h*1.125000"/>
                                          </p:val>
                                        </p:tav>
                                        <p:tav tm="100000">
                                          <p:val>
                                            <p:strVal val="#ppt_y"/>
                                          </p:val>
                                        </p:tav>
                                      </p:tavLst>
                                    </p:anim>
                                    <p:animEffect transition="in" filter="wipe(down)">
                                      <p:cBhvr>
                                        <p:cTn id="53" dur="500"/>
                                        <p:tgtEl>
                                          <p:spTgt spid="141"/>
                                        </p:tgtEl>
                                      </p:cBhvr>
                                    </p:animEffect>
                                  </p:childTnLst>
                                </p:cTn>
                              </p:par>
                            </p:childTnLst>
                          </p:cTn>
                        </p:par>
                        <p:par>
                          <p:cTn id="54" fill="hold">
                            <p:stCondLst>
                              <p:cond delay="4299"/>
                            </p:stCondLst>
                            <p:childTnLst>
                              <p:par>
                                <p:cTn id="55" presetID="22" presetClass="entr" presetSubtype="8" fill="hold" nodeType="afterEffect">
                                  <p:stCondLst>
                                    <p:cond delay="0"/>
                                  </p:stCondLst>
                                  <p:childTnLst>
                                    <p:set>
                                      <p:cBhvr>
                                        <p:cTn id="56" dur="1" fill="hold">
                                          <p:stCondLst>
                                            <p:cond delay="0"/>
                                          </p:stCondLst>
                                        </p:cTn>
                                        <p:tgtEl>
                                          <p:spTgt spid="101"/>
                                        </p:tgtEl>
                                        <p:attrNameLst>
                                          <p:attrName>style.visibility</p:attrName>
                                        </p:attrNameLst>
                                      </p:cBhvr>
                                      <p:to>
                                        <p:strVal val="visible"/>
                                      </p:to>
                                    </p:set>
                                    <p:animEffect transition="in" filter="wipe(left)">
                                      <p:cBhvr>
                                        <p:cTn id="57" dur="500"/>
                                        <p:tgtEl>
                                          <p:spTgt spid="101"/>
                                        </p:tgtEl>
                                      </p:cBhvr>
                                    </p:animEffect>
                                  </p:childTnLst>
                                </p:cTn>
                              </p:par>
                            </p:childTnLst>
                          </p:cTn>
                        </p:par>
                        <p:par>
                          <p:cTn id="58" fill="hold">
                            <p:stCondLst>
                              <p:cond delay="4799"/>
                            </p:stCondLst>
                            <p:childTnLst>
                              <p:par>
                                <p:cTn id="59" presetID="12" presetClass="entr" presetSubtype="8" fill="hold" nodeType="afterEffect">
                                  <p:stCondLst>
                                    <p:cond delay="0"/>
                                  </p:stCondLst>
                                  <p:childTnLst>
                                    <p:set>
                                      <p:cBhvr>
                                        <p:cTn id="60" dur="1" fill="hold">
                                          <p:stCondLst>
                                            <p:cond delay="0"/>
                                          </p:stCondLst>
                                        </p:cTn>
                                        <p:tgtEl>
                                          <p:spTgt spid="114"/>
                                        </p:tgtEl>
                                        <p:attrNameLst>
                                          <p:attrName>style.visibility</p:attrName>
                                        </p:attrNameLst>
                                      </p:cBhvr>
                                      <p:to>
                                        <p:strVal val="visible"/>
                                      </p:to>
                                    </p:set>
                                    <p:anim calcmode="lin" valueType="num">
                                      <p:cBhvr>
                                        <p:cTn id="61" dur="500"/>
                                        <p:tgtEl>
                                          <p:spTgt spid="114"/>
                                        </p:tgtEl>
                                        <p:attrNameLst>
                                          <p:attrName>ppt_x</p:attrName>
                                        </p:attrNameLst>
                                      </p:cBhvr>
                                      <p:tavLst>
                                        <p:tav tm="0">
                                          <p:val>
                                            <p:strVal val="#ppt_x-#ppt_w*1.125000"/>
                                          </p:val>
                                        </p:tav>
                                        <p:tav tm="100000">
                                          <p:val>
                                            <p:strVal val="#ppt_x"/>
                                          </p:val>
                                        </p:tav>
                                      </p:tavLst>
                                    </p:anim>
                                    <p:animEffect transition="in" filter="wipe(right)">
                                      <p:cBhvr>
                                        <p:cTn id="62" dur="500"/>
                                        <p:tgtEl>
                                          <p:spTgt spid="114"/>
                                        </p:tgtEl>
                                      </p:cBhvr>
                                    </p:animEffect>
                                  </p:childTnLst>
                                </p:cTn>
                              </p:par>
                            </p:childTnLst>
                          </p:cTn>
                        </p:par>
                        <p:par>
                          <p:cTn id="63" fill="hold">
                            <p:stCondLst>
                              <p:cond delay="5299"/>
                            </p:stCondLst>
                            <p:childTnLst>
                              <p:par>
                                <p:cTn id="64" presetID="12" presetClass="entr" presetSubtype="4" fill="hold" grpId="0" nodeType="afterEffect">
                                  <p:stCondLst>
                                    <p:cond delay="0"/>
                                  </p:stCondLst>
                                  <p:childTnLst>
                                    <p:set>
                                      <p:cBhvr>
                                        <p:cTn id="65" dur="1" fill="hold">
                                          <p:stCondLst>
                                            <p:cond delay="0"/>
                                          </p:stCondLst>
                                        </p:cTn>
                                        <p:tgtEl>
                                          <p:spTgt spid="142"/>
                                        </p:tgtEl>
                                        <p:attrNameLst>
                                          <p:attrName>style.visibility</p:attrName>
                                        </p:attrNameLst>
                                      </p:cBhvr>
                                      <p:to>
                                        <p:strVal val="visible"/>
                                      </p:to>
                                    </p:set>
                                    <p:anim calcmode="lin" valueType="num">
                                      <p:cBhvr>
                                        <p:cTn id="66" dur="500"/>
                                        <p:tgtEl>
                                          <p:spTgt spid="142"/>
                                        </p:tgtEl>
                                        <p:attrNameLst>
                                          <p:attrName>ppt_y</p:attrName>
                                        </p:attrNameLst>
                                      </p:cBhvr>
                                      <p:tavLst>
                                        <p:tav tm="0">
                                          <p:val>
                                            <p:strVal val="#ppt_y+#ppt_h*1.125000"/>
                                          </p:val>
                                        </p:tav>
                                        <p:tav tm="100000">
                                          <p:val>
                                            <p:strVal val="#ppt_y"/>
                                          </p:val>
                                        </p:tav>
                                      </p:tavLst>
                                    </p:anim>
                                    <p:animEffect transition="in" filter="wipe(up)">
                                      <p:cBhvr>
                                        <p:cTn id="67" dur="500"/>
                                        <p:tgtEl>
                                          <p:spTgt spid="142"/>
                                        </p:tgtEl>
                                      </p:cBhvr>
                                    </p:animEffect>
                                  </p:childTnLst>
                                </p:cTn>
                              </p:par>
                            </p:childTnLst>
                          </p:cTn>
                        </p:par>
                      </p:childTnLst>
                    </p:cTn>
                  </p:par>
                  <p:par>
                    <p:cTn id="68" fill="hold">
                      <p:stCondLst>
                        <p:cond delay="indefinite"/>
                      </p:stCondLst>
                      <p:childTnLst>
                        <p:par>
                          <p:cTn id="69" fill="hold">
                            <p:stCondLst>
                              <p:cond delay="0"/>
                            </p:stCondLst>
                            <p:childTnLst>
                              <p:par>
                                <p:cTn id="70" presetID="1" presetClass="mediacall" presetSubtype="0" fill="hold" nodeType="clickEffect">
                                  <p:stCondLst>
                                    <p:cond delay="0"/>
                                  </p:stCondLst>
                                  <p:childTnLst>
                                    <p:cmd type="call" cmd="playFrom(0.0)">
                                      <p:cBhvr>
                                        <p:cTn id="71" dur="705" fill="hold"/>
                                        <p:tgtEl>
                                          <p:spTgt spid="59"/>
                                        </p:tgtEl>
                                      </p:cBhvr>
                                    </p:cmd>
                                  </p:childTnLst>
                                </p:cTn>
                              </p:par>
                              <p:par>
                                <p:cTn id="72" presetID="12" presetClass="entr" presetSubtype="1" fill="hold" grpId="0" nodeType="withEffect">
                                  <p:stCondLst>
                                    <p:cond delay="0"/>
                                  </p:stCondLst>
                                  <p:childTnLst>
                                    <p:set>
                                      <p:cBhvr>
                                        <p:cTn id="73" dur="1" fill="hold">
                                          <p:stCondLst>
                                            <p:cond delay="0"/>
                                          </p:stCondLst>
                                        </p:cTn>
                                        <p:tgtEl>
                                          <p:spTgt spid="143"/>
                                        </p:tgtEl>
                                        <p:attrNameLst>
                                          <p:attrName>style.visibility</p:attrName>
                                        </p:attrNameLst>
                                      </p:cBhvr>
                                      <p:to>
                                        <p:strVal val="visible"/>
                                      </p:to>
                                    </p:set>
                                    <p:anim calcmode="lin" valueType="num">
                                      <p:cBhvr>
                                        <p:cTn id="74" dur="500"/>
                                        <p:tgtEl>
                                          <p:spTgt spid="143"/>
                                        </p:tgtEl>
                                        <p:attrNameLst>
                                          <p:attrName>ppt_y</p:attrName>
                                        </p:attrNameLst>
                                      </p:cBhvr>
                                      <p:tavLst>
                                        <p:tav tm="0">
                                          <p:val>
                                            <p:strVal val="#ppt_y-#ppt_h*1.125000"/>
                                          </p:val>
                                        </p:tav>
                                        <p:tav tm="100000">
                                          <p:val>
                                            <p:strVal val="#ppt_y"/>
                                          </p:val>
                                        </p:tav>
                                      </p:tavLst>
                                    </p:anim>
                                    <p:animEffect transition="in" filter="wipe(down)">
                                      <p:cBhvr>
                                        <p:cTn id="75" dur="500"/>
                                        <p:tgtEl>
                                          <p:spTgt spid="143"/>
                                        </p:tgtEl>
                                      </p:cBhvr>
                                    </p:animEffect>
                                  </p:childTnLst>
                                </p:cTn>
                              </p:par>
                            </p:childTnLst>
                          </p:cTn>
                        </p:par>
                        <p:par>
                          <p:cTn id="76" fill="hold">
                            <p:stCondLst>
                              <p:cond delay="1000"/>
                            </p:stCondLst>
                            <p:childTnLst>
                              <p:par>
                                <p:cTn id="77" presetID="22" presetClass="entr" presetSubtype="8" fill="hold" nodeType="afterEffect">
                                  <p:stCondLst>
                                    <p:cond delay="0"/>
                                  </p:stCondLst>
                                  <p:childTnLst>
                                    <p:set>
                                      <p:cBhvr>
                                        <p:cTn id="78" dur="1" fill="hold">
                                          <p:stCondLst>
                                            <p:cond delay="0"/>
                                          </p:stCondLst>
                                        </p:cTn>
                                        <p:tgtEl>
                                          <p:spTgt spid="124"/>
                                        </p:tgtEl>
                                        <p:attrNameLst>
                                          <p:attrName>style.visibility</p:attrName>
                                        </p:attrNameLst>
                                      </p:cBhvr>
                                      <p:to>
                                        <p:strVal val="visible"/>
                                      </p:to>
                                    </p:set>
                                    <p:animEffect transition="in" filter="wipe(left)">
                                      <p:cBhvr>
                                        <p:cTn id="79" dur="500"/>
                                        <p:tgtEl>
                                          <p:spTgt spid="124"/>
                                        </p:tgtEl>
                                      </p:cBhvr>
                                    </p:animEffect>
                                  </p:childTnLst>
                                </p:cTn>
                              </p:par>
                            </p:childTnLst>
                          </p:cTn>
                        </p:par>
                        <p:par>
                          <p:cTn id="80" fill="hold">
                            <p:stCondLst>
                              <p:cond delay="1500"/>
                            </p:stCondLst>
                            <p:childTnLst>
                              <p:par>
                                <p:cTn id="81" presetID="12" presetClass="entr" presetSubtype="8" fill="hold" nodeType="afterEffect">
                                  <p:stCondLst>
                                    <p:cond delay="0"/>
                                  </p:stCondLst>
                                  <p:childTnLst>
                                    <p:set>
                                      <p:cBhvr>
                                        <p:cTn id="82" dur="1" fill="hold">
                                          <p:stCondLst>
                                            <p:cond delay="0"/>
                                          </p:stCondLst>
                                        </p:cTn>
                                        <p:tgtEl>
                                          <p:spTgt spid="109"/>
                                        </p:tgtEl>
                                        <p:attrNameLst>
                                          <p:attrName>style.visibility</p:attrName>
                                        </p:attrNameLst>
                                      </p:cBhvr>
                                      <p:to>
                                        <p:strVal val="visible"/>
                                      </p:to>
                                    </p:set>
                                    <p:anim calcmode="lin" valueType="num">
                                      <p:cBhvr>
                                        <p:cTn id="83" dur="500"/>
                                        <p:tgtEl>
                                          <p:spTgt spid="109"/>
                                        </p:tgtEl>
                                        <p:attrNameLst>
                                          <p:attrName>ppt_x</p:attrName>
                                        </p:attrNameLst>
                                      </p:cBhvr>
                                      <p:tavLst>
                                        <p:tav tm="0">
                                          <p:val>
                                            <p:strVal val="#ppt_x-#ppt_w*1.125000"/>
                                          </p:val>
                                        </p:tav>
                                        <p:tav tm="100000">
                                          <p:val>
                                            <p:strVal val="#ppt_x"/>
                                          </p:val>
                                        </p:tav>
                                      </p:tavLst>
                                    </p:anim>
                                    <p:animEffect transition="in" filter="wipe(right)">
                                      <p:cBhvr>
                                        <p:cTn id="84" dur="500"/>
                                        <p:tgtEl>
                                          <p:spTgt spid="109"/>
                                        </p:tgtEl>
                                      </p:cBhvr>
                                    </p:animEffect>
                                  </p:childTnLst>
                                </p:cTn>
                              </p:par>
                            </p:childTnLst>
                          </p:cTn>
                        </p:par>
                        <p:par>
                          <p:cTn id="85" fill="hold">
                            <p:stCondLst>
                              <p:cond delay="2000"/>
                            </p:stCondLst>
                            <p:childTnLst>
                              <p:par>
                                <p:cTn id="86" presetID="12" presetClass="entr" presetSubtype="4" fill="hold" grpId="0" nodeType="afterEffect">
                                  <p:stCondLst>
                                    <p:cond delay="0"/>
                                  </p:stCondLst>
                                  <p:childTnLst>
                                    <p:set>
                                      <p:cBhvr>
                                        <p:cTn id="87" dur="1" fill="hold">
                                          <p:stCondLst>
                                            <p:cond delay="0"/>
                                          </p:stCondLst>
                                        </p:cTn>
                                        <p:tgtEl>
                                          <p:spTgt spid="144"/>
                                        </p:tgtEl>
                                        <p:attrNameLst>
                                          <p:attrName>style.visibility</p:attrName>
                                        </p:attrNameLst>
                                      </p:cBhvr>
                                      <p:to>
                                        <p:strVal val="visible"/>
                                      </p:to>
                                    </p:set>
                                    <p:anim calcmode="lin" valueType="num">
                                      <p:cBhvr>
                                        <p:cTn id="88" dur="500"/>
                                        <p:tgtEl>
                                          <p:spTgt spid="144"/>
                                        </p:tgtEl>
                                        <p:attrNameLst>
                                          <p:attrName>ppt_y</p:attrName>
                                        </p:attrNameLst>
                                      </p:cBhvr>
                                      <p:tavLst>
                                        <p:tav tm="0">
                                          <p:val>
                                            <p:strVal val="#ppt_y+#ppt_h*1.125000"/>
                                          </p:val>
                                        </p:tav>
                                        <p:tav tm="100000">
                                          <p:val>
                                            <p:strVal val="#ppt_y"/>
                                          </p:val>
                                        </p:tav>
                                      </p:tavLst>
                                    </p:anim>
                                    <p:animEffect transition="in" filter="wipe(up)">
                                      <p:cBhvr>
                                        <p:cTn id="89" dur="500"/>
                                        <p:tgtEl>
                                          <p:spTgt spid="144"/>
                                        </p:tgtEl>
                                      </p:cBhvr>
                                    </p:animEffect>
                                  </p:childTnLst>
                                </p:cTn>
                              </p:par>
                              <p:par>
                                <p:cTn id="90" presetID="12" presetClass="entr" presetSubtype="1" fill="hold" grpId="0" nodeType="withEffect">
                                  <p:stCondLst>
                                    <p:cond delay="0"/>
                                  </p:stCondLst>
                                  <p:childTnLst>
                                    <p:set>
                                      <p:cBhvr>
                                        <p:cTn id="91" dur="1" fill="hold">
                                          <p:stCondLst>
                                            <p:cond delay="0"/>
                                          </p:stCondLst>
                                        </p:cTn>
                                        <p:tgtEl>
                                          <p:spTgt spid="145"/>
                                        </p:tgtEl>
                                        <p:attrNameLst>
                                          <p:attrName>style.visibility</p:attrName>
                                        </p:attrNameLst>
                                      </p:cBhvr>
                                      <p:to>
                                        <p:strVal val="visible"/>
                                      </p:to>
                                    </p:set>
                                    <p:anim calcmode="lin" valueType="num">
                                      <p:cBhvr>
                                        <p:cTn id="92" dur="500"/>
                                        <p:tgtEl>
                                          <p:spTgt spid="145"/>
                                        </p:tgtEl>
                                        <p:attrNameLst>
                                          <p:attrName>ppt_y</p:attrName>
                                        </p:attrNameLst>
                                      </p:cBhvr>
                                      <p:tavLst>
                                        <p:tav tm="0">
                                          <p:val>
                                            <p:strVal val="#ppt_y-#ppt_h*1.125000"/>
                                          </p:val>
                                        </p:tav>
                                        <p:tav tm="100000">
                                          <p:val>
                                            <p:strVal val="#ppt_y"/>
                                          </p:val>
                                        </p:tav>
                                      </p:tavLst>
                                    </p:anim>
                                    <p:animEffect transition="in" filter="wipe(down)">
                                      <p:cBhvr>
                                        <p:cTn id="93" dur="500"/>
                                        <p:tgtEl>
                                          <p:spTgt spid="145"/>
                                        </p:tgtEl>
                                      </p:cBhvr>
                                    </p:animEffect>
                                  </p:childTnLst>
                                </p:cTn>
                              </p:par>
                            </p:childTnLst>
                          </p:cTn>
                        </p:par>
                        <p:par>
                          <p:cTn id="94" fill="hold">
                            <p:stCondLst>
                              <p:cond delay="2500"/>
                            </p:stCondLst>
                            <p:childTnLst>
                              <p:par>
                                <p:cTn id="95" presetID="22" presetClass="entr" presetSubtype="8" fill="hold" nodeType="afterEffect">
                                  <p:stCondLst>
                                    <p:cond delay="0"/>
                                  </p:stCondLst>
                                  <p:childTnLst>
                                    <p:set>
                                      <p:cBhvr>
                                        <p:cTn id="96" dur="1" fill="hold">
                                          <p:stCondLst>
                                            <p:cond delay="0"/>
                                          </p:stCondLst>
                                        </p:cTn>
                                        <p:tgtEl>
                                          <p:spTgt spid="127"/>
                                        </p:tgtEl>
                                        <p:attrNameLst>
                                          <p:attrName>style.visibility</p:attrName>
                                        </p:attrNameLst>
                                      </p:cBhvr>
                                      <p:to>
                                        <p:strVal val="visible"/>
                                      </p:to>
                                    </p:set>
                                    <p:animEffect transition="in" filter="wipe(left)">
                                      <p:cBhvr>
                                        <p:cTn id="97" dur="500"/>
                                        <p:tgtEl>
                                          <p:spTgt spid="127"/>
                                        </p:tgtEl>
                                      </p:cBhvr>
                                    </p:animEffect>
                                  </p:childTnLst>
                                </p:cTn>
                              </p:par>
                            </p:childTnLst>
                          </p:cTn>
                        </p:par>
                        <p:par>
                          <p:cTn id="98" fill="hold">
                            <p:stCondLst>
                              <p:cond delay="3000"/>
                            </p:stCondLst>
                            <p:childTnLst>
                              <p:par>
                                <p:cTn id="99" presetID="12" presetClass="entr" presetSubtype="8" fill="hold" nodeType="afterEffect">
                                  <p:stCondLst>
                                    <p:cond delay="0"/>
                                  </p:stCondLst>
                                  <p:childTnLst>
                                    <p:set>
                                      <p:cBhvr>
                                        <p:cTn id="100" dur="1" fill="hold">
                                          <p:stCondLst>
                                            <p:cond delay="0"/>
                                          </p:stCondLst>
                                        </p:cTn>
                                        <p:tgtEl>
                                          <p:spTgt spid="133"/>
                                        </p:tgtEl>
                                        <p:attrNameLst>
                                          <p:attrName>style.visibility</p:attrName>
                                        </p:attrNameLst>
                                      </p:cBhvr>
                                      <p:to>
                                        <p:strVal val="visible"/>
                                      </p:to>
                                    </p:set>
                                    <p:anim calcmode="lin" valueType="num">
                                      <p:cBhvr>
                                        <p:cTn id="101" dur="500"/>
                                        <p:tgtEl>
                                          <p:spTgt spid="133"/>
                                        </p:tgtEl>
                                        <p:attrNameLst>
                                          <p:attrName>ppt_x</p:attrName>
                                        </p:attrNameLst>
                                      </p:cBhvr>
                                      <p:tavLst>
                                        <p:tav tm="0">
                                          <p:val>
                                            <p:strVal val="#ppt_x-#ppt_w*1.125000"/>
                                          </p:val>
                                        </p:tav>
                                        <p:tav tm="100000">
                                          <p:val>
                                            <p:strVal val="#ppt_x"/>
                                          </p:val>
                                        </p:tav>
                                      </p:tavLst>
                                    </p:anim>
                                    <p:animEffect transition="in" filter="wipe(right)">
                                      <p:cBhvr>
                                        <p:cTn id="102" dur="500"/>
                                        <p:tgtEl>
                                          <p:spTgt spid="133"/>
                                        </p:tgtEl>
                                      </p:cBhvr>
                                    </p:animEffect>
                                  </p:childTnLst>
                                </p:cTn>
                              </p:par>
                            </p:childTnLst>
                          </p:cTn>
                        </p:par>
                        <p:par>
                          <p:cTn id="103" fill="hold">
                            <p:stCondLst>
                              <p:cond delay="3500"/>
                            </p:stCondLst>
                            <p:childTnLst>
                              <p:par>
                                <p:cTn id="104" presetID="12" presetClass="entr" presetSubtype="4" fill="hold" grpId="0" nodeType="afterEffect">
                                  <p:stCondLst>
                                    <p:cond delay="0"/>
                                  </p:stCondLst>
                                  <p:childTnLst>
                                    <p:set>
                                      <p:cBhvr>
                                        <p:cTn id="105" dur="1" fill="hold">
                                          <p:stCondLst>
                                            <p:cond delay="0"/>
                                          </p:stCondLst>
                                        </p:cTn>
                                        <p:tgtEl>
                                          <p:spTgt spid="146"/>
                                        </p:tgtEl>
                                        <p:attrNameLst>
                                          <p:attrName>style.visibility</p:attrName>
                                        </p:attrNameLst>
                                      </p:cBhvr>
                                      <p:to>
                                        <p:strVal val="visible"/>
                                      </p:to>
                                    </p:set>
                                    <p:anim calcmode="lin" valueType="num">
                                      <p:cBhvr>
                                        <p:cTn id="106" dur="500"/>
                                        <p:tgtEl>
                                          <p:spTgt spid="146"/>
                                        </p:tgtEl>
                                        <p:attrNameLst>
                                          <p:attrName>ppt_y</p:attrName>
                                        </p:attrNameLst>
                                      </p:cBhvr>
                                      <p:tavLst>
                                        <p:tav tm="0">
                                          <p:val>
                                            <p:strVal val="#ppt_y+#ppt_h*1.125000"/>
                                          </p:val>
                                        </p:tav>
                                        <p:tav tm="100000">
                                          <p:val>
                                            <p:strVal val="#ppt_y"/>
                                          </p:val>
                                        </p:tav>
                                      </p:tavLst>
                                    </p:anim>
                                    <p:animEffect transition="in" filter="wipe(up)">
                                      <p:cBhvr>
                                        <p:cTn id="107" dur="500"/>
                                        <p:tgtEl>
                                          <p:spTgt spid="146"/>
                                        </p:tgtEl>
                                      </p:cBhvr>
                                    </p:animEffect>
                                  </p:childTnLst>
                                </p:cTn>
                              </p:par>
                              <p:par>
                                <p:cTn id="108" presetID="12" presetClass="entr" presetSubtype="1" fill="hold" grpId="0" nodeType="withEffect">
                                  <p:stCondLst>
                                    <p:cond delay="0"/>
                                  </p:stCondLst>
                                  <p:childTnLst>
                                    <p:set>
                                      <p:cBhvr>
                                        <p:cTn id="109" dur="1" fill="hold">
                                          <p:stCondLst>
                                            <p:cond delay="0"/>
                                          </p:stCondLst>
                                        </p:cTn>
                                        <p:tgtEl>
                                          <p:spTgt spid="147"/>
                                        </p:tgtEl>
                                        <p:attrNameLst>
                                          <p:attrName>style.visibility</p:attrName>
                                        </p:attrNameLst>
                                      </p:cBhvr>
                                      <p:to>
                                        <p:strVal val="visible"/>
                                      </p:to>
                                    </p:set>
                                    <p:anim calcmode="lin" valueType="num">
                                      <p:cBhvr>
                                        <p:cTn id="110" dur="500"/>
                                        <p:tgtEl>
                                          <p:spTgt spid="147"/>
                                        </p:tgtEl>
                                        <p:attrNameLst>
                                          <p:attrName>ppt_y</p:attrName>
                                        </p:attrNameLst>
                                      </p:cBhvr>
                                      <p:tavLst>
                                        <p:tav tm="0">
                                          <p:val>
                                            <p:strVal val="#ppt_y-#ppt_h*1.125000"/>
                                          </p:val>
                                        </p:tav>
                                        <p:tav tm="100000">
                                          <p:val>
                                            <p:strVal val="#ppt_y"/>
                                          </p:val>
                                        </p:tav>
                                      </p:tavLst>
                                    </p:anim>
                                    <p:animEffect transition="in" filter="wipe(down)">
                                      <p:cBhvr>
                                        <p:cTn id="111" dur="500"/>
                                        <p:tgtEl>
                                          <p:spTgt spid="147"/>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p:cTn id="112" fill="hold" display="0">
                  <p:stCondLst>
                    <p:cond delay="indefinite"/>
                  </p:stCondLst>
                  <p:endCondLst>
                    <p:cond evt="onStopAudio" delay="0">
                      <p:tgtEl>
                        <p:sldTgt/>
                      </p:tgtEl>
                    </p:cond>
                  </p:endCondLst>
                </p:cTn>
                <p:tgtEl>
                  <p:spTgt spid="59"/>
                </p:tgtEl>
              </p:cMediaNode>
            </p:audio>
          </p:childTnLst>
        </p:cTn>
      </p:par>
    </p:tnLst>
    <p:bldLst>
      <p:bldP spid="138" grpId="0"/>
      <p:bldP spid="139" grpId="0"/>
      <p:bldP spid="140" grpId="0"/>
      <p:bldP spid="141" grpId="0"/>
      <p:bldP spid="142" grpId="0"/>
      <p:bldP spid="143" grpId="0"/>
      <p:bldP spid="144" grpId="0"/>
      <p:bldP spid="145" grpId="0"/>
      <p:bldP spid="146" grpId="0"/>
      <p:bldP spid="147" grpId="0"/>
      <p:bldP spid="51" grpId="0" animBg="1"/>
      <p:bldP spid="54" grpId="0"/>
    </p:bldLst>
  </p:timing>
</p:sld>
</file>

<file path=ppt/slides/slide2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1000" r="-1000"/>
          </a:stretch>
        </a:blipFill>
        <a:effectLst/>
      </p:bgPr>
    </p:bg>
    <p:spTree>
      <p:nvGrpSpPr>
        <p:cNvPr id="1" name=""/>
        <p:cNvGrpSpPr/>
        <p:nvPr/>
      </p:nvGrpSpPr>
      <p:grpSpPr>
        <a:xfrm>
          <a:off x="0" y="0"/>
          <a:ext cx="0" cy="0"/>
          <a:chOff x="0" y="0"/>
          <a:chExt cx="0" cy="0"/>
        </a:xfrm>
      </p:grpSpPr>
      <p:sp>
        <p:nvSpPr>
          <p:cNvPr id="2" name="TextBox 4"/>
          <p:cNvSpPr txBox="1"/>
          <p:nvPr/>
        </p:nvSpPr>
        <p:spPr>
          <a:xfrm>
            <a:off x="6804754" y="1944108"/>
            <a:ext cx="1706880" cy="922020"/>
          </a:xfrm>
          <a:prstGeom prst="rect">
            <a:avLst/>
          </a:prstGeom>
          <a:noFill/>
        </p:spPr>
        <p:txBody>
          <a:bodyPr wrap="none" rtlCol="0">
            <a:spAutoFit/>
          </a:bodyPr>
          <a:lstStyle/>
          <a:p>
            <a:r>
              <a:rPr lang="en-US" altLang="zh-CN" sz="5400" spc="300" dirty="0">
                <a:solidFill>
                  <a:schemeClr val="bg1"/>
                </a:solidFill>
                <a:latin typeface="黑体" panose="02010609060101010101" pitchFamily="2" charset="-122"/>
                <a:ea typeface="黑体" panose="02010609060101010101" pitchFamily="2" charset="-122"/>
              </a:rPr>
              <a:t>2020</a:t>
            </a:r>
            <a:endParaRPr lang="zh-CN" altLang="en-US" sz="5400" spc="300" dirty="0">
              <a:solidFill>
                <a:schemeClr val="bg1"/>
              </a:solidFill>
              <a:latin typeface="黑体" panose="02010609060101010101" pitchFamily="2" charset="-122"/>
              <a:ea typeface="黑体" panose="02010609060101010101" pitchFamily="2" charset="-122"/>
            </a:endParaRPr>
          </a:p>
        </p:txBody>
      </p:sp>
      <p:sp>
        <p:nvSpPr>
          <p:cNvPr id="3" name="TextBox 5"/>
          <p:cNvSpPr txBox="1"/>
          <p:nvPr/>
        </p:nvSpPr>
        <p:spPr>
          <a:xfrm>
            <a:off x="4860592" y="2655461"/>
            <a:ext cx="3672800" cy="584775"/>
          </a:xfrm>
          <a:prstGeom prst="rect">
            <a:avLst/>
          </a:prstGeom>
          <a:noFill/>
        </p:spPr>
        <p:txBody>
          <a:bodyPr wrap="none" rtlCol="0">
            <a:spAutoFit/>
          </a:bodyPr>
          <a:lstStyle/>
          <a:p>
            <a:r>
              <a:rPr lang="zh-CN" altLang="en-US" sz="3200" dirty="0">
                <a:solidFill>
                  <a:srgbClr val="00AEEF"/>
                </a:solidFill>
                <a:latin typeface="黑体" panose="02010609060101010101" pitchFamily="2" charset="-122"/>
                <a:ea typeface="黑体" panose="02010609060101010101" pitchFamily="2" charset="-122"/>
              </a:rPr>
              <a:t>演示完毕 感谢聆听</a:t>
            </a:r>
          </a:p>
        </p:txBody>
      </p:sp>
      <p:sp>
        <p:nvSpPr>
          <p:cNvPr id="4" name="TextBox 6"/>
          <p:cNvSpPr txBox="1"/>
          <p:nvPr/>
        </p:nvSpPr>
        <p:spPr>
          <a:xfrm>
            <a:off x="6588736" y="3163872"/>
            <a:ext cx="1851789" cy="292388"/>
          </a:xfrm>
          <a:prstGeom prst="rect">
            <a:avLst/>
          </a:prstGeom>
          <a:noFill/>
        </p:spPr>
        <p:txBody>
          <a:bodyPr wrap="none" rtlCol="0">
            <a:spAutoFit/>
          </a:bodyPr>
          <a:lstStyle/>
          <a:p>
            <a:r>
              <a:rPr lang="en-US" altLang="zh-CN" sz="1300" dirty="0">
                <a:solidFill>
                  <a:schemeClr val="bg1"/>
                </a:solidFill>
                <a:latin typeface="黑体" panose="02010609060101010101" pitchFamily="2" charset="-122"/>
                <a:ea typeface="黑体" panose="02010609060101010101" pitchFamily="2" charset="-122"/>
              </a:rPr>
              <a:t>Thanks for listening</a:t>
            </a:r>
            <a:endParaRPr lang="zh-CN" altLang="en-US" sz="1300" dirty="0">
              <a:solidFill>
                <a:schemeClr val="bg1"/>
              </a:solidFill>
              <a:latin typeface="黑体" panose="02010609060101010101" pitchFamily="2" charset="-122"/>
              <a:ea typeface="黑体" panose="02010609060101010101" pitchFamily="2" charset="-122"/>
            </a:endParaRPr>
          </a:p>
        </p:txBody>
      </p:sp>
      <p:cxnSp>
        <p:nvCxnSpPr>
          <p:cNvPr id="5" name="直接连接符 4"/>
          <p:cNvCxnSpPr/>
          <p:nvPr/>
        </p:nvCxnSpPr>
        <p:spPr>
          <a:xfrm>
            <a:off x="7776822" y="3600246"/>
            <a:ext cx="540058" cy="0"/>
          </a:xfrm>
          <a:prstGeom prst="line">
            <a:avLst/>
          </a:prstGeom>
          <a:ln w="25400">
            <a:solidFill>
              <a:srgbClr val="00B0F0"/>
            </a:solidFill>
          </a:ln>
        </p:spPr>
        <p:style>
          <a:lnRef idx="1">
            <a:schemeClr val="accent1"/>
          </a:lnRef>
          <a:fillRef idx="0">
            <a:schemeClr val="accent1"/>
          </a:fillRef>
          <a:effectRef idx="0">
            <a:schemeClr val="accent1"/>
          </a:effectRef>
          <a:fontRef idx="minor">
            <a:schemeClr val="tx1"/>
          </a:fontRef>
        </p:style>
      </p:cxnSp>
      <p:sp>
        <p:nvSpPr>
          <p:cNvPr id="6" name="TextBox 8"/>
          <p:cNvSpPr txBox="1"/>
          <p:nvPr/>
        </p:nvSpPr>
        <p:spPr>
          <a:xfrm>
            <a:off x="4284544" y="3672284"/>
            <a:ext cx="4134465" cy="338554"/>
          </a:xfrm>
          <a:prstGeom prst="rect">
            <a:avLst/>
          </a:prstGeom>
          <a:noFill/>
        </p:spPr>
        <p:txBody>
          <a:bodyPr wrap="none" rtlCol="0">
            <a:spAutoFit/>
          </a:bodyPr>
          <a:lstStyle/>
          <a:p>
            <a:pPr algn="r"/>
            <a:r>
              <a:rPr lang="en-US" altLang="zh-CN" sz="800" dirty="0">
                <a:solidFill>
                  <a:schemeClr val="bg1"/>
                </a:solidFill>
                <a:latin typeface="黑体" panose="02010609060101010101" pitchFamily="2" charset="-122"/>
                <a:ea typeface="黑体" panose="02010609060101010101" pitchFamily="2" charset="-122"/>
              </a:rPr>
              <a:t>A collection of data that can not be caught, managed, and processed by </a:t>
            </a:r>
            <a:r>
              <a:rPr lang="en-US" altLang="zh-CN" sz="800" dirty="0" err="1">
                <a:solidFill>
                  <a:schemeClr val="bg1"/>
                </a:solidFill>
                <a:latin typeface="黑体" panose="02010609060101010101" pitchFamily="2" charset="-122"/>
                <a:ea typeface="黑体" panose="02010609060101010101" pitchFamily="2" charset="-122"/>
              </a:rPr>
              <a:t>conven</a:t>
            </a:r>
            <a:endParaRPr lang="en-US" altLang="zh-CN" sz="800" dirty="0">
              <a:solidFill>
                <a:schemeClr val="bg1"/>
              </a:solidFill>
              <a:latin typeface="黑体" panose="02010609060101010101" pitchFamily="2" charset="-122"/>
              <a:ea typeface="黑体" panose="02010609060101010101" pitchFamily="2" charset="-122"/>
            </a:endParaRPr>
          </a:p>
          <a:p>
            <a:pPr algn="r"/>
            <a:r>
              <a:rPr lang="en-US" altLang="zh-CN" sz="800" dirty="0" err="1">
                <a:solidFill>
                  <a:schemeClr val="bg1"/>
                </a:solidFill>
                <a:latin typeface="黑体" panose="02010609060101010101" pitchFamily="2" charset="-122"/>
                <a:ea typeface="黑体" panose="02010609060101010101" pitchFamily="2" charset="-122"/>
              </a:rPr>
              <a:t>tional</a:t>
            </a:r>
            <a:r>
              <a:rPr lang="en-US" altLang="zh-CN" sz="800" dirty="0">
                <a:solidFill>
                  <a:schemeClr val="bg1"/>
                </a:solidFill>
                <a:latin typeface="黑体" panose="02010609060101010101" pitchFamily="2" charset="-122"/>
                <a:ea typeface="黑体" panose="02010609060101010101" pitchFamily="2" charset="-122"/>
              </a:rPr>
              <a:t> software tools within a given time scale,</a:t>
            </a:r>
            <a:endParaRPr lang="zh-CN" altLang="en-US" sz="800" dirty="0">
              <a:solidFill>
                <a:schemeClr val="bg1"/>
              </a:solidFill>
              <a:latin typeface="黑体" panose="02010609060101010101" pitchFamily="2" charset="-122"/>
              <a:ea typeface="黑体" panose="02010609060101010101" pitchFamily="2" charset="-122"/>
            </a:endParaRPr>
          </a:p>
        </p:txBody>
      </p:sp>
    </p:spTree>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afterEffect">
                                  <p:stCondLst>
                                    <p:cond delay="0"/>
                                  </p:stCondLst>
                                  <p:iterate type="lt">
                                    <p:tmPct val="10000"/>
                                  </p:iterate>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2"/>
                                        </p:tgtEl>
                                        <p:attrNameLst>
                                          <p:attrName>ppt_y</p:attrName>
                                        </p:attrNameLst>
                                      </p:cBhvr>
                                      <p:tavLst>
                                        <p:tav tm="0">
                                          <p:val>
                                            <p:strVal val="#ppt_y"/>
                                          </p:val>
                                        </p:tav>
                                        <p:tav tm="100000">
                                          <p:val>
                                            <p:strVal val="#ppt_y"/>
                                          </p:val>
                                        </p:tav>
                                      </p:tavLst>
                                    </p:anim>
                                    <p:anim calcmode="lin" valueType="num">
                                      <p:cBhvr>
                                        <p:cTn id="9" dur="500" fill="hold"/>
                                        <p:tgtEl>
                                          <p:spTgt spid="2"/>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2"/>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2"/>
                                        </p:tgtEl>
                                      </p:cBhvr>
                                    </p:animEffect>
                                  </p:childTnLst>
                                </p:cTn>
                              </p:par>
                            </p:childTnLst>
                          </p:cTn>
                        </p:par>
                        <p:par>
                          <p:cTn id="12" fill="hold">
                            <p:stCondLst>
                              <p:cond delay="649"/>
                            </p:stCondLst>
                            <p:childTnLst>
                              <p:par>
                                <p:cTn id="13" presetID="26" presetClass="emph" presetSubtype="0" fill="hold" grpId="1" nodeType="afterEffect">
                                  <p:stCondLst>
                                    <p:cond delay="0"/>
                                  </p:stCondLst>
                                  <p:iterate type="lt">
                                    <p:tmPct val="0"/>
                                  </p:iterate>
                                  <p:childTnLst>
                                    <p:animEffect transition="out" filter="fade">
                                      <p:cBhvr>
                                        <p:cTn id="14" dur="500" tmFilter="0, 0; .2, .5; .8, .5; 1, 0"/>
                                        <p:tgtEl>
                                          <p:spTgt spid="2"/>
                                        </p:tgtEl>
                                      </p:cBhvr>
                                    </p:animEffect>
                                    <p:animScale>
                                      <p:cBhvr>
                                        <p:cTn id="15" dur="250" autoRev="1" fill="hold"/>
                                        <p:tgtEl>
                                          <p:spTgt spid="2"/>
                                        </p:tgtEl>
                                      </p:cBhvr>
                                      <p:by x="105000" y="105000"/>
                                    </p:animScale>
                                  </p:childTnLst>
                                </p:cTn>
                              </p:par>
                            </p:childTnLst>
                          </p:cTn>
                        </p:par>
                        <p:par>
                          <p:cTn id="16" fill="hold">
                            <p:stCondLst>
                              <p:cond delay="1149"/>
                            </p:stCondLst>
                            <p:childTnLst>
                              <p:par>
                                <p:cTn id="17" presetID="41" presetClass="entr" presetSubtype="0" fill="hold" grpId="0" nodeType="afterEffect">
                                  <p:stCondLst>
                                    <p:cond delay="0"/>
                                  </p:stCondLst>
                                  <p:iterate type="lt">
                                    <p:tmPct val="10000"/>
                                  </p:iterate>
                                  <p:childTnLst>
                                    <p:set>
                                      <p:cBhvr>
                                        <p:cTn id="18" dur="1" fill="hold">
                                          <p:stCondLst>
                                            <p:cond delay="0"/>
                                          </p:stCondLst>
                                        </p:cTn>
                                        <p:tgtEl>
                                          <p:spTgt spid="3"/>
                                        </p:tgtEl>
                                        <p:attrNameLst>
                                          <p:attrName>style.visibility</p:attrName>
                                        </p:attrNameLst>
                                      </p:cBhvr>
                                      <p:to>
                                        <p:strVal val="visible"/>
                                      </p:to>
                                    </p:set>
                                    <p:anim calcmode="lin" valueType="num">
                                      <p:cBhvr>
                                        <p:cTn id="19" dur="500" fill="hold"/>
                                        <p:tgtEl>
                                          <p:spTgt spid="3"/>
                                        </p:tgtEl>
                                        <p:attrNameLst>
                                          <p:attrName>ppt_x</p:attrName>
                                        </p:attrNameLst>
                                      </p:cBhvr>
                                      <p:tavLst>
                                        <p:tav tm="0">
                                          <p:val>
                                            <p:strVal val="#ppt_x"/>
                                          </p:val>
                                        </p:tav>
                                        <p:tav tm="50000">
                                          <p:val>
                                            <p:strVal val="#ppt_x+.1"/>
                                          </p:val>
                                        </p:tav>
                                        <p:tav tm="100000">
                                          <p:val>
                                            <p:strVal val="#ppt_x"/>
                                          </p:val>
                                        </p:tav>
                                      </p:tavLst>
                                    </p:anim>
                                    <p:anim calcmode="lin" valueType="num">
                                      <p:cBhvr>
                                        <p:cTn id="20" dur="500" fill="hold"/>
                                        <p:tgtEl>
                                          <p:spTgt spid="3"/>
                                        </p:tgtEl>
                                        <p:attrNameLst>
                                          <p:attrName>ppt_y</p:attrName>
                                        </p:attrNameLst>
                                      </p:cBhvr>
                                      <p:tavLst>
                                        <p:tav tm="0">
                                          <p:val>
                                            <p:strVal val="#ppt_y"/>
                                          </p:val>
                                        </p:tav>
                                        <p:tav tm="100000">
                                          <p:val>
                                            <p:strVal val="#ppt_y"/>
                                          </p:val>
                                        </p:tav>
                                      </p:tavLst>
                                    </p:anim>
                                    <p:anim calcmode="lin" valueType="num">
                                      <p:cBhvr>
                                        <p:cTn id="21" dur="500" fill="hold"/>
                                        <p:tgtEl>
                                          <p:spTgt spid="3"/>
                                        </p:tgtEl>
                                        <p:attrNameLst>
                                          <p:attrName>ppt_h</p:attrName>
                                        </p:attrNameLst>
                                      </p:cBhvr>
                                      <p:tavLst>
                                        <p:tav tm="0">
                                          <p:val>
                                            <p:strVal val="#ppt_h/10"/>
                                          </p:val>
                                        </p:tav>
                                        <p:tav tm="50000">
                                          <p:val>
                                            <p:strVal val="#ppt_h+.01"/>
                                          </p:val>
                                        </p:tav>
                                        <p:tav tm="100000">
                                          <p:val>
                                            <p:strVal val="#ppt_h"/>
                                          </p:val>
                                        </p:tav>
                                      </p:tavLst>
                                    </p:anim>
                                    <p:anim calcmode="lin" valueType="num">
                                      <p:cBhvr>
                                        <p:cTn id="22" dur="500" fill="hold"/>
                                        <p:tgtEl>
                                          <p:spTgt spid="3"/>
                                        </p:tgtEl>
                                        <p:attrNameLst>
                                          <p:attrName>ppt_w</p:attrName>
                                        </p:attrNameLst>
                                      </p:cBhvr>
                                      <p:tavLst>
                                        <p:tav tm="0">
                                          <p:val>
                                            <p:strVal val="#ppt_w/10"/>
                                          </p:val>
                                        </p:tav>
                                        <p:tav tm="50000">
                                          <p:val>
                                            <p:strVal val="#ppt_w+.01"/>
                                          </p:val>
                                        </p:tav>
                                        <p:tav tm="100000">
                                          <p:val>
                                            <p:strVal val="#ppt_w"/>
                                          </p:val>
                                        </p:tav>
                                      </p:tavLst>
                                    </p:anim>
                                    <p:animEffect transition="in" filter="fade">
                                      <p:cBhvr>
                                        <p:cTn id="23" dur="500" tmFilter="0,0; .5, 1; 1, 1"/>
                                        <p:tgtEl>
                                          <p:spTgt spid="3"/>
                                        </p:tgtEl>
                                      </p:cBhvr>
                                    </p:animEffect>
                                  </p:childTnLst>
                                </p:cTn>
                              </p:par>
                            </p:childTnLst>
                          </p:cTn>
                        </p:par>
                        <p:par>
                          <p:cTn id="24" fill="hold">
                            <p:stCondLst>
                              <p:cond delay="2049"/>
                            </p:stCondLst>
                            <p:childTnLst>
                              <p:par>
                                <p:cTn id="25" presetID="26" presetClass="emph" presetSubtype="0" fill="hold" grpId="1" nodeType="afterEffect">
                                  <p:stCondLst>
                                    <p:cond delay="0"/>
                                  </p:stCondLst>
                                  <p:iterate type="lt">
                                    <p:tmPct val="0"/>
                                  </p:iterate>
                                  <p:childTnLst>
                                    <p:animEffect transition="out" filter="fade">
                                      <p:cBhvr>
                                        <p:cTn id="26" dur="500" tmFilter="0, 0; .2, .5; .8, .5; 1, 0"/>
                                        <p:tgtEl>
                                          <p:spTgt spid="3"/>
                                        </p:tgtEl>
                                      </p:cBhvr>
                                    </p:animEffect>
                                    <p:animScale>
                                      <p:cBhvr>
                                        <p:cTn id="27" dur="250" autoRev="1" fill="hold"/>
                                        <p:tgtEl>
                                          <p:spTgt spid="3"/>
                                        </p:tgtEl>
                                      </p:cBhvr>
                                      <p:by x="105000" y="105000"/>
                                    </p:animScale>
                                  </p:childTnLst>
                                </p:cTn>
                              </p:par>
                            </p:childTnLst>
                          </p:cTn>
                        </p:par>
                        <p:par>
                          <p:cTn id="28" fill="hold">
                            <p:stCondLst>
                              <p:cond delay="2549"/>
                            </p:stCondLst>
                            <p:childTnLst>
                              <p:par>
                                <p:cTn id="29" presetID="41" presetClass="entr" presetSubtype="0" fill="hold" grpId="0" nodeType="afterEffect">
                                  <p:stCondLst>
                                    <p:cond delay="0"/>
                                  </p:stCondLst>
                                  <p:iterate type="lt">
                                    <p:tmPct val="10000"/>
                                  </p:iterate>
                                  <p:childTnLst>
                                    <p:set>
                                      <p:cBhvr>
                                        <p:cTn id="30" dur="1" fill="hold">
                                          <p:stCondLst>
                                            <p:cond delay="0"/>
                                          </p:stCondLst>
                                        </p:cTn>
                                        <p:tgtEl>
                                          <p:spTgt spid="4"/>
                                        </p:tgtEl>
                                        <p:attrNameLst>
                                          <p:attrName>style.visibility</p:attrName>
                                        </p:attrNameLst>
                                      </p:cBhvr>
                                      <p:to>
                                        <p:strVal val="visible"/>
                                      </p:to>
                                    </p:set>
                                    <p:anim calcmode="lin" valueType="num">
                                      <p:cBhvr>
                                        <p:cTn id="31" dur="5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32" dur="500" fill="hold"/>
                                        <p:tgtEl>
                                          <p:spTgt spid="4"/>
                                        </p:tgtEl>
                                        <p:attrNameLst>
                                          <p:attrName>ppt_y</p:attrName>
                                        </p:attrNameLst>
                                      </p:cBhvr>
                                      <p:tavLst>
                                        <p:tav tm="0">
                                          <p:val>
                                            <p:strVal val="#ppt_y"/>
                                          </p:val>
                                        </p:tav>
                                        <p:tav tm="100000">
                                          <p:val>
                                            <p:strVal val="#ppt_y"/>
                                          </p:val>
                                        </p:tav>
                                      </p:tavLst>
                                    </p:anim>
                                    <p:anim calcmode="lin" valueType="num">
                                      <p:cBhvr>
                                        <p:cTn id="33" dur="5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34" dur="5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35" dur="500" tmFilter="0,0; .5, 1; 1, 1"/>
                                        <p:tgtEl>
                                          <p:spTgt spid="4"/>
                                        </p:tgtEl>
                                      </p:cBhvr>
                                    </p:animEffect>
                                  </p:childTnLst>
                                </p:cTn>
                              </p:par>
                            </p:childTnLst>
                          </p:cTn>
                        </p:par>
                        <p:par>
                          <p:cTn id="36" fill="hold">
                            <p:stCondLst>
                              <p:cond delay="4000"/>
                            </p:stCondLst>
                            <p:childTnLst>
                              <p:par>
                                <p:cTn id="37" presetID="22" presetClass="entr" presetSubtype="8" fill="hold" nodeType="afterEffect">
                                  <p:stCondLst>
                                    <p:cond delay="0"/>
                                  </p:stCondLst>
                                  <p:childTnLst>
                                    <p:set>
                                      <p:cBhvr>
                                        <p:cTn id="38" dur="1" fill="hold">
                                          <p:stCondLst>
                                            <p:cond delay="0"/>
                                          </p:stCondLst>
                                        </p:cTn>
                                        <p:tgtEl>
                                          <p:spTgt spid="5"/>
                                        </p:tgtEl>
                                        <p:attrNameLst>
                                          <p:attrName>style.visibility</p:attrName>
                                        </p:attrNameLst>
                                      </p:cBhvr>
                                      <p:to>
                                        <p:strVal val="visible"/>
                                      </p:to>
                                    </p:set>
                                    <p:animEffect transition="in" filter="wipe(left)">
                                      <p:cBhvr>
                                        <p:cTn id="39" dur="500"/>
                                        <p:tgtEl>
                                          <p:spTgt spid="5"/>
                                        </p:tgtEl>
                                      </p:cBhvr>
                                    </p:animEffect>
                                  </p:childTnLst>
                                </p:cTn>
                              </p:par>
                            </p:childTnLst>
                          </p:cTn>
                        </p:par>
                        <p:par>
                          <p:cTn id="40" fill="hold">
                            <p:stCondLst>
                              <p:cond delay="4500"/>
                            </p:stCondLst>
                            <p:childTnLst>
                              <p:par>
                                <p:cTn id="41" presetID="42" presetClass="entr" presetSubtype="0" fill="hold" grpId="0" nodeType="after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1000"/>
                                        <p:tgtEl>
                                          <p:spTgt spid="6"/>
                                        </p:tgtEl>
                                      </p:cBhvr>
                                    </p:animEffect>
                                    <p:anim calcmode="lin" valueType="num">
                                      <p:cBhvr>
                                        <p:cTn id="44" dur="1000" fill="hold"/>
                                        <p:tgtEl>
                                          <p:spTgt spid="6"/>
                                        </p:tgtEl>
                                        <p:attrNameLst>
                                          <p:attrName>ppt_x</p:attrName>
                                        </p:attrNameLst>
                                      </p:cBhvr>
                                      <p:tavLst>
                                        <p:tav tm="0">
                                          <p:val>
                                            <p:strVal val="#ppt_x"/>
                                          </p:val>
                                        </p:tav>
                                        <p:tav tm="100000">
                                          <p:val>
                                            <p:strVal val="#ppt_x"/>
                                          </p:val>
                                        </p:tav>
                                      </p:tavLst>
                                    </p:anim>
                                    <p:anim calcmode="lin" valueType="num">
                                      <p:cBhvr>
                                        <p:cTn id="45"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P spid="4" grpId="0"/>
      <p:bldP spid="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19" name="TextBox 10"/>
          <p:cNvSpPr txBox="1"/>
          <p:nvPr/>
        </p:nvSpPr>
        <p:spPr>
          <a:xfrm>
            <a:off x="1188194" y="3005020"/>
            <a:ext cx="2569934" cy="523220"/>
          </a:xfrm>
          <a:prstGeom prst="rect">
            <a:avLst/>
          </a:prstGeom>
          <a:noFill/>
        </p:spPr>
        <p:txBody>
          <a:bodyPr wrap="none" rtlCol="0">
            <a:spAutoFit/>
          </a:bodyPr>
          <a:lstStyle/>
          <a:p>
            <a:r>
              <a:rPr lang="zh-CN" altLang="en-US" sz="2800" spc="300" dirty="0">
                <a:solidFill>
                  <a:srgbClr val="0070C0"/>
                </a:solidFill>
                <a:latin typeface="黑体" panose="02010609060101010101" pitchFamily="2" charset="-122"/>
                <a:ea typeface="黑体" panose="02010609060101010101" pitchFamily="2" charset="-122"/>
              </a:rPr>
              <a:t>单击添加标题</a:t>
            </a:r>
          </a:p>
        </p:txBody>
      </p:sp>
      <p:sp>
        <p:nvSpPr>
          <p:cNvPr id="20" name="TextBox 11"/>
          <p:cNvSpPr txBox="1"/>
          <p:nvPr/>
        </p:nvSpPr>
        <p:spPr>
          <a:xfrm>
            <a:off x="1260292" y="3564725"/>
            <a:ext cx="3025187" cy="430887"/>
          </a:xfrm>
          <a:prstGeom prst="rect">
            <a:avLst/>
          </a:prstGeom>
          <a:noFill/>
        </p:spPr>
        <p:txBody>
          <a:bodyPr wrap="none" rtlCol="0">
            <a:spAutoFit/>
          </a:bodyPr>
          <a:lstStyle/>
          <a:p>
            <a:r>
              <a:rPr lang="en-US" altLang="zh-CN" sz="1100" dirty="0">
                <a:solidFill>
                  <a:schemeClr val="bg1"/>
                </a:solidFill>
                <a:latin typeface="汉仪细等线" panose="01010104010101010101" pitchFamily="2" charset="-122"/>
                <a:ea typeface="汉仪细等线" panose="01010104010101010101" pitchFamily="2" charset="-122"/>
              </a:rPr>
              <a:t>Please click enter to Please click enter add</a:t>
            </a:r>
          </a:p>
          <a:p>
            <a:r>
              <a:rPr lang="en-US" altLang="zh-CN" sz="1100" dirty="0">
                <a:solidFill>
                  <a:schemeClr val="bg1"/>
                </a:solidFill>
                <a:latin typeface="汉仪细等线" panose="01010104010101010101" pitchFamily="2" charset="-122"/>
                <a:ea typeface="汉仪细等线" panose="01010104010101010101" pitchFamily="2" charset="-122"/>
              </a:rPr>
              <a:t>text content Please click enter </a:t>
            </a:r>
            <a:endParaRPr lang="zh-CN" altLang="en-US" sz="1100" dirty="0">
              <a:solidFill>
                <a:schemeClr val="bg1"/>
              </a:solidFill>
              <a:latin typeface="汉仪细等线" panose="01010104010101010101" pitchFamily="2" charset="-122"/>
              <a:ea typeface="汉仪细等线" panose="01010104010101010101" pitchFamily="2" charset="-122"/>
            </a:endParaRPr>
          </a:p>
        </p:txBody>
      </p:sp>
      <p:sp>
        <p:nvSpPr>
          <p:cNvPr id="21"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9060101010101" pitchFamily="2" charset="-122"/>
                <a:ea typeface="黑体" panose="02010609060101010101" pitchFamily="2" charset="-122"/>
              </a:rPr>
              <a:t>01.</a:t>
            </a:r>
            <a:endParaRPr lang="zh-CN" altLang="en-US" sz="11500" spc="300" dirty="0">
              <a:solidFill>
                <a:srgbClr val="0070C0"/>
              </a:solidFill>
              <a:latin typeface="黑体" panose="02010609060101010101" pitchFamily="2" charset="-122"/>
              <a:ea typeface="黑体" panose="02010609060101010101" pitchFamily="2" charset="-122"/>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airplan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3"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21"/>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21"/>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19"/>
                                        </p:tgtEl>
                                      </p:cBhvr>
                                    </p:animEffect>
                                    <p:animScale>
                                      <p:cBhvr>
                                        <p:cTn id="21" dur="250" autoRev="1" fill="hold"/>
                                        <p:tgtEl>
                                          <p:spTgt spid="19"/>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20"/>
                                        </p:tgtEl>
                                        <p:attrNameLst>
                                          <p:attrName>style.visibility</p:attrName>
                                        </p:attrNameLst>
                                      </p:cBhvr>
                                      <p:to>
                                        <p:strVal val="visible"/>
                                      </p:to>
                                    </p:set>
                                    <p:anim calcmode="lin" valueType="num">
                                      <p:cBhvr>
                                        <p:cTn id="25" dur="200" fill="hold"/>
                                        <p:tgtEl>
                                          <p:spTgt spid="20"/>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20"/>
                                        </p:tgtEl>
                                        <p:attrNameLst>
                                          <p:attrName>ppt_y</p:attrName>
                                        </p:attrNameLst>
                                      </p:cBhvr>
                                      <p:tavLst>
                                        <p:tav tm="0">
                                          <p:val>
                                            <p:strVal val="#ppt_y"/>
                                          </p:val>
                                        </p:tav>
                                        <p:tav tm="100000">
                                          <p:val>
                                            <p:strVal val="#ppt_y"/>
                                          </p:val>
                                        </p:tav>
                                      </p:tavLst>
                                    </p:anim>
                                    <p:anim calcmode="lin" valueType="num">
                                      <p:cBhvr>
                                        <p:cTn id="27" dur="200" fill="hold"/>
                                        <p:tgtEl>
                                          <p:spTgt spid="20"/>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20"/>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P spid="20" grpId="0"/>
      <p:bldP spid="21" grpId="0"/>
      <p:bldP spid="21" grpId="1"/>
      <p:bldP spid="21" grpId="3"/>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直接连接符 30"/>
          <p:cNvCxnSpPr>
            <a:stCxn id="23" idx="6"/>
          </p:cNvCxnSpPr>
          <p:nvPr/>
        </p:nvCxnSpPr>
        <p:spPr>
          <a:xfrm>
            <a:off x="2334175" y="2182237"/>
            <a:ext cx="569355" cy="0"/>
          </a:xfrm>
          <a:prstGeom prst="line">
            <a:avLst/>
          </a:prstGeom>
          <a:ln w="12700">
            <a:solidFill>
              <a:srgbClr val="00A4E3"/>
            </a:solidFill>
          </a:ln>
        </p:spPr>
        <p:style>
          <a:lnRef idx="1">
            <a:schemeClr val="accent1"/>
          </a:lnRef>
          <a:fillRef idx="0">
            <a:schemeClr val="accent1"/>
          </a:fillRef>
          <a:effectRef idx="0">
            <a:schemeClr val="accent1"/>
          </a:effectRef>
          <a:fontRef idx="minor">
            <a:schemeClr val="tx1"/>
          </a:fontRef>
        </p:style>
      </p:cxnSp>
      <p:cxnSp>
        <p:nvCxnSpPr>
          <p:cNvPr id="20" name="直接连接符 31"/>
          <p:cNvCxnSpPr/>
          <p:nvPr/>
        </p:nvCxnSpPr>
        <p:spPr>
          <a:xfrm>
            <a:off x="4209599" y="2182237"/>
            <a:ext cx="569355" cy="0"/>
          </a:xfrm>
          <a:prstGeom prst="line">
            <a:avLst/>
          </a:prstGeom>
          <a:ln w="12700">
            <a:solidFill>
              <a:srgbClr val="00A4E3"/>
            </a:solidFill>
          </a:ln>
        </p:spPr>
        <p:style>
          <a:lnRef idx="1">
            <a:schemeClr val="accent1"/>
          </a:lnRef>
          <a:fillRef idx="0">
            <a:schemeClr val="accent1"/>
          </a:fillRef>
          <a:effectRef idx="0">
            <a:schemeClr val="accent1"/>
          </a:effectRef>
          <a:fontRef idx="minor">
            <a:schemeClr val="tx1"/>
          </a:fontRef>
        </p:style>
      </p:cxnSp>
      <p:cxnSp>
        <p:nvCxnSpPr>
          <p:cNvPr id="21" name="直接连接符 34"/>
          <p:cNvCxnSpPr/>
          <p:nvPr/>
        </p:nvCxnSpPr>
        <p:spPr>
          <a:xfrm>
            <a:off x="6091385" y="2162162"/>
            <a:ext cx="569355" cy="0"/>
          </a:xfrm>
          <a:prstGeom prst="line">
            <a:avLst/>
          </a:prstGeom>
          <a:ln w="12700">
            <a:solidFill>
              <a:srgbClr val="00A4E3"/>
            </a:solidFill>
          </a:ln>
        </p:spPr>
        <p:style>
          <a:lnRef idx="1">
            <a:schemeClr val="accent1"/>
          </a:lnRef>
          <a:fillRef idx="0">
            <a:schemeClr val="accent1"/>
          </a:fillRef>
          <a:effectRef idx="0">
            <a:schemeClr val="accent1"/>
          </a:effectRef>
          <a:fontRef idx="minor">
            <a:schemeClr val="tx1"/>
          </a:fontRef>
        </p:style>
      </p:cxnSp>
      <p:grpSp>
        <p:nvGrpSpPr>
          <p:cNvPr id="22" name="Group 117"/>
          <p:cNvGrpSpPr/>
          <p:nvPr/>
        </p:nvGrpSpPr>
        <p:grpSpPr>
          <a:xfrm>
            <a:off x="1028106" y="1532147"/>
            <a:ext cx="1306068" cy="1300182"/>
            <a:chOff x="1043505" y="1563250"/>
            <a:chExt cx="1327145" cy="1327145"/>
          </a:xfrm>
          <a:solidFill>
            <a:srgbClr val="00AEEF"/>
          </a:solidFill>
        </p:grpSpPr>
        <p:sp>
          <p:nvSpPr>
            <p:cNvPr id="23" name="椭圆 27"/>
            <p:cNvSpPr/>
            <p:nvPr/>
          </p:nvSpPr>
          <p:spPr>
            <a:xfrm>
              <a:off x="1043505" y="1563250"/>
              <a:ext cx="1327145" cy="132714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24" name="椭圆 23"/>
            <p:cNvSpPr/>
            <p:nvPr/>
          </p:nvSpPr>
          <p:spPr>
            <a:xfrm>
              <a:off x="1086733" y="1605928"/>
              <a:ext cx="1250876" cy="125087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25" name="文本框 43"/>
            <p:cNvSpPr txBox="1"/>
            <p:nvPr/>
          </p:nvSpPr>
          <p:spPr>
            <a:xfrm>
              <a:off x="1300536" y="2114416"/>
              <a:ext cx="813084" cy="471214"/>
            </a:xfrm>
            <a:prstGeom prst="rect">
              <a:avLst/>
            </a:prstGeom>
            <a:grpFill/>
            <a:ln>
              <a:noFill/>
            </a:ln>
          </p:spPr>
          <p:txBody>
            <a:bodyPr wrap="none" lIns="91416" tIns="45708" rIns="91416" bIns="45708" rtlCol="0">
              <a:spAutoFit/>
            </a:bodyPr>
            <a:lstStyle/>
            <a:p>
              <a:pPr algn="ctr"/>
              <a:r>
                <a:rPr lang="en-US" altLang="zh-CN" sz="2400" dirty="0">
                  <a:solidFill>
                    <a:schemeClr val="bg1"/>
                  </a:solidFill>
                  <a:latin typeface="+mn-ea"/>
                </a:rPr>
                <a:t>2015</a:t>
              </a:r>
              <a:endParaRPr lang="zh-CN" altLang="en-US" sz="2400" dirty="0">
                <a:solidFill>
                  <a:schemeClr val="bg1"/>
                </a:solidFill>
                <a:latin typeface="+mn-ea"/>
              </a:endParaRPr>
            </a:p>
          </p:txBody>
        </p:sp>
      </p:grpSp>
      <p:grpSp>
        <p:nvGrpSpPr>
          <p:cNvPr id="26" name="Group 121"/>
          <p:cNvGrpSpPr/>
          <p:nvPr/>
        </p:nvGrpSpPr>
        <p:grpSpPr>
          <a:xfrm>
            <a:off x="2946234" y="1569506"/>
            <a:ext cx="1231010" cy="1225463"/>
            <a:chOff x="2992587" y="1601383"/>
            <a:chExt cx="1250876" cy="1250876"/>
          </a:xfrm>
        </p:grpSpPr>
        <p:sp>
          <p:nvSpPr>
            <p:cNvPr id="30" name="椭圆 35"/>
            <p:cNvSpPr/>
            <p:nvPr/>
          </p:nvSpPr>
          <p:spPr>
            <a:xfrm>
              <a:off x="2992587" y="1601383"/>
              <a:ext cx="1250876" cy="1250876"/>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28" name="文本框 39"/>
            <p:cNvSpPr txBox="1"/>
            <p:nvPr/>
          </p:nvSpPr>
          <p:spPr>
            <a:xfrm>
              <a:off x="3206224" y="2111444"/>
              <a:ext cx="813084" cy="471214"/>
            </a:xfrm>
            <a:prstGeom prst="rect">
              <a:avLst/>
            </a:prstGeom>
            <a:noFill/>
          </p:spPr>
          <p:txBody>
            <a:bodyPr wrap="none" lIns="91416" tIns="45708" rIns="91416" bIns="45708" rtlCol="0">
              <a:spAutoFit/>
            </a:bodyPr>
            <a:lstStyle/>
            <a:p>
              <a:pPr algn="ctr"/>
              <a:r>
                <a:rPr lang="en-US" altLang="zh-CN" sz="2400" dirty="0">
                  <a:solidFill>
                    <a:schemeClr val="bg1"/>
                  </a:solidFill>
                  <a:latin typeface="+mn-ea"/>
                </a:rPr>
                <a:t>2016</a:t>
              </a:r>
              <a:endParaRPr lang="zh-CN" altLang="en-US" sz="2400" dirty="0">
                <a:solidFill>
                  <a:schemeClr val="bg1"/>
                </a:solidFill>
                <a:latin typeface="+mn-ea"/>
              </a:endParaRPr>
            </a:p>
          </p:txBody>
        </p:sp>
      </p:grpSp>
      <p:grpSp>
        <p:nvGrpSpPr>
          <p:cNvPr id="31" name="Group 119"/>
          <p:cNvGrpSpPr/>
          <p:nvPr/>
        </p:nvGrpSpPr>
        <p:grpSpPr>
          <a:xfrm>
            <a:off x="4824351" y="1569506"/>
            <a:ext cx="1231010" cy="1225463"/>
            <a:chOff x="4901013" y="1601383"/>
            <a:chExt cx="1250876" cy="1250876"/>
          </a:xfrm>
        </p:grpSpPr>
        <p:sp>
          <p:nvSpPr>
            <p:cNvPr id="33" name="椭圆 36"/>
            <p:cNvSpPr/>
            <p:nvPr/>
          </p:nvSpPr>
          <p:spPr>
            <a:xfrm>
              <a:off x="4901013" y="1601383"/>
              <a:ext cx="1250876" cy="1250876"/>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34" name="文本框 40"/>
            <p:cNvSpPr txBox="1"/>
            <p:nvPr/>
          </p:nvSpPr>
          <p:spPr>
            <a:xfrm>
              <a:off x="5111913" y="2111444"/>
              <a:ext cx="813084" cy="471214"/>
            </a:xfrm>
            <a:prstGeom prst="rect">
              <a:avLst/>
            </a:prstGeom>
            <a:solidFill>
              <a:srgbClr val="00AEEF"/>
            </a:solidFill>
            <a:ln>
              <a:noFill/>
            </a:ln>
          </p:spPr>
          <p:txBody>
            <a:bodyPr wrap="none" lIns="91416" tIns="45708" rIns="91416" bIns="45708" rtlCol="0">
              <a:spAutoFit/>
            </a:bodyPr>
            <a:lstStyle/>
            <a:p>
              <a:pPr algn="ctr"/>
              <a:r>
                <a:rPr lang="en-US" altLang="zh-CN" sz="2400" dirty="0">
                  <a:solidFill>
                    <a:schemeClr val="bg1"/>
                  </a:solidFill>
                  <a:latin typeface="+mn-ea"/>
                </a:rPr>
                <a:t>2017</a:t>
              </a:r>
              <a:endParaRPr lang="zh-CN" altLang="en-US" sz="2400" dirty="0">
                <a:solidFill>
                  <a:schemeClr val="bg1"/>
                </a:solidFill>
                <a:latin typeface="+mn-ea"/>
              </a:endParaRPr>
            </a:p>
          </p:txBody>
        </p:sp>
      </p:grpSp>
      <p:grpSp>
        <p:nvGrpSpPr>
          <p:cNvPr id="35" name="Group 120"/>
          <p:cNvGrpSpPr/>
          <p:nvPr/>
        </p:nvGrpSpPr>
        <p:grpSpPr>
          <a:xfrm>
            <a:off x="6691785" y="1569506"/>
            <a:ext cx="1231010" cy="1225463"/>
            <a:chOff x="6798582" y="1601383"/>
            <a:chExt cx="1250876" cy="1250876"/>
          </a:xfrm>
        </p:grpSpPr>
        <p:sp>
          <p:nvSpPr>
            <p:cNvPr id="37" name="椭圆 37"/>
            <p:cNvSpPr/>
            <p:nvPr/>
          </p:nvSpPr>
          <p:spPr>
            <a:xfrm>
              <a:off x="6798582" y="1601383"/>
              <a:ext cx="1250876" cy="1250876"/>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sz="2400">
                <a:latin typeface="+mn-ea"/>
              </a:endParaRPr>
            </a:p>
          </p:txBody>
        </p:sp>
        <p:sp>
          <p:nvSpPr>
            <p:cNvPr id="38" name="文本框 41"/>
            <p:cNvSpPr txBox="1"/>
            <p:nvPr/>
          </p:nvSpPr>
          <p:spPr>
            <a:xfrm>
              <a:off x="7017601" y="2111444"/>
              <a:ext cx="813084" cy="471214"/>
            </a:xfrm>
            <a:prstGeom prst="rect">
              <a:avLst/>
            </a:prstGeom>
            <a:noFill/>
          </p:spPr>
          <p:txBody>
            <a:bodyPr wrap="none" lIns="91416" tIns="45708" rIns="91416" bIns="45708" rtlCol="0">
              <a:spAutoFit/>
            </a:bodyPr>
            <a:lstStyle/>
            <a:p>
              <a:pPr algn="ctr"/>
              <a:r>
                <a:rPr lang="en-US" altLang="zh-CN" sz="2400" dirty="0">
                  <a:solidFill>
                    <a:schemeClr val="bg1"/>
                  </a:solidFill>
                  <a:latin typeface="+mn-ea"/>
                </a:rPr>
                <a:t>2018</a:t>
              </a:r>
              <a:endParaRPr lang="zh-CN" altLang="en-US" sz="2400" dirty="0">
                <a:solidFill>
                  <a:schemeClr val="bg1"/>
                </a:solidFill>
                <a:latin typeface="+mn-ea"/>
              </a:endParaRPr>
            </a:p>
          </p:txBody>
        </p:sp>
      </p:grpSp>
      <p:grpSp>
        <p:nvGrpSpPr>
          <p:cNvPr id="39" name="组合 41"/>
          <p:cNvGrpSpPr/>
          <p:nvPr/>
        </p:nvGrpSpPr>
        <p:grpSpPr>
          <a:xfrm>
            <a:off x="1514715" y="1787186"/>
            <a:ext cx="360269" cy="295621"/>
            <a:chOff x="5146681" y="766764"/>
            <a:chExt cx="1590670" cy="1338261"/>
          </a:xfrm>
          <a:solidFill>
            <a:schemeClr val="bg1"/>
          </a:solidFill>
        </p:grpSpPr>
        <p:sp>
          <p:nvSpPr>
            <p:cNvPr id="40" name="Oval 18"/>
            <p:cNvSpPr>
              <a:spLocks noChangeArrowheads="1"/>
            </p:cNvSpPr>
            <p:nvPr/>
          </p:nvSpPr>
          <p:spPr bwMode="auto">
            <a:xfrm>
              <a:off x="5675320" y="766764"/>
              <a:ext cx="533401" cy="53498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1" name="Freeform 19"/>
            <p:cNvSpPr/>
            <p:nvPr/>
          </p:nvSpPr>
          <p:spPr bwMode="auto">
            <a:xfrm>
              <a:off x="5511805" y="1344614"/>
              <a:ext cx="860427" cy="760411"/>
            </a:xfrm>
            <a:custGeom>
              <a:avLst/>
              <a:gdLst>
                <a:gd name="T0" fmla="*/ 201 w 301"/>
                <a:gd name="T1" fmla="*/ 0 h 266"/>
                <a:gd name="T2" fmla="*/ 151 w 301"/>
                <a:gd name="T3" fmla="*/ 67 h 266"/>
                <a:gd name="T4" fmla="*/ 101 w 301"/>
                <a:gd name="T5" fmla="*/ 0 h 266"/>
                <a:gd name="T6" fmla="*/ 0 w 301"/>
                <a:gd name="T7" fmla="*/ 144 h 266"/>
                <a:gd name="T8" fmla="*/ 0 w 301"/>
                <a:gd name="T9" fmla="*/ 235 h 266"/>
                <a:gd name="T10" fmla="*/ 0 w 301"/>
                <a:gd name="T11" fmla="*/ 235 h 266"/>
                <a:gd name="T12" fmla="*/ 151 w 301"/>
                <a:gd name="T13" fmla="*/ 266 h 266"/>
                <a:gd name="T14" fmla="*/ 301 w 301"/>
                <a:gd name="T15" fmla="*/ 235 h 266"/>
                <a:gd name="T16" fmla="*/ 301 w 301"/>
                <a:gd name="T17" fmla="*/ 235 h 266"/>
                <a:gd name="T18" fmla="*/ 301 w 301"/>
                <a:gd name="T19" fmla="*/ 144 h 266"/>
                <a:gd name="T20" fmla="*/ 201 w 301"/>
                <a:gd name="T21"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1" h="266">
                  <a:moveTo>
                    <a:pt x="201" y="0"/>
                  </a:moveTo>
                  <a:cubicBezTo>
                    <a:pt x="151" y="67"/>
                    <a:pt x="151" y="67"/>
                    <a:pt x="151" y="67"/>
                  </a:cubicBezTo>
                  <a:cubicBezTo>
                    <a:pt x="101" y="0"/>
                    <a:pt x="101" y="0"/>
                    <a:pt x="101" y="0"/>
                  </a:cubicBezTo>
                  <a:cubicBezTo>
                    <a:pt x="42" y="21"/>
                    <a:pt x="0" y="78"/>
                    <a:pt x="0" y="144"/>
                  </a:cubicBezTo>
                  <a:cubicBezTo>
                    <a:pt x="0" y="235"/>
                    <a:pt x="0" y="235"/>
                    <a:pt x="0" y="235"/>
                  </a:cubicBezTo>
                  <a:cubicBezTo>
                    <a:pt x="0" y="235"/>
                    <a:pt x="0" y="235"/>
                    <a:pt x="0" y="235"/>
                  </a:cubicBezTo>
                  <a:cubicBezTo>
                    <a:pt x="3" y="252"/>
                    <a:pt x="69" y="266"/>
                    <a:pt x="151" y="266"/>
                  </a:cubicBezTo>
                  <a:cubicBezTo>
                    <a:pt x="232" y="266"/>
                    <a:pt x="298" y="252"/>
                    <a:pt x="301" y="235"/>
                  </a:cubicBezTo>
                  <a:cubicBezTo>
                    <a:pt x="301" y="235"/>
                    <a:pt x="301" y="235"/>
                    <a:pt x="301" y="235"/>
                  </a:cubicBezTo>
                  <a:cubicBezTo>
                    <a:pt x="301" y="144"/>
                    <a:pt x="301" y="144"/>
                    <a:pt x="301" y="144"/>
                  </a:cubicBezTo>
                  <a:cubicBezTo>
                    <a:pt x="301" y="78"/>
                    <a:pt x="259" y="21"/>
                    <a:pt x="20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2" name="Freeform 20"/>
            <p:cNvSpPr/>
            <p:nvPr/>
          </p:nvSpPr>
          <p:spPr bwMode="auto">
            <a:xfrm>
              <a:off x="5900744" y="1319215"/>
              <a:ext cx="85725" cy="50798"/>
            </a:xfrm>
            <a:custGeom>
              <a:avLst/>
              <a:gdLst>
                <a:gd name="T0" fmla="*/ 30 w 30"/>
                <a:gd name="T1" fmla="*/ 1 h 18"/>
                <a:gd name="T2" fmla="*/ 15 w 30"/>
                <a:gd name="T3" fmla="*/ 0 h 18"/>
                <a:gd name="T4" fmla="*/ 1 w 30"/>
                <a:gd name="T5" fmla="*/ 1 h 18"/>
                <a:gd name="T6" fmla="*/ 7 w 30"/>
                <a:gd name="T7" fmla="*/ 18 h 18"/>
                <a:gd name="T8" fmla="*/ 24 w 30"/>
                <a:gd name="T9" fmla="*/ 18 h 18"/>
                <a:gd name="T10" fmla="*/ 30 w 30"/>
                <a:gd name="T11" fmla="*/ 1 h 18"/>
              </a:gdLst>
              <a:ahLst/>
              <a:cxnLst>
                <a:cxn ang="0">
                  <a:pos x="T0" y="T1"/>
                </a:cxn>
                <a:cxn ang="0">
                  <a:pos x="T2" y="T3"/>
                </a:cxn>
                <a:cxn ang="0">
                  <a:pos x="T4" y="T5"/>
                </a:cxn>
                <a:cxn ang="0">
                  <a:pos x="T6" y="T7"/>
                </a:cxn>
                <a:cxn ang="0">
                  <a:pos x="T8" y="T9"/>
                </a:cxn>
                <a:cxn ang="0">
                  <a:pos x="T10" y="T11"/>
                </a:cxn>
              </a:cxnLst>
              <a:rect l="0" t="0" r="r" b="b"/>
              <a:pathLst>
                <a:path w="30" h="18">
                  <a:moveTo>
                    <a:pt x="30" y="1"/>
                  </a:moveTo>
                  <a:cubicBezTo>
                    <a:pt x="25" y="0"/>
                    <a:pt x="20" y="0"/>
                    <a:pt x="15" y="0"/>
                  </a:cubicBezTo>
                  <a:cubicBezTo>
                    <a:pt x="10" y="0"/>
                    <a:pt x="6" y="0"/>
                    <a:pt x="1" y="1"/>
                  </a:cubicBezTo>
                  <a:cubicBezTo>
                    <a:pt x="1" y="1"/>
                    <a:pt x="0" y="11"/>
                    <a:pt x="7" y="18"/>
                  </a:cubicBezTo>
                  <a:cubicBezTo>
                    <a:pt x="7" y="18"/>
                    <a:pt x="18" y="18"/>
                    <a:pt x="24" y="18"/>
                  </a:cubicBezTo>
                  <a:cubicBezTo>
                    <a:pt x="24" y="18"/>
                    <a:pt x="30" y="12"/>
                    <a:pt x="30"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3" name="Freeform 21"/>
            <p:cNvSpPr/>
            <p:nvPr/>
          </p:nvSpPr>
          <p:spPr bwMode="auto">
            <a:xfrm>
              <a:off x="5894396" y="1377952"/>
              <a:ext cx="95249" cy="130175"/>
            </a:xfrm>
            <a:custGeom>
              <a:avLst/>
              <a:gdLst>
                <a:gd name="T0" fmla="*/ 15 w 60"/>
                <a:gd name="T1" fmla="*/ 0 h 82"/>
                <a:gd name="T2" fmla="*/ 47 w 60"/>
                <a:gd name="T3" fmla="*/ 0 h 82"/>
                <a:gd name="T4" fmla="*/ 60 w 60"/>
                <a:gd name="T5" fmla="*/ 47 h 82"/>
                <a:gd name="T6" fmla="*/ 31 w 60"/>
                <a:gd name="T7" fmla="*/ 82 h 82"/>
                <a:gd name="T8" fmla="*/ 0 w 60"/>
                <a:gd name="T9" fmla="*/ 47 h 82"/>
                <a:gd name="T10" fmla="*/ 15 w 60"/>
                <a:gd name="T11" fmla="*/ 0 h 82"/>
              </a:gdLst>
              <a:ahLst/>
              <a:cxnLst>
                <a:cxn ang="0">
                  <a:pos x="T0" y="T1"/>
                </a:cxn>
                <a:cxn ang="0">
                  <a:pos x="T2" y="T3"/>
                </a:cxn>
                <a:cxn ang="0">
                  <a:pos x="T4" y="T5"/>
                </a:cxn>
                <a:cxn ang="0">
                  <a:pos x="T6" y="T7"/>
                </a:cxn>
                <a:cxn ang="0">
                  <a:pos x="T8" y="T9"/>
                </a:cxn>
                <a:cxn ang="0">
                  <a:pos x="T10" y="T11"/>
                </a:cxn>
              </a:cxnLst>
              <a:rect l="0" t="0" r="r" b="b"/>
              <a:pathLst>
                <a:path w="60" h="82">
                  <a:moveTo>
                    <a:pt x="15" y="0"/>
                  </a:moveTo>
                  <a:lnTo>
                    <a:pt x="47" y="0"/>
                  </a:lnTo>
                  <a:lnTo>
                    <a:pt x="60" y="47"/>
                  </a:lnTo>
                  <a:lnTo>
                    <a:pt x="31" y="82"/>
                  </a:lnTo>
                  <a:lnTo>
                    <a:pt x="0" y="47"/>
                  </a:lnTo>
                  <a:lnTo>
                    <a:pt x="1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4" name="Freeform 22"/>
            <p:cNvSpPr/>
            <p:nvPr/>
          </p:nvSpPr>
          <p:spPr bwMode="auto">
            <a:xfrm>
              <a:off x="5432433" y="1427162"/>
              <a:ext cx="71438" cy="96838"/>
            </a:xfrm>
            <a:custGeom>
              <a:avLst/>
              <a:gdLst>
                <a:gd name="T0" fmla="*/ 23 w 45"/>
                <a:gd name="T1" fmla="*/ 61 h 61"/>
                <a:gd name="T2" fmla="*/ 45 w 45"/>
                <a:gd name="T3" fmla="*/ 34 h 61"/>
                <a:gd name="T4" fmla="*/ 34 w 45"/>
                <a:gd name="T5" fmla="*/ 0 h 61"/>
                <a:gd name="T6" fmla="*/ 11 w 45"/>
                <a:gd name="T7" fmla="*/ 0 h 61"/>
                <a:gd name="T8" fmla="*/ 0 w 45"/>
                <a:gd name="T9" fmla="*/ 34 h 61"/>
                <a:gd name="T10" fmla="*/ 23 w 45"/>
                <a:gd name="T11" fmla="*/ 61 h 61"/>
              </a:gdLst>
              <a:ahLst/>
              <a:cxnLst>
                <a:cxn ang="0">
                  <a:pos x="T0" y="T1"/>
                </a:cxn>
                <a:cxn ang="0">
                  <a:pos x="T2" y="T3"/>
                </a:cxn>
                <a:cxn ang="0">
                  <a:pos x="T4" y="T5"/>
                </a:cxn>
                <a:cxn ang="0">
                  <a:pos x="T6" y="T7"/>
                </a:cxn>
                <a:cxn ang="0">
                  <a:pos x="T8" y="T9"/>
                </a:cxn>
                <a:cxn ang="0">
                  <a:pos x="T10" y="T11"/>
                </a:cxn>
              </a:cxnLst>
              <a:rect l="0" t="0" r="r" b="b"/>
              <a:pathLst>
                <a:path w="45" h="61">
                  <a:moveTo>
                    <a:pt x="23" y="61"/>
                  </a:moveTo>
                  <a:lnTo>
                    <a:pt x="45" y="34"/>
                  </a:lnTo>
                  <a:lnTo>
                    <a:pt x="34" y="0"/>
                  </a:lnTo>
                  <a:lnTo>
                    <a:pt x="11" y="0"/>
                  </a:lnTo>
                  <a:lnTo>
                    <a:pt x="0" y="34"/>
                  </a:lnTo>
                  <a:lnTo>
                    <a:pt x="23"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5" name="Freeform 23"/>
            <p:cNvSpPr/>
            <p:nvPr/>
          </p:nvSpPr>
          <p:spPr bwMode="auto">
            <a:xfrm>
              <a:off x="5146681" y="1401763"/>
              <a:ext cx="465139" cy="568324"/>
            </a:xfrm>
            <a:custGeom>
              <a:avLst/>
              <a:gdLst>
                <a:gd name="T0" fmla="*/ 150 w 163"/>
                <a:gd name="T1" fmla="*/ 0 h 199"/>
                <a:gd name="T2" fmla="*/ 113 w 163"/>
                <a:gd name="T3" fmla="*/ 50 h 199"/>
                <a:gd name="T4" fmla="*/ 75 w 163"/>
                <a:gd name="T5" fmla="*/ 0 h 199"/>
                <a:gd name="T6" fmla="*/ 0 w 163"/>
                <a:gd name="T7" fmla="*/ 108 h 199"/>
                <a:gd name="T8" fmla="*/ 0 w 163"/>
                <a:gd name="T9" fmla="*/ 176 h 199"/>
                <a:gd name="T10" fmla="*/ 0 w 163"/>
                <a:gd name="T11" fmla="*/ 176 h 199"/>
                <a:gd name="T12" fmla="*/ 113 w 163"/>
                <a:gd name="T13" fmla="*/ 199 h 199"/>
                <a:gd name="T14" fmla="*/ 114 w 163"/>
                <a:gd name="T15" fmla="*/ 199 h 199"/>
                <a:gd name="T16" fmla="*/ 114 w 163"/>
                <a:gd name="T17" fmla="*/ 124 h 199"/>
                <a:gd name="T18" fmla="*/ 163 w 163"/>
                <a:gd name="T19" fmla="*/ 6 h 199"/>
                <a:gd name="T20" fmla="*/ 150 w 16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99">
                  <a:moveTo>
                    <a:pt x="150" y="0"/>
                  </a:moveTo>
                  <a:cubicBezTo>
                    <a:pt x="113" y="50"/>
                    <a:pt x="113" y="50"/>
                    <a:pt x="113" y="50"/>
                  </a:cubicBezTo>
                  <a:cubicBezTo>
                    <a:pt x="75" y="0"/>
                    <a:pt x="75" y="0"/>
                    <a:pt x="75" y="0"/>
                  </a:cubicBezTo>
                  <a:cubicBezTo>
                    <a:pt x="31" y="16"/>
                    <a:pt x="0" y="58"/>
                    <a:pt x="0" y="108"/>
                  </a:cubicBezTo>
                  <a:cubicBezTo>
                    <a:pt x="0" y="176"/>
                    <a:pt x="0" y="176"/>
                    <a:pt x="0" y="176"/>
                  </a:cubicBezTo>
                  <a:cubicBezTo>
                    <a:pt x="0" y="176"/>
                    <a:pt x="0" y="176"/>
                    <a:pt x="0" y="176"/>
                  </a:cubicBezTo>
                  <a:cubicBezTo>
                    <a:pt x="2" y="189"/>
                    <a:pt x="52" y="199"/>
                    <a:pt x="113" y="199"/>
                  </a:cubicBezTo>
                  <a:cubicBezTo>
                    <a:pt x="113" y="199"/>
                    <a:pt x="114" y="199"/>
                    <a:pt x="114" y="199"/>
                  </a:cubicBezTo>
                  <a:cubicBezTo>
                    <a:pt x="114" y="124"/>
                    <a:pt x="114" y="124"/>
                    <a:pt x="114" y="124"/>
                  </a:cubicBezTo>
                  <a:cubicBezTo>
                    <a:pt x="114" y="78"/>
                    <a:pt x="133" y="36"/>
                    <a:pt x="163" y="6"/>
                  </a:cubicBezTo>
                  <a:cubicBezTo>
                    <a:pt x="159" y="3"/>
                    <a:pt x="155" y="2"/>
                    <a:pt x="15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6" name="Freeform 24"/>
            <p:cNvSpPr/>
            <p:nvPr/>
          </p:nvSpPr>
          <p:spPr bwMode="auto">
            <a:xfrm>
              <a:off x="5438781" y="1381127"/>
              <a:ext cx="61913" cy="41276"/>
            </a:xfrm>
            <a:custGeom>
              <a:avLst/>
              <a:gdLst>
                <a:gd name="T0" fmla="*/ 18 w 22"/>
                <a:gd name="T1" fmla="*/ 14 h 14"/>
                <a:gd name="T2" fmla="*/ 22 w 22"/>
                <a:gd name="T3" fmla="*/ 1 h 14"/>
                <a:gd name="T4" fmla="*/ 11 w 22"/>
                <a:gd name="T5" fmla="*/ 0 h 14"/>
                <a:gd name="T6" fmla="*/ 0 w 22"/>
                <a:gd name="T7" fmla="*/ 1 h 14"/>
                <a:gd name="T8" fmla="*/ 5 w 22"/>
                <a:gd name="T9" fmla="*/ 14 h 14"/>
                <a:gd name="T10" fmla="*/ 18 w 22"/>
                <a:gd name="T11" fmla="*/ 14 h 14"/>
              </a:gdLst>
              <a:ahLst/>
              <a:cxnLst>
                <a:cxn ang="0">
                  <a:pos x="T0" y="T1"/>
                </a:cxn>
                <a:cxn ang="0">
                  <a:pos x="T2" y="T3"/>
                </a:cxn>
                <a:cxn ang="0">
                  <a:pos x="T4" y="T5"/>
                </a:cxn>
                <a:cxn ang="0">
                  <a:pos x="T6" y="T7"/>
                </a:cxn>
                <a:cxn ang="0">
                  <a:pos x="T8" y="T9"/>
                </a:cxn>
                <a:cxn ang="0">
                  <a:pos x="T10" y="T11"/>
                </a:cxn>
              </a:cxnLst>
              <a:rect l="0" t="0" r="r" b="b"/>
              <a:pathLst>
                <a:path w="22" h="14">
                  <a:moveTo>
                    <a:pt x="18" y="14"/>
                  </a:moveTo>
                  <a:cubicBezTo>
                    <a:pt x="18" y="14"/>
                    <a:pt x="22" y="9"/>
                    <a:pt x="22" y="1"/>
                  </a:cubicBezTo>
                  <a:cubicBezTo>
                    <a:pt x="18" y="0"/>
                    <a:pt x="15" y="0"/>
                    <a:pt x="11" y="0"/>
                  </a:cubicBezTo>
                  <a:cubicBezTo>
                    <a:pt x="7" y="0"/>
                    <a:pt x="4" y="0"/>
                    <a:pt x="0" y="1"/>
                  </a:cubicBezTo>
                  <a:cubicBezTo>
                    <a:pt x="0" y="1"/>
                    <a:pt x="0" y="8"/>
                    <a:pt x="5" y="14"/>
                  </a:cubicBezTo>
                  <a:cubicBezTo>
                    <a:pt x="5" y="14"/>
                    <a:pt x="13" y="14"/>
                    <a:pt x="18"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7" name="Oval 25"/>
            <p:cNvSpPr>
              <a:spLocks noChangeArrowheads="1"/>
            </p:cNvSpPr>
            <p:nvPr/>
          </p:nvSpPr>
          <p:spPr bwMode="auto">
            <a:xfrm>
              <a:off x="5267332" y="966790"/>
              <a:ext cx="401640" cy="40322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8" name="Freeform 26"/>
            <p:cNvSpPr/>
            <p:nvPr/>
          </p:nvSpPr>
          <p:spPr bwMode="auto">
            <a:xfrm>
              <a:off x="6386523" y="1381127"/>
              <a:ext cx="61913" cy="41276"/>
            </a:xfrm>
            <a:custGeom>
              <a:avLst/>
              <a:gdLst>
                <a:gd name="T0" fmla="*/ 17 w 22"/>
                <a:gd name="T1" fmla="*/ 14 h 14"/>
                <a:gd name="T2" fmla="*/ 22 w 22"/>
                <a:gd name="T3" fmla="*/ 1 h 14"/>
                <a:gd name="T4" fmla="*/ 11 w 22"/>
                <a:gd name="T5" fmla="*/ 0 h 14"/>
                <a:gd name="T6" fmla="*/ 0 w 22"/>
                <a:gd name="T7" fmla="*/ 1 h 14"/>
                <a:gd name="T8" fmla="*/ 5 w 22"/>
                <a:gd name="T9" fmla="*/ 14 h 14"/>
                <a:gd name="T10" fmla="*/ 17 w 22"/>
                <a:gd name="T11" fmla="*/ 14 h 14"/>
              </a:gdLst>
              <a:ahLst/>
              <a:cxnLst>
                <a:cxn ang="0">
                  <a:pos x="T0" y="T1"/>
                </a:cxn>
                <a:cxn ang="0">
                  <a:pos x="T2" y="T3"/>
                </a:cxn>
                <a:cxn ang="0">
                  <a:pos x="T4" y="T5"/>
                </a:cxn>
                <a:cxn ang="0">
                  <a:pos x="T6" y="T7"/>
                </a:cxn>
                <a:cxn ang="0">
                  <a:pos x="T8" y="T9"/>
                </a:cxn>
                <a:cxn ang="0">
                  <a:pos x="T10" y="T11"/>
                </a:cxn>
              </a:cxnLst>
              <a:rect l="0" t="0" r="r" b="b"/>
              <a:pathLst>
                <a:path w="22" h="14">
                  <a:moveTo>
                    <a:pt x="17" y="14"/>
                  </a:moveTo>
                  <a:cubicBezTo>
                    <a:pt x="17" y="14"/>
                    <a:pt x="22" y="9"/>
                    <a:pt x="22" y="1"/>
                  </a:cubicBezTo>
                  <a:cubicBezTo>
                    <a:pt x="18" y="0"/>
                    <a:pt x="15" y="0"/>
                    <a:pt x="11" y="0"/>
                  </a:cubicBezTo>
                  <a:cubicBezTo>
                    <a:pt x="7" y="0"/>
                    <a:pt x="4" y="0"/>
                    <a:pt x="0" y="1"/>
                  </a:cubicBezTo>
                  <a:cubicBezTo>
                    <a:pt x="0" y="1"/>
                    <a:pt x="0" y="8"/>
                    <a:pt x="5" y="14"/>
                  </a:cubicBezTo>
                  <a:cubicBezTo>
                    <a:pt x="5" y="14"/>
                    <a:pt x="13" y="14"/>
                    <a:pt x="17" y="1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49" name="Freeform 27"/>
            <p:cNvSpPr/>
            <p:nvPr/>
          </p:nvSpPr>
          <p:spPr bwMode="auto">
            <a:xfrm>
              <a:off x="6380170" y="1427162"/>
              <a:ext cx="71438" cy="96838"/>
            </a:xfrm>
            <a:custGeom>
              <a:avLst/>
              <a:gdLst>
                <a:gd name="T0" fmla="*/ 24 w 45"/>
                <a:gd name="T1" fmla="*/ 61 h 61"/>
                <a:gd name="T2" fmla="*/ 45 w 45"/>
                <a:gd name="T3" fmla="*/ 34 h 61"/>
                <a:gd name="T4" fmla="*/ 34 w 45"/>
                <a:gd name="T5" fmla="*/ 0 h 61"/>
                <a:gd name="T6" fmla="*/ 11 w 45"/>
                <a:gd name="T7" fmla="*/ 0 h 61"/>
                <a:gd name="T8" fmla="*/ 0 w 45"/>
                <a:gd name="T9" fmla="*/ 34 h 61"/>
                <a:gd name="T10" fmla="*/ 24 w 45"/>
                <a:gd name="T11" fmla="*/ 61 h 61"/>
              </a:gdLst>
              <a:ahLst/>
              <a:cxnLst>
                <a:cxn ang="0">
                  <a:pos x="T0" y="T1"/>
                </a:cxn>
                <a:cxn ang="0">
                  <a:pos x="T2" y="T3"/>
                </a:cxn>
                <a:cxn ang="0">
                  <a:pos x="T4" y="T5"/>
                </a:cxn>
                <a:cxn ang="0">
                  <a:pos x="T6" y="T7"/>
                </a:cxn>
                <a:cxn ang="0">
                  <a:pos x="T8" y="T9"/>
                </a:cxn>
                <a:cxn ang="0">
                  <a:pos x="T10" y="T11"/>
                </a:cxn>
              </a:cxnLst>
              <a:rect l="0" t="0" r="r" b="b"/>
              <a:pathLst>
                <a:path w="45" h="61">
                  <a:moveTo>
                    <a:pt x="24" y="61"/>
                  </a:moveTo>
                  <a:lnTo>
                    <a:pt x="45" y="34"/>
                  </a:lnTo>
                  <a:lnTo>
                    <a:pt x="34" y="0"/>
                  </a:lnTo>
                  <a:lnTo>
                    <a:pt x="11" y="0"/>
                  </a:lnTo>
                  <a:lnTo>
                    <a:pt x="0" y="34"/>
                  </a:lnTo>
                  <a:lnTo>
                    <a:pt x="24"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50" name="Oval 28"/>
            <p:cNvSpPr>
              <a:spLocks noChangeArrowheads="1"/>
            </p:cNvSpPr>
            <p:nvPr/>
          </p:nvSpPr>
          <p:spPr bwMode="auto">
            <a:xfrm>
              <a:off x="6215065" y="966790"/>
              <a:ext cx="403226" cy="40322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51" name="Freeform 29"/>
            <p:cNvSpPr/>
            <p:nvPr/>
          </p:nvSpPr>
          <p:spPr bwMode="auto">
            <a:xfrm>
              <a:off x="6272212" y="1401763"/>
              <a:ext cx="465139" cy="568324"/>
            </a:xfrm>
            <a:custGeom>
              <a:avLst/>
              <a:gdLst>
                <a:gd name="T0" fmla="*/ 88 w 163"/>
                <a:gd name="T1" fmla="*/ 0 h 199"/>
                <a:gd name="T2" fmla="*/ 51 w 163"/>
                <a:gd name="T3" fmla="*/ 50 h 199"/>
                <a:gd name="T4" fmla="*/ 13 w 163"/>
                <a:gd name="T5" fmla="*/ 0 h 199"/>
                <a:gd name="T6" fmla="*/ 0 w 163"/>
                <a:gd name="T7" fmla="*/ 6 h 199"/>
                <a:gd name="T8" fmla="*/ 49 w 163"/>
                <a:gd name="T9" fmla="*/ 124 h 199"/>
                <a:gd name="T10" fmla="*/ 49 w 163"/>
                <a:gd name="T11" fmla="*/ 199 h 199"/>
                <a:gd name="T12" fmla="*/ 51 w 163"/>
                <a:gd name="T13" fmla="*/ 199 h 199"/>
                <a:gd name="T14" fmla="*/ 163 w 163"/>
                <a:gd name="T15" fmla="*/ 176 h 199"/>
                <a:gd name="T16" fmla="*/ 163 w 163"/>
                <a:gd name="T17" fmla="*/ 176 h 199"/>
                <a:gd name="T18" fmla="*/ 163 w 163"/>
                <a:gd name="T19" fmla="*/ 108 h 199"/>
                <a:gd name="T20" fmla="*/ 88 w 16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199">
                  <a:moveTo>
                    <a:pt x="88" y="0"/>
                  </a:moveTo>
                  <a:cubicBezTo>
                    <a:pt x="51" y="50"/>
                    <a:pt x="51" y="50"/>
                    <a:pt x="51" y="50"/>
                  </a:cubicBezTo>
                  <a:cubicBezTo>
                    <a:pt x="13" y="0"/>
                    <a:pt x="13" y="0"/>
                    <a:pt x="13" y="0"/>
                  </a:cubicBezTo>
                  <a:cubicBezTo>
                    <a:pt x="9" y="2"/>
                    <a:pt x="4" y="3"/>
                    <a:pt x="0" y="6"/>
                  </a:cubicBezTo>
                  <a:cubicBezTo>
                    <a:pt x="30" y="36"/>
                    <a:pt x="49" y="78"/>
                    <a:pt x="49" y="124"/>
                  </a:cubicBezTo>
                  <a:cubicBezTo>
                    <a:pt x="49" y="199"/>
                    <a:pt x="49" y="199"/>
                    <a:pt x="49" y="199"/>
                  </a:cubicBezTo>
                  <a:cubicBezTo>
                    <a:pt x="50" y="199"/>
                    <a:pt x="50" y="199"/>
                    <a:pt x="51" y="199"/>
                  </a:cubicBezTo>
                  <a:cubicBezTo>
                    <a:pt x="112" y="199"/>
                    <a:pt x="161" y="189"/>
                    <a:pt x="163" y="176"/>
                  </a:cubicBezTo>
                  <a:cubicBezTo>
                    <a:pt x="163" y="176"/>
                    <a:pt x="163" y="176"/>
                    <a:pt x="163" y="176"/>
                  </a:cubicBezTo>
                  <a:cubicBezTo>
                    <a:pt x="163" y="108"/>
                    <a:pt x="163" y="108"/>
                    <a:pt x="163" y="108"/>
                  </a:cubicBezTo>
                  <a:cubicBezTo>
                    <a:pt x="163" y="58"/>
                    <a:pt x="132" y="16"/>
                    <a:pt x="88"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nvGrpSpPr>
          <p:cNvPr id="52" name="组合 55"/>
          <p:cNvGrpSpPr/>
          <p:nvPr/>
        </p:nvGrpSpPr>
        <p:grpSpPr>
          <a:xfrm>
            <a:off x="7181339" y="1753493"/>
            <a:ext cx="304540" cy="275633"/>
            <a:chOff x="5278438" y="2973388"/>
            <a:chExt cx="1344613" cy="1247775"/>
          </a:xfrm>
          <a:solidFill>
            <a:schemeClr val="bg1"/>
          </a:solidFill>
        </p:grpSpPr>
        <p:sp>
          <p:nvSpPr>
            <p:cNvPr id="53" name="Freeform 67"/>
            <p:cNvSpPr>
              <a:spLocks noEditPoints="1"/>
            </p:cNvSpPr>
            <p:nvPr/>
          </p:nvSpPr>
          <p:spPr bwMode="auto">
            <a:xfrm>
              <a:off x="5821363" y="2973388"/>
              <a:ext cx="801688" cy="806450"/>
            </a:xfrm>
            <a:custGeom>
              <a:avLst/>
              <a:gdLst>
                <a:gd name="T0" fmla="*/ 256 w 281"/>
                <a:gd name="T1" fmla="*/ 26 h 282"/>
                <a:gd name="T2" fmla="*/ 163 w 281"/>
                <a:gd name="T3" fmla="*/ 26 h 282"/>
                <a:gd name="T4" fmla="*/ 0 w 281"/>
                <a:gd name="T5" fmla="*/ 190 h 282"/>
                <a:gd name="T6" fmla="*/ 92 w 281"/>
                <a:gd name="T7" fmla="*/ 282 h 282"/>
                <a:gd name="T8" fmla="*/ 256 w 281"/>
                <a:gd name="T9" fmla="*/ 119 h 282"/>
                <a:gd name="T10" fmla="*/ 256 w 281"/>
                <a:gd name="T11" fmla="*/ 26 h 282"/>
                <a:gd name="T12" fmla="*/ 55 w 281"/>
                <a:gd name="T13" fmla="*/ 192 h 282"/>
                <a:gd name="T14" fmla="*/ 44 w 281"/>
                <a:gd name="T15" fmla="*/ 181 h 282"/>
                <a:gd name="T16" fmla="*/ 183 w 281"/>
                <a:gd name="T17" fmla="*/ 42 h 282"/>
                <a:gd name="T18" fmla="*/ 194 w 281"/>
                <a:gd name="T19" fmla="*/ 42 h 282"/>
                <a:gd name="T20" fmla="*/ 194 w 281"/>
                <a:gd name="T21" fmla="*/ 53 h 282"/>
                <a:gd name="T22" fmla="*/ 55 w 281"/>
                <a:gd name="T23" fmla="*/ 192 h 282"/>
                <a:gd name="T24" fmla="*/ 78 w 281"/>
                <a:gd name="T25" fmla="*/ 215 h 282"/>
                <a:gd name="T26" fmla="*/ 67 w 281"/>
                <a:gd name="T27" fmla="*/ 204 h 282"/>
                <a:gd name="T28" fmla="*/ 217 w 281"/>
                <a:gd name="T29" fmla="*/ 54 h 282"/>
                <a:gd name="T30" fmla="*/ 228 w 281"/>
                <a:gd name="T31" fmla="*/ 54 h 282"/>
                <a:gd name="T32" fmla="*/ 228 w 281"/>
                <a:gd name="T33" fmla="*/ 65 h 282"/>
                <a:gd name="T34" fmla="*/ 78 w 281"/>
                <a:gd name="T35" fmla="*/ 215 h 282"/>
                <a:gd name="T36" fmla="*/ 101 w 281"/>
                <a:gd name="T37" fmla="*/ 238 h 282"/>
                <a:gd name="T38" fmla="*/ 90 w 281"/>
                <a:gd name="T39" fmla="*/ 227 h 282"/>
                <a:gd name="T40" fmla="*/ 229 w 281"/>
                <a:gd name="T41" fmla="*/ 88 h 282"/>
                <a:gd name="T42" fmla="*/ 240 w 281"/>
                <a:gd name="T43" fmla="*/ 88 h 282"/>
                <a:gd name="T44" fmla="*/ 240 w 281"/>
                <a:gd name="T45" fmla="*/ 99 h 282"/>
                <a:gd name="T46" fmla="*/ 101 w 281"/>
                <a:gd name="T47" fmla="*/ 238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1" h="282">
                  <a:moveTo>
                    <a:pt x="256" y="26"/>
                  </a:moveTo>
                  <a:cubicBezTo>
                    <a:pt x="230" y="0"/>
                    <a:pt x="189" y="0"/>
                    <a:pt x="163" y="26"/>
                  </a:cubicBezTo>
                  <a:cubicBezTo>
                    <a:pt x="0" y="190"/>
                    <a:pt x="0" y="190"/>
                    <a:pt x="0" y="190"/>
                  </a:cubicBezTo>
                  <a:cubicBezTo>
                    <a:pt x="92" y="282"/>
                    <a:pt x="92" y="282"/>
                    <a:pt x="92" y="282"/>
                  </a:cubicBezTo>
                  <a:cubicBezTo>
                    <a:pt x="256" y="119"/>
                    <a:pt x="256" y="119"/>
                    <a:pt x="256" y="119"/>
                  </a:cubicBezTo>
                  <a:cubicBezTo>
                    <a:pt x="281" y="93"/>
                    <a:pt x="281" y="52"/>
                    <a:pt x="256" y="26"/>
                  </a:cubicBezTo>
                  <a:close/>
                  <a:moveTo>
                    <a:pt x="55" y="192"/>
                  </a:moveTo>
                  <a:cubicBezTo>
                    <a:pt x="44" y="181"/>
                    <a:pt x="44" y="181"/>
                    <a:pt x="44" y="181"/>
                  </a:cubicBezTo>
                  <a:cubicBezTo>
                    <a:pt x="183" y="42"/>
                    <a:pt x="183" y="42"/>
                    <a:pt x="183" y="42"/>
                  </a:cubicBezTo>
                  <a:cubicBezTo>
                    <a:pt x="186" y="39"/>
                    <a:pt x="191" y="39"/>
                    <a:pt x="194" y="42"/>
                  </a:cubicBezTo>
                  <a:cubicBezTo>
                    <a:pt x="197" y="45"/>
                    <a:pt x="197" y="50"/>
                    <a:pt x="194" y="53"/>
                  </a:cubicBezTo>
                  <a:lnTo>
                    <a:pt x="55" y="192"/>
                  </a:lnTo>
                  <a:close/>
                  <a:moveTo>
                    <a:pt x="78" y="215"/>
                  </a:moveTo>
                  <a:cubicBezTo>
                    <a:pt x="67" y="204"/>
                    <a:pt x="67" y="204"/>
                    <a:pt x="67" y="204"/>
                  </a:cubicBezTo>
                  <a:cubicBezTo>
                    <a:pt x="217" y="54"/>
                    <a:pt x="217" y="54"/>
                    <a:pt x="217" y="54"/>
                  </a:cubicBezTo>
                  <a:cubicBezTo>
                    <a:pt x="220" y="51"/>
                    <a:pt x="225" y="51"/>
                    <a:pt x="228" y="54"/>
                  </a:cubicBezTo>
                  <a:cubicBezTo>
                    <a:pt x="231" y="57"/>
                    <a:pt x="231" y="62"/>
                    <a:pt x="228" y="65"/>
                  </a:cubicBezTo>
                  <a:lnTo>
                    <a:pt x="78" y="215"/>
                  </a:lnTo>
                  <a:close/>
                  <a:moveTo>
                    <a:pt x="101" y="238"/>
                  </a:moveTo>
                  <a:cubicBezTo>
                    <a:pt x="90" y="227"/>
                    <a:pt x="90" y="227"/>
                    <a:pt x="90" y="227"/>
                  </a:cubicBezTo>
                  <a:cubicBezTo>
                    <a:pt x="229" y="88"/>
                    <a:pt x="229" y="88"/>
                    <a:pt x="229" y="88"/>
                  </a:cubicBezTo>
                  <a:cubicBezTo>
                    <a:pt x="232" y="85"/>
                    <a:pt x="237" y="85"/>
                    <a:pt x="240" y="88"/>
                  </a:cubicBezTo>
                  <a:cubicBezTo>
                    <a:pt x="243" y="91"/>
                    <a:pt x="243" y="96"/>
                    <a:pt x="240" y="99"/>
                  </a:cubicBezTo>
                  <a:lnTo>
                    <a:pt x="101" y="23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54" name="Freeform 68"/>
            <p:cNvSpPr/>
            <p:nvPr/>
          </p:nvSpPr>
          <p:spPr bwMode="auto">
            <a:xfrm>
              <a:off x="5375275" y="3662363"/>
              <a:ext cx="554038" cy="558800"/>
            </a:xfrm>
            <a:custGeom>
              <a:avLst/>
              <a:gdLst>
                <a:gd name="T0" fmla="*/ 227 w 349"/>
                <a:gd name="T1" fmla="*/ 209 h 352"/>
                <a:gd name="T2" fmla="*/ 210 w 349"/>
                <a:gd name="T3" fmla="*/ 193 h 352"/>
                <a:gd name="T4" fmla="*/ 349 w 349"/>
                <a:gd name="T5" fmla="*/ 54 h 352"/>
                <a:gd name="T6" fmla="*/ 295 w 349"/>
                <a:gd name="T7" fmla="*/ 0 h 352"/>
                <a:gd name="T8" fmla="*/ 156 w 349"/>
                <a:gd name="T9" fmla="*/ 139 h 352"/>
                <a:gd name="T10" fmla="*/ 142 w 349"/>
                <a:gd name="T11" fmla="*/ 125 h 352"/>
                <a:gd name="T12" fmla="*/ 110 w 349"/>
                <a:gd name="T13" fmla="*/ 141 h 352"/>
                <a:gd name="T14" fmla="*/ 0 w 349"/>
                <a:gd name="T15" fmla="*/ 317 h 352"/>
                <a:gd name="T16" fmla="*/ 32 w 349"/>
                <a:gd name="T17" fmla="*/ 352 h 352"/>
                <a:gd name="T18" fmla="*/ 207 w 349"/>
                <a:gd name="T19" fmla="*/ 242 h 352"/>
                <a:gd name="T20" fmla="*/ 227 w 349"/>
                <a:gd name="T21" fmla="*/ 20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9" h="352">
                  <a:moveTo>
                    <a:pt x="227" y="209"/>
                  </a:moveTo>
                  <a:lnTo>
                    <a:pt x="210" y="193"/>
                  </a:lnTo>
                  <a:lnTo>
                    <a:pt x="349" y="54"/>
                  </a:lnTo>
                  <a:lnTo>
                    <a:pt x="295" y="0"/>
                  </a:lnTo>
                  <a:lnTo>
                    <a:pt x="156" y="139"/>
                  </a:lnTo>
                  <a:lnTo>
                    <a:pt x="142" y="125"/>
                  </a:lnTo>
                  <a:lnTo>
                    <a:pt x="110" y="141"/>
                  </a:lnTo>
                  <a:lnTo>
                    <a:pt x="0" y="317"/>
                  </a:lnTo>
                  <a:lnTo>
                    <a:pt x="32" y="352"/>
                  </a:lnTo>
                  <a:lnTo>
                    <a:pt x="207" y="242"/>
                  </a:lnTo>
                  <a:lnTo>
                    <a:pt x="227" y="20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55" name="Freeform 69"/>
            <p:cNvSpPr/>
            <p:nvPr/>
          </p:nvSpPr>
          <p:spPr bwMode="auto">
            <a:xfrm>
              <a:off x="5278438" y="2986088"/>
              <a:ext cx="590550" cy="590550"/>
            </a:xfrm>
            <a:custGeom>
              <a:avLst/>
              <a:gdLst>
                <a:gd name="T0" fmla="*/ 104 w 207"/>
                <a:gd name="T1" fmla="*/ 0 h 207"/>
                <a:gd name="T2" fmla="*/ 78 w 207"/>
                <a:gd name="T3" fmla="*/ 3 h 207"/>
                <a:gd name="T4" fmla="*/ 81 w 207"/>
                <a:gd name="T5" fmla="*/ 5 h 207"/>
                <a:gd name="T6" fmla="*/ 118 w 207"/>
                <a:gd name="T7" fmla="*/ 43 h 207"/>
                <a:gd name="T8" fmla="*/ 118 w 207"/>
                <a:gd name="T9" fmla="*/ 112 h 207"/>
                <a:gd name="T10" fmla="*/ 49 w 207"/>
                <a:gd name="T11" fmla="*/ 112 h 207"/>
                <a:gd name="T12" fmla="*/ 12 w 207"/>
                <a:gd name="T13" fmla="*/ 74 h 207"/>
                <a:gd name="T14" fmla="*/ 7 w 207"/>
                <a:gd name="T15" fmla="*/ 68 h 207"/>
                <a:gd name="T16" fmla="*/ 0 w 207"/>
                <a:gd name="T17" fmla="*/ 103 h 207"/>
                <a:gd name="T18" fmla="*/ 104 w 207"/>
                <a:gd name="T19" fmla="*/ 207 h 207"/>
                <a:gd name="T20" fmla="*/ 207 w 207"/>
                <a:gd name="T21" fmla="*/ 103 h 207"/>
                <a:gd name="T22" fmla="*/ 104 w 207"/>
                <a:gd name="T23"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 h="207">
                  <a:moveTo>
                    <a:pt x="104" y="0"/>
                  </a:moveTo>
                  <a:cubicBezTo>
                    <a:pt x="95" y="0"/>
                    <a:pt x="86" y="1"/>
                    <a:pt x="78" y="3"/>
                  </a:cubicBezTo>
                  <a:cubicBezTo>
                    <a:pt x="79" y="4"/>
                    <a:pt x="80" y="5"/>
                    <a:pt x="81" y="5"/>
                  </a:cubicBezTo>
                  <a:cubicBezTo>
                    <a:pt x="118" y="43"/>
                    <a:pt x="118" y="43"/>
                    <a:pt x="118" y="43"/>
                  </a:cubicBezTo>
                  <a:cubicBezTo>
                    <a:pt x="137" y="62"/>
                    <a:pt x="137" y="93"/>
                    <a:pt x="118" y="112"/>
                  </a:cubicBezTo>
                  <a:cubicBezTo>
                    <a:pt x="99" y="131"/>
                    <a:pt x="68" y="131"/>
                    <a:pt x="49" y="112"/>
                  </a:cubicBezTo>
                  <a:cubicBezTo>
                    <a:pt x="12" y="74"/>
                    <a:pt x="12" y="74"/>
                    <a:pt x="12" y="74"/>
                  </a:cubicBezTo>
                  <a:cubicBezTo>
                    <a:pt x="10" y="72"/>
                    <a:pt x="8" y="70"/>
                    <a:pt x="7" y="68"/>
                  </a:cubicBezTo>
                  <a:cubicBezTo>
                    <a:pt x="3" y="79"/>
                    <a:pt x="0" y="91"/>
                    <a:pt x="0" y="103"/>
                  </a:cubicBezTo>
                  <a:cubicBezTo>
                    <a:pt x="0" y="161"/>
                    <a:pt x="47" y="207"/>
                    <a:pt x="104" y="207"/>
                  </a:cubicBezTo>
                  <a:cubicBezTo>
                    <a:pt x="161" y="207"/>
                    <a:pt x="207" y="161"/>
                    <a:pt x="207" y="103"/>
                  </a:cubicBezTo>
                  <a:cubicBezTo>
                    <a:pt x="207" y="46"/>
                    <a:pt x="161" y="0"/>
                    <a:pt x="10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sp>
          <p:nvSpPr>
            <p:cNvPr id="56" name="Freeform 70"/>
            <p:cNvSpPr>
              <a:spLocks noEditPoints="1"/>
            </p:cNvSpPr>
            <p:nvPr/>
          </p:nvSpPr>
          <p:spPr bwMode="auto">
            <a:xfrm>
              <a:off x="6008688" y="3686176"/>
              <a:ext cx="531813" cy="531813"/>
            </a:xfrm>
            <a:custGeom>
              <a:avLst/>
              <a:gdLst>
                <a:gd name="T0" fmla="*/ 164 w 186"/>
                <a:gd name="T1" fmla="*/ 164 h 186"/>
                <a:gd name="T2" fmla="*/ 164 w 186"/>
                <a:gd name="T3" fmla="*/ 83 h 186"/>
                <a:gd name="T4" fmla="*/ 81 w 186"/>
                <a:gd name="T5" fmla="*/ 0 h 186"/>
                <a:gd name="T6" fmla="*/ 0 w 186"/>
                <a:gd name="T7" fmla="*/ 81 h 186"/>
                <a:gd name="T8" fmla="*/ 82 w 186"/>
                <a:gd name="T9" fmla="*/ 164 h 186"/>
                <a:gd name="T10" fmla="*/ 164 w 186"/>
                <a:gd name="T11" fmla="*/ 164 h 186"/>
                <a:gd name="T12" fmla="*/ 109 w 186"/>
                <a:gd name="T13" fmla="*/ 109 h 186"/>
                <a:gd name="T14" fmla="*/ 142 w 186"/>
                <a:gd name="T15" fmla="*/ 109 h 186"/>
                <a:gd name="T16" fmla="*/ 142 w 186"/>
                <a:gd name="T17" fmla="*/ 143 h 186"/>
                <a:gd name="T18" fmla="*/ 109 w 186"/>
                <a:gd name="T19" fmla="*/ 143 h 186"/>
                <a:gd name="T20" fmla="*/ 109 w 186"/>
                <a:gd name="T21" fmla="*/ 10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6" h="186">
                  <a:moveTo>
                    <a:pt x="164" y="164"/>
                  </a:moveTo>
                  <a:cubicBezTo>
                    <a:pt x="186" y="142"/>
                    <a:pt x="186" y="105"/>
                    <a:pt x="164" y="83"/>
                  </a:cubicBezTo>
                  <a:cubicBezTo>
                    <a:pt x="81" y="0"/>
                    <a:pt x="81" y="0"/>
                    <a:pt x="81" y="0"/>
                  </a:cubicBezTo>
                  <a:cubicBezTo>
                    <a:pt x="0" y="81"/>
                    <a:pt x="0" y="81"/>
                    <a:pt x="0" y="81"/>
                  </a:cubicBezTo>
                  <a:cubicBezTo>
                    <a:pt x="82" y="164"/>
                    <a:pt x="82" y="164"/>
                    <a:pt x="82" y="164"/>
                  </a:cubicBezTo>
                  <a:cubicBezTo>
                    <a:pt x="105" y="186"/>
                    <a:pt x="141" y="186"/>
                    <a:pt x="164" y="164"/>
                  </a:cubicBezTo>
                  <a:close/>
                  <a:moveTo>
                    <a:pt x="109" y="109"/>
                  </a:moveTo>
                  <a:cubicBezTo>
                    <a:pt x="118" y="100"/>
                    <a:pt x="133" y="100"/>
                    <a:pt x="142" y="109"/>
                  </a:cubicBezTo>
                  <a:cubicBezTo>
                    <a:pt x="152" y="118"/>
                    <a:pt x="152" y="133"/>
                    <a:pt x="142" y="143"/>
                  </a:cubicBezTo>
                  <a:cubicBezTo>
                    <a:pt x="133" y="152"/>
                    <a:pt x="118" y="152"/>
                    <a:pt x="109" y="143"/>
                  </a:cubicBezTo>
                  <a:cubicBezTo>
                    <a:pt x="99" y="133"/>
                    <a:pt x="99" y="118"/>
                    <a:pt x="109" y="10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solidFill>
                  <a:srgbClr val="78A6B6"/>
                </a:solidFill>
              </a:endParaRPr>
            </a:p>
          </p:txBody>
        </p:sp>
      </p:grpSp>
      <p:grpSp>
        <p:nvGrpSpPr>
          <p:cNvPr id="57" name="组合 60"/>
          <p:cNvGrpSpPr/>
          <p:nvPr/>
        </p:nvGrpSpPr>
        <p:grpSpPr>
          <a:xfrm>
            <a:off x="3411776" y="1711520"/>
            <a:ext cx="267511" cy="341479"/>
            <a:chOff x="2951163" y="2495550"/>
            <a:chExt cx="1208088" cy="1581150"/>
          </a:xfrm>
          <a:solidFill>
            <a:schemeClr val="bg1"/>
          </a:solidFill>
        </p:grpSpPr>
        <p:sp>
          <p:nvSpPr>
            <p:cNvPr id="58" name="Freeform 29"/>
            <p:cNvSpPr/>
            <p:nvPr/>
          </p:nvSpPr>
          <p:spPr bwMode="auto">
            <a:xfrm>
              <a:off x="2978150" y="2911475"/>
              <a:ext cx="230188" cy="306388"/>
            </a:xfrm>
            <a:custGeom>
              <a:avLst/>
              <a:gdLst>
                <a:gd name="T0" fmla="*/ 69 w 79"/>
                <a:gd name="T1" fmla="*/ 40 h 105"/>
                <a:gd name="T2" fmla="*/ 70 w 79"/>
                <a:gd name="T3" fmla="*/ 3 h 105"/>
                <a:gd name="T4" fmla="*/ 52 w 79"/>
                <a:gd name="T5" fmla="*/ 0 h 105"/>
                <a:gd name="T6" fmla="*/ 0 w 79"/>
                <a:gd name="T7" fmla="*/ 52 h 105"/>
                <a:gd name="T8" fmla="*/ 52 w 79"/>
                <a:gd name="T9" fmla="*/ 105 h 105"/>
                <a:gd name="T10" fmla="*/ 79 w 79"/>
                <a:gd name="T11" fmla="*/ 97 h 105"/>
                <a:gd name="T12" fmla="*/ 69 w 79"/>
                <a:gd name="T13" fmla="*/ 40 h 105"/>
              </a:gdLst>
              <a:ahLst/>
              <a:cxnLst>
                <a:cxn ang="0">
                  <a:pos x="T0" y="T1"/>
                </a:cxn>
                <a:cxn ang="0">
                  <a:pos x="T2" y="T3"/>
                </a:cxn>
                <a:cxn ang="0">
                  <a:pos x="T4" y="T5"/>
                </a:cxn>
                <a:cxn ang="0">
                  <a:pos x="T6" y="T7"/>
                </a:cxn>
                <a:cxn ang="0">
                  <a:pos x="T8" y="T9"/>
                </a:cxn>
                <a:cxn ang="0">
                  <a:pos x="T10" y="T11"/>
                </a:cxn>
                <a:cxn ang="0">
                  <a:pos x="T12" y="T13"/>
                </a:cxn>
              </a:cxnLst>
              <a:rect l="0" t="0" r="r" b="b"/>
              <a:pathLst>
                <a:path w="79" h="105">
                  <a:moveTo>
                    <a:pt x="69" y="40"/>
                  </a:moveTo>
                  <a:cubicBezTo>
                    <a:pt x="69" y="25"/>
                    <a:pt x="62" y="15"/>
                    <a:pt x="70" y="3"/>
                  </a:cubicBezTo>
                  <a:cubicBezTo>
                    <a:pt x="65" y="1"/>
                    <a:pt x="59" y="0"/>
                    <a:pt x="52" y="0"/>
                  </a:cubicBezTo>
                  <a:cubicBezTo>
                    <a:pt x="23" y="0"/>
                    <a:pt x="0" y="24"/>
                    <a:pt x="0" y="52"/>
                  </a:cubicBezTo>
                  <a:cubicBezTo>
                    <a:pt x="0" y="81"/>
                    <a:pt x="23" y="105"/>
                    <a:pt x="52" y="105"/>
                  </a:cubicBezTo>
                  <a:cubicBezTo>
                    <a:pt x="62" y="105"/>
                    <a:pt x="71" y="102"/>
                    <a:pt x="79" y="97"/>
                  </a:cubicBezTo>
                  <a:cubicBezTo>
                    <a:pt x="75" y="84"/>
                    <a:pt x="69" y="60"/>
                    <a:pt x="69"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59" name="Freeform 30"/>
            <p:cNvSpPr/>
            <p:nvPr/>
          </p:nvSpPr>
          <p:spPr bwMode="auto">
            <a:xfrm>
              <a:off x="3900488" y="2911475"/>
              <a:ext cx="228600" cy="306388"/>
            </a:xfrm>
            <a:custGeom>
              <a:avLst/>
              <a:gdLst>
                <a:gd name="T0" fmla="*/ 10 w 79"/>
                <a:gd name="T1" fmla="*/ 40 h 105"/>
                <a:gd name="T2" fmla="*/ 9 w 79"/>
                <a:gd name="T3" fmla="*/ 3 h 105"/>
                <a:gd name="T4" fmla="*/ 27 w 79"/>
                <a:gd name="T5" fmla="*/ 0 h 105"/>
                <a:gd name="T6" fmla="*/ 79 w 79"/>
                <a:gd name="T7" fmla="*/ 52 h 105"/>
                <a:gd name="T8" fmla="*/ 27 w 79"/>
                <a:gd name="T9" fmla="*/ 105 h 105"/>
                <a:gd name="T10" fmla="*/ 0 w 79"/>
                <a:gd name="T11" fmla="*/ 97 h 105"/>
                <a:gd name="T12" fmla="*/ 10 w 79"/>
                <a:gd name="T13" fmla="*/ 40 h 105"/>
              </a:gdLst>
              <a:ahLst/>
              <a:cxnLst>
                <a:cxn ang="0">
                  <a:pos x="T0" y="T1"/>
                </a:cxn>
                <a:cxn ang="0">
                  <a:pos x="T2" y="T3"/>
                </a:cxn>
                <a:cxn ang="0">
                  <a:pos x="T4" y="T5"/>
                </a:cxn>
                <a:cxn ang="0">
                  <a:pos x="T6" y="T7"/>
                </a:cxn>
                <a:cxn ang="0">
                  <a:pos x="T8" y="T9"/>
                </a:cxn>
                <a:cxn ang="0">
                  <a:pos x="T10" y="T11"/>
                </a:cxn>
                <a:cxn ang="0">
                  <a:pos x="T12" y="T13"/>
                </a:cxn>
              </a:cxnLst>
              <a:rect l="0" t="0" r="r" b="b"/>
              <a:pathLst>
                <a:path w="79" h="105">
                  <a:moveTo>
                    <a:pt x="10" y="40"/>
                  </a:moveTo>
                  <a:cubicBezTo>
                    <a:pt x="10" y="25"/>
                    <a:pt x="17" y="15"/>
                    <a:pt x="9" y="3"/>
                  </a:cubicBezTo>
                  <a:cubicBezTo>
                    <a:pt x="15" y="1"/>
                    <a:pt x="21" y="0"/>
                    <a:pt x="27" y="0"/>
                  </a:cubicBezTo>
                  <a:cubicBezTo>
                    <a:pt x="56" y="0"/>
                    <a:pt x="79" y="24"/>
                    <a:pt x="79" y="52"/>
                  </a:cubicBezTo>
                  <a:cubicBezTo>
                    <a:pt x="79" y="81"/>
                    <a:pt x="56" y="105"/>
                    <a:pt x="27" y="105"/>
                  </a:cubicBezTo>
                  <a:cubicBezTo>
                    <a:pt x="17" y="105"/>
                    <a:pt x="8" y="102"/>
                    <a:pt x="0" y="97"/>
                  </a:cubicBezTo>
                  <a:cubicBezTo>
                    <a:pt x="4" y="84"/>
                    <a:pt x="10" y="60"/>
                    <a:pt x="10"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0" name="Freeform 31"/>
            <p:cNvSpPr/>
            <p:nvPr/>
          </p:nvSpPr>
          <p:spPr bwMode="auto">
            <a:xfrm>
              <a:off x="3481388" y="3570288"/>
              <a:ext cx="147638" cy="328613"/>
            </a:xfrm>
            <a:custGeom>
              <a:avLst/>
              <a:gdLst>
                <a:gd name="T0" fmla="*/ 25 w 93"/>
                <a:gd name="T1" fmla="*/ 0 h 207"/>
                <a:gd name="T2" fmla="*/ 0 w 93"/>
                <a:gd name="T3" fmla="*/ 145 h 207"/>
                <a:gd name="T4" fmla="*/ 47 w 93"/>
                <a:gd name="T5" fmla="*/ 207 h 207"/>
                <a:gd name="T6" fmla="*/ 93 w 93"/>
                <a:gd name="T7" fmla="*/ 143 h 207"/>
                <a:gd name="T8" fmla="*/ 68 w 93"/>
                <a:gd name="T9" fmla="*/ 0 h 207"/>
                <a:gd name="T10" fmla="*/ 25 w 93"/>
                <a:gd name="T11" fmla="*/ 0 h 207"/>
              </a:gdLst>
              <a:ahLst/>
              <a:cxnLst>
                <a:cxn ang="0">
                  <a:pos x="T0" y="T1"/>
                </a:cxn>
                <a:cxn ang="0">
                  <a:pos x="T2" y="T3"/>
                </a:cxn>
                <a:cxn ang="0">
                  <a:pos x="T4" y="T5"/>
                </a:cxn>
                <a:cxn ang="0">
                  <a:pos x="T6" y="T7"/>
                </a:cxn>
                <a:cxn ang="0">
                  <a:pos x="T8" y="T9"/>
                </a:cxn>
                <a:cxn ang="0">
                  <a:pos x="T10" y="T11"/>
                </a:cxn>
              </a:cxnLst>
              <a:rect l="0" t="0" r="r" b="b"/>
              <a:pathLst>
                <a:path w="93" h="207">
                  <a:moveTo>
                    <a:pt x="25" y="0"/>
                  </a:moveTo>
                  <a:lnTo>
                    <a:pt x="0" y="145"/>
                  </a:lnTo>
                  <a:lnTo>
                    <a:pt x="47" y="207"/>
                  </a:lnTo>
                  <a:lnTo>
                    <a:pt x="93" y="143"/>
                  </a:lnTo>
                  <a:lnTo>
                    <a:pt x="68" y="0"/>
                  </a:lnTo>
                  <a:lnTo>
                    <a:pt x="2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1" name="Freeform 32"/>
            <p:cNvSpPr/>
            <p:nvPr/>
          </p:nvSpPr>
          <p:spPr bwMode="auto">
            <a:xfrm>
              <a:off x="3471863" y="3433763"/>
              <a:ext cx="166688" cy="115888"/>
            </a:xfrm>
            <a:custGeom>
              <a:avLst/>
              <a:gdLst>
                <a:gd name="T0" fmla="*/ 21 w 57"/>
                <a:gd name="T1" fmla="*/ 7 h 40"/>
                <a:gd name="T2" fmla="*/ 0 w 57"/>
                <a:gd name="T3" fmla="*/ 5 h 40"/>
                <a:gd name="T4" fmla="*/ 0 w 57"/>
                <a:gd name="T5" fmla="*/ 14 h 40"/>
                <a:gd name="T6" fmla="*/ 1 w 57"/>
                <a:gd name="T7" fmla="*/ 13 h 40"/>
                <a:gd name="T8" fmla="*/ 18 w 57"/>
                <a:gd name="T9" fmla="*/ 40 h 40"/>
                <a:gd name="T10" fmla="*/ 40 w 57"/>
                <a:gd name="T11" fmla="*/ 40 h 40"/>
                <a:gd name="T12" fmla="*/ 56 w 57"/>
                <a:gd name="T13" fmla="*/ 15 h 40"/>
                <a:gd name="T14" fmla="*/ 57 w 57"/>
                <a:gd name="T15" fmla="*/ 0 h 40"/>
                <a:gd name="T16" fmla="*/ 21 w 57"/>
                <a:gd name="T17" fmla="*/ 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40">
                  <a:moveTo>
                    <a:pt x="21" y="7"/>
                  </a:moveTo>
                  <a:cubicBezTo>
                    <a:pt x="14" y="7"/>
                    <a:pt x="7" y="7"/>
                    <a:pt x="0" y="5"/>
                  </a:cubicBezTo>
                  <a:cubicBezTo>
                    <a:pt x="0" y="8"/>
                    <a:pt x="0" y="11"/>
                    <a:pt x="0" y="14"/>
                  </a:cubicBezTo>
                  <a:cubicBezTo>
                    <a:pt x="0" y="13"/>
                    <a:pt x="1" y="13"/>
                    <a:pt x="1" y="13"/>
                  </a:cubicBezTo>
                  <a:cubicBezTo>
                    <a:pt x="18" y="40"/>
                    <a:pt x="18" y="40"/>
                    <a:pt x="18" y="40"/>
                  </a:cubicBezTo>
                  <a:cubicBezTo>
                    <a:pt x="40" y="40"/>
                    <a:pt x="40" y="40"/>
                    <a:pt x="40" y="40"/>
                  </a:cubicBezTo>
                  <a:cubicBezTo>
                    <a:pt x="56" y="15"/>
                    <a:pt x="56" y="15"/>
                    <a:pt x="56" y="15"/>
                  </a:cubicBezTo>
                  <a:cubicBezTo>
                    <a:pt x="56" y="10"/>
                    <a:pt x="56" y="5"/>
                    <a:pt x="57" y="0"/>
                  </a:cubicBezTo>
                  <a:cubicBezTo>
                    <a:pt x="46" y="5"/>
                    <a:pt x="34" y="7"/>
                    <a:pt x="21" y="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2" name="Freeform 33"/>
            <p:cNvSpPr>
              <a:spLocks noEditPoints="1"/>
            </p:cNvSpPr>
            <p:nvPr/>
          </p:nvSpPr>
          <p:spPr bwMode="auto">
            <a:xfrm>
              <a:off x="3140075" y="2582863"/>
              <a:ext cx="827088" cy="827088"/>
            </a:xfrm>
            <a:custGeom>
              <a:avLst/>
              <a:gdLst>
                <a:gd name="T0" fmla="*/ 0 w 284"/>
                <a:gd name="T1" fmla="*/ 142 h 284"/>
                <a:gd name="T2" fmla="*/ 142 w 284"/>
                <a:gd name="T3" fmla="*/ 0 h 284"/>
                <a:gd name="T4" fmla="*/ 142 w 284"/>
                <a:gd name="T5" fmla="*/ 0 h 284"/>
                <a:gd name="T6" fmla="*/ 284 w 284"/>
                <a:gd name="T7" fmla="*/ 142 h 284"/>
                <a:gd name="T8" fmla="*/ 284 w 284"/>
                <a:gd name="T9" fmla="*/ 142 h 284"/>
                <a:gd name="T10" fmla="*/ 142 w 284"/>
                <a:gd name="T11" fmla="*/ 284 h 284"/>
                <a:gd name="T12" fmla="*/ 142 w 284"/>
                <a:gd name="T13" fmla="*/ 284 h 284"/>
                <a:gd name="T14" fmla="*/ 0 w 284"/>
                <a:gd name="T15" fmla="*/ 142 h 284"/>
                <a:gd name="T16" fmla="*/ 25 w 284"/>
                <a:gd name="T17" fmla="*/ 142 h 284"/>
                <a:gd name="T18" fmla="*/ 142 w 284"/>
                <a:gd name="T19" fmla="*/ 260 h 284"/>
                <a:gd name="T20" fmla="*/ 142 w 284"/>
                <a:gd name="T21" fmla="*/ 260 h 284"/>
                <a:gd name="T22" fmla="*/ 260 w 284"/>
                <a:gd name="T23" fmla="*/ 142 h 284"/>
                <a:gd name="T24" fmla="*/ 260 w 284"/>
                <a:gd name="T25" fmla="*/ 142 h 284"/>
                <a:gd name="T26" fmla="*/ 142 w 284"/>
                <a:gd name="T27" fmla="*/ 24 h 284"/>
                <a:gd name="T28" fmla="*/ 142 w 284"/>
                <a:gd name="T29" fmla="*/ 24 h 284"/>
                <a:gd name="T30" fmla="*/ 25 w 284"/>
                <a:gd name="T31" fmla="*/ 142 h 284"/>
                <a:gd name="T32" fmla="*/ 25 w 284"/>
                <a:gd name="T33" fmla="*/ 14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4" h="284">
                  <a:moveTo>
                    <a:pt x="0" y="142"/>
                  </a:moveTo>
                  <a:cubicBezTo>
                    <a:pt x="0" y="63"/>
                    <a:pt x="64" y="0"/>
                    <a:pt x="142" y="0"/>
                  </a:cubicBezTo>
                  <a:cubicBezTo>
                    <a:pt x="142" y="0"/>
                    <a:pt x="142" y="0"/>
                    <a:pt x="142" y="0"/>
                  </a:cubicBezTo>
                  <a:cubicBezTo>
                    <a:pt x="221" y="0"/>
                    <a:pt x="284" y="63"/>
                    <a:pt x="284" y="142"/>
                  </a:cubicBezTo>
                  <a:cubicBezTo>
                    <a:pt x="284" y="142"/>
                    <a:pt x="284" y="142"/>
                    <a:pt x="284" y="142"/>
                  </a:cubicBezTo>
                  <a:cubicBezTo>
                    <a:pt x="284" y="220"/>
                    <a:pt x="221" y="284"/>
                    <a:pt x="142" y="284"/>
                  </a:cubicBezTo>
                  <a:cubicBezTo>
                    <a:pt x="142" y="284"/>
                    <a:pt x="142" y="284"/>
                    <a:pt x="142" y="284"/>
                  </a:cubicBezTo>
                  <a:cubicBezTo>
                    <a:pt x="64" y="284"/>
                    <a:pt x="0" y="220"/>
                    <a:pt x="0" y="142"/>
                  </a:cubicBezTo>
                  <a:close/>
                  <a:moveTo>
                    <a:pt x="25" y="142"/>
                  </a:moveTo>
                  <a:cubicBezTo>
                    <a:pt x="25" y="207"/>
                    <a:pt x="77" y="259"/>
                    <a:pt x="142" y="260"/>
                  </a:cubicBezTo>
                  <a:cubicBezTo>
                    <a:pt x="142" y="260"/>
                    <a:pt x="142" y="260"/>
                    <a:pt x="142" y="260"/>
                  </a:cubicBezTo>
                  <a:cubicBezTo>
                    <a:pt x="207" y="259"/>
                    <a:pt x="260" y="207"/>
                    <a:pt x="260" y="142"/>
                  </a:cubicBezTo>
                  <a:cubicBezTo>
                    <a:pt x="260" y="142"/>
                    <a:pt x="260" y="142"/>
                    <a:pt x="260" y="142"/>
                  </a:cubicBezTo>
                  <a:cubicBezTo>
                    <a:pt x="260" y="77"/>
                    <a:pt x="207" y="24"/>
                    <a:pt x="142" y="24"/>
                  </a:cubicBezTo>
                  <a:cubicBezTo>
                    <a:pt x="142" y="24"/>
                    <a:pt x="142" y="24"/>
                    <a:pt x="142" y="24"/>
                  </a:cubicBezTo>
                  <a:cubicBezTo>
                    <a:pt x="77" y="24"/>
                    <a:pt x="25" y="77"/>
                    <a:pt x="25" y="142"/>
                  </a:cubicBezTo>
                  <a:cubicBezTo>
                    <a:pt x="25" y="142"/>
                    <a:pt x="25" y="142"/>
                    <a:pt x="25" y="14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3" name="Freeform 34"/>
            <p:cNvSpPr/>
            <p:nvPr/>
          </p:nvSpPr>
          <p:spPr bwMode="auto">
            <a:xfrm>
              <a:off x="3068638" y="2495550"/>
              <a:ext cx="971550" cy="454025"/>
            </a:xfrm>
            <a:custGeom>
              <a:avLst/>
              <a:gdLst>
                <a:gd name="T0" fmla="*/ 0 w 334"/>
                <a:gd name="T1" fmla="*/ 155 h 156"/>
                <a:gd name="T2" fmla="*/ 167 w 334"/>
                <a:gd name="T3" fmla="*/ 0 h 156"/>
                <a:gd name="T4" fmla="*/ 167 w 334"/>
                <a:gd name="T5" fmla="*/ 0 h 156"/>
                <a:gd name="T6" fmla="*/ 334 w 334"/>
                <a:gd name="T7" fmla="*/ 155 h 156"/>
                <a:gd name="T8" fmla="*/ 334 w 334"/>
                <a:gd name="T9" fmla="*/ 155 h 156"/>
                <a:gd name="T10" fmla="*/ 322 w 334"/>
                <a:gd name="T11" fmla="*/ 155 h 156"/>
                <a:gd name="T12" fmla="*/ 167 w 334"/>
                <a:gd name="T13" fmla="*/ 12 h 156"/>
                <a:gd name="T14" fmla="*/ 167 w 334"/>
                <a:gd name="T15" fmla="*/ 12 h 156"/>
                <a:gd name="T16" fmla="*/ 12 w 334"/>
                <a:gd name="T17" fmla="*/ 156 h 156"/>
                <a:gd name="T18" fmla="*/ 12 w 334"/>
                <a:gd name="T19" fmla="*/ 156 h 156"/>
                <a:gd name="T20" fmla="*/ 0 w 334"/>
                <a:gd name="T21" fmla="*/ 155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4" h="156">
                  <a:moveTo>
                    <a:pt x="0" y="155"/>
                  </a:moveTo>
                  <a:cubicBezTo>
                    <a:pt x="7" y="68"/>
                    <a:pt x="79" y="0"/>
                    <a:pt x="167" y="0"/>
                  </a:cubicBezTo>
                  <a:cubicBezTo>
                    <a:pt x="167" y="0"/>
                    <a:pt x="167" y="0"/>
                    <a:pt x="167" y="0"/>
                  </a:cubicBezTo>
                  <a:cubicBezTo>
                    <a:pt x="255" y="0"/>
                    <a:pt x="328" y="68"/>
                    <a:pt x="334" y="155"/>
                  </a:cubicBezTo>
                  <a:cubicBezTo>
                    <a:pt x="334" y="155"/>
                    <a:pt x="334" y="155"/>
                    <a:pt x="334" y="155"/>
                  </a:cubicBezTo>
                  <a:cubicBezTo>
                    <a:pt x="322" y="155"/>
                    <a:pt x="322" y="155"/>
                    <a:pt x="322" y="155"/>
                  </a:cubicBezTo>
                  <a:cubicBezTo>
                    <a:pt x="316" y="75"/>
                    <a:pt x="249" y="12"/>
                    <a:pt x="167" y="12"/>
                  </a:cubicBezTo>
                  <a:cubicBezTo>
                    <a:pt x="167" y="12"/>
                    <a:pt x="167" y="12"/>
                    <a:pt x="167" y="12"/>
                  </a:cubicBezTo>
                  <a:cubicBezTo>
                    <a:pt x="85" y="12"/>
                    <a:pt x="18" y="75"/>
                    <a:pt x="12" y="156"/>
                  </a:cubicBezTo>
                  <a:cubicBezTo>
                    <a:pt x="12" y="156"/>
                    <a:pt x="12" y="156"/>
                    <a:pt x="12" y="156"/>
                  </a:cubicBezTo>
                  <a:cubicBezTo>
                    <a:pt x="0" y="155"/>
                    <a:pt x="0" y="155"/>
                    <a:pt x="0" y="1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4" name="Freeform 35"/>
            <p:cNvSpPr/>
            <p:nvPr/>
          </p:nvSpPr>
          <p:spPr bwMode="auto">
            <a:xfrm>
              <a:off x="2951163" y="3378200"/>
              <a:ext cx="1208088" cy="698500"/>
            </a:xfrm>
            <a:custGeom>
              <a:avLst/>
              <a:gdLst>
                <a:gd name="T0" fmla="*/ 382 w 415"/>
                <a:gd name="T1" fmla="*/ 223 h 240"/>
                <a:gd name="T2" fmla="*/ 326 w 415"/>
                <a:gd name="T3" fmla="*/ 80 h 240"/>
                <a:gd name="T4" fmla="*/ 326 w 415"/>
                <a:gd name="T5" fmla="*/ 80 h 240"/>
                <a:gd name="T6" fmla="*/ 207 w 415"/>
                <a:gd name="T7" fmla="*/ 33 h 240"/>
                <a:gd name="T8" fmla="*/ 207 w 415"/>
                <a:gd name="T9" fmla="*/ 33 h 240"/>
                <a:gd name="T10" fmla="*/ 161 w 415"/>
                <a:gd name="T11" fmla="*/ 39 h 240"/>
                <a:gd name="T12" fmla="*/ 161 w 415"/>
                <a:gd name="T13" fmla="*/ 39 h 240"/>
                <a:gd name="T14" fmla="*/ 60 w 415"/>
                <a:gd name="T15" fmla="*/ 114 h 240"/>
                <a:gd name="T16" fmla="*/ 60 w 415"/>
                <a:gd name="T17" fmla="*/ 114 h 240"/>
                <a:gd name="T18" fmla="*/ 33 w 415"/>
                <a:gd name="T19" fmla="*/ 223 h 240"/>
                <a:gd name="T20" fmla="*/ 33 w 415"/>
                <a:gd name="T21" fmla="*/ 223 h 240"/>
                <a:gd name="T22" fmla="*/ 16 w 415"/>
                <a:gd name="T23" fmla="*/ 240 h 240"/>
                <a:gd name="T24" fmla="*/ 16 w 415"/>
                <a:gd name="T25" fmla="*/ 240 h 240"/>
                <a:gd name="T26" fmla="*/ 0 w 415"/>
                <a:gd name="T27" fmla="*/ 223 h 240"/>
                <a:gd name="T28" fmla="*/ 0 w 415"/>
                <a:gd name="T29" fmla="*/ 223 h 240"/>
                <a:gd name="T30" fmla="*/ 32 w 415"/>
                <a:gd name="T31" fmla="*/ 97 h 240"/>
                <a:gd name="T32" fmla="*/ 32 w 415"/>
                <a:gd name="T33" fmla="*/ 97 h 240"/>
                <a:gd name="T34" fmla="*/ 152 w 415"/>
                <a:gd name="T35" fmla="*/ 8 h 240"/>
                <a:gd name="T36" fmla="*/ 152 w 415"/>
                <a:gd name="T37" fmla="*/ 8 h 240"/>
                <a:gd name="T38" fmla="*/ 207 w 415"/>
                <a:gd name="T39" fmla="*/ 0 h 240"/>
                <a:gd name="T40" fmla="*/ 207 w 415"/>
                <a:gd name="T41" fmla="*/ 0 h 240"/>
                <a:gd name="T42" fmla="*/ 349 w 415"/>
                <a:gd name="T43" fmla="*/ 56 h 240"/>
                <a:gd name="T44" fmla="*/ 349 w 415"/>
                <a:gd name="T45" fmla="*/ 56 h 240"/>
                <a:gd name="T46" fmla="*/ 414 w 415"/>
                <a:gd name="T47" fmla="*/ 223 h 240"/>
                <a:gd name="T48" fmla="*/ 414 w 415"/>
                <a:gd name="T49" fmla="*/ 223 h 240"/>
                <a:gd name="T50" fmla="*/ 398 w 415"/>
                <a:gd name="T51" fmla="*/ 240 h 240"/>
                <a:gd name="T52" fmla="*/ 398 w 415"/>
                <a:gd name="T53" fmla="*/ 240 h 240"/>
                <a:gd name="T54" fmla="*/ 382 w 415"/>
                <a:gd name="T55" fmla="*/ 22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15" h="240">
                  <a:moveTo>
                    <a:pt x="382" y="223"/>
                  </a:moveTo>
                  <a:cubicBezTo>
                    <a:pt x="382" y="167"/>
                    <a:pt x="367" y="118"/>
                    <a:pt x="326" y="80"/>
                  </a:cubicBezTo>
                  <a:cubicBezTo>
                    <a:pt x="326" y="80"/>
                    <a:pt x="326" y="80"/>
                    <a:pt x="326" y="80"/>
                  </a:cubicBezTo>
                  <a:cubicBezTo>
                    <a:pt x="294" y="49"/>
                    <a:pt x="250" y="33"/>
                    <a:pt x="207" y="33"/>
                  </a:cubicBezTo>
                  <a:cubicBezTo>
                    <a:pt x="207" y="33"/>
                    <a:pt x="207" y="33"/>
                    <a:pt x="207" y="33"/>
                  </a:cubicBezTo>
                  <a:cubicBezTo>
                    <a:pt x="191" y="33"/>
                    <a:pt x="176" y="35"/>
                    <a:pt x="161" y="39"/>
                  </a:cubicBezTo>
                  <a:cubicBezTo>
                    <a:pt x="161" y="39"/>
                    <a:pt x="161" y="39"/>
                    <a:pt x="161" y="39"/>
                  </a:cubicBezTo>
                  <a:cubicBezTo>
                    <a:pt x="119" y="51"/>
                    <a:pt x="83" y="78"/>
                    <a:pt x="60" y="114"/>
                  </a:cubicBezTo>
                  <a:cubicBezTo>
                    <a:pt x="60" y="114"/>
                    <a:pt x="60" y="114"/>
                    <a:pt x="60" y="114"/>
                  </a:cubicBezTo>
                  <a:cubicBezTo>
                    <a:pt x="39" y="147"/>
                    <a:pt x="33" y="183"/>
                    <a:pt x="33" y="223"/>
                  </a:cubicBezTo>
                  <a:cubicBezTo>
                    <a:pt x="33" y="223"/>
                    <a:pt x="33" y="223"/>
                    <a:pt x="33" y="223"/>
                  </a:cubicBezTo>
                  <a:cubicBezTo>
                    <a:pt x="33" y="232"/>
                    <a:pt x="25" y="240"/>
                    <a:pt x="16" y="240"/>
                  </a:cubicBezTo>
                  <a:cubicBezTo>
                    <a:pt x="16" y="240"/>
                    <a:pt x="16" y="240"/>
                    <a:pt x="16" y="240"/>
                  </a:cubicBezTo>
                  <a:cubicBezTo>
                    <a:pt x="7" y="240"/>
                    <a:pt x="0" y="232"/>
                    <a:pt x="0" y="223"/>
                  </a:cubicBezTo>
                  <a:cubicBezTo>
                    <a:pt x="0" y="223"/>
                    <a:pt x="0" y="223"/>
                    <a:pt x="0" y="223"/>
                  </a:cubicBezTo>
                  <a:cubicBezTo>
                    <a:pt x="0" y="180"/>
                    <a:pt x="7" y="136"/>
                    <a:pt x="32" y="97"/>
                  </a:cubicBezTo>
                  <a:cubicBezTo>
                    <a:pt x="32" y="97"/>
                    <a:pt x="32" y="97"/>
                    <a:pt x="32" y="97"/>
                  </a:cubicBezTo>
                  <a:cubicBezTo>
                    <a:pt x="59" y="53"/>
                    <a:pt x="102" y="21"/>
                    <a:pt x="152" y="8"/>
                  </a:cubicBezTo>
                  <a:cubicBezTo>
                    <a:pt x="152" y="8"/>
                    <a:pt x="152" y="8"/>
                    <a:pt x="152" y="8"/>
                  </a:cubicBezTo>
                  <a:cubicBezTo>
                    <a:pt x="170" y="3"/>
                    <a:pt x="188" y="0"/>
                    <a:pt x="207" y="0"/>
                  </a:cubicBezTo>
                  <a:cubicBezTo>
                    <a:pt x="207" y="0"/>
                    <a:pt x="207" y="0"/>
                    <a:pt x="207" y="0"/>
                  </a:cubicBezTo>
                  <a:cubicBezTo>
                    <a:pt x="259" y="0"/>
                    <a:pt x="310" y="20"/>
                    <a:pt x="349" y="56"/>
                  </a:cubicBezTo>
                  <a:cubicBezTo>
                    <a:pt x="349" y="56"/>
                    <a:pt x="349" y="56"/>
                    <a:pt x="349" y="56"/>
                  </a:cubicBezTo>
                  <a:cubicBezTo>
                    <a:pt x="397" y="101"/>
                    <a:pt x="415" y="161"/>
                    <a:pt x="414" y="223"/>
                  </a:cubicBezTo>
                  <a:cubicBezTo>
                    <a:pt x="414" y="223"/>
                    <a:pt x="414" y="223"/>
                    <a:pt x="414" y="223"/>
                  </a:cubicBezTo>
                  <a:cubicBezTo>
                    <a:pt x="414" y="232"/>
                    <a:pt x="407" y="240"/>
                    <a:pt x="398" y="240"/>
                  </a:cubicBezTo>
                  <a:cubicBezTo>
                    <a:pt x="398" y="240"/>
                    <a:pt x="398" y="240"/>
                    <a:pt x="398" y="240"/>
                  </a:cubicBezTo>
                  <a:cubicBezTo>
                    <a:pt x="389" y="240"/>
                    <a:pt x="382" y="232"/>
                    <a:pt x="382" y="2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5" name="Freeform 36"/>
            <p:cNvSpPr/>
            <p:nvPr/>
          </p:nvSpPr>
          <p:spPr bwMode="auto">
            <a:xfrm>
              <a:off x="3446463" y="3189288"/>
              <a:ext cx="165100" cy="88900"/>
            </a:xfrm>
            <a:custGeom>
              <a:avLst/>
              <a:gdLst>
                <a:gd name="T0" fmla="*/ 57 w 57"/>
                <a:gd name="T1" fmla="*/ 15 h 31"/>
                <a:gd name="T2" fmla="*/ 41 w 57"/>
                <a:gd name="T3" fmla="*/ 31 h 31"/>
                <a:gd name="T4" fmla="*/ 16 w 57"/>
                <a:gd name="T5" fmla="*/ 31 h 31"/>
                <a:gd name="T6" fmla="*/ 0 w 57"/>
                <a:gd name="T7" fmla="*/ 15 h 31"/>
                <a:gd name="T8" fmla="*/ 0 w 57"/>
                <a:gd name="T9" fmla="*/ 15 h 31"/>
                <a:gd name="T10" fmla="*/ 16 w 57"/>
                <a:gd name="T11" fmla="*/ 0 h 31"/>
                <a:gd name="T12" fmla="*/ 41 w 57"/>
                <a:gd name="T13" fmla="*/ 0 h 31"/>
                <a:gd name="T14" fmla="*/ 57 w 57"/>
                <a:gd name="T15" fmla="*/ 15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31">
                  <a:moveTo>
                    <a:pt x="57" y="15"/>
                  </a:moveTo>
                  <a:cubicBezTo>
                    <a:pt x="57" y="24"/>
                    <a:pt x="50" y="31"/>
                    <a:pt x="41" y="31"/>
                  </a:cubicBezTo>
                  <a:cubicBezTo>
                    <a:pt x="16" y="31"/>
                    <a:pt x="16" y="31"/>
                    <a:pt x="16" y="31"/>
                  </a:cubicBezTo>
                  <a:cubicBezTo>
                    <a:pt x="7" y="31"/>
                    <a:pt x="0" y="24"/>
                    <a:pt x="0" y="15"/>
                  </a:cubicBezTo>
                  <a:cubicBezTo>
                    <a:pt x="0" y="15"/>
                    <a:pt x="0" y="15"/>
                    <a:pt x="0" y="15"/>
                  </a:cubicBezTo>
                  <a:cubicBezTo>
                    <a:pt x="0" y="7"/>
                    <a:pt x="7" y="0"/>
                    <a:pt x="16" y="0"/>
                  </a:cubicBezTo>
                  <a:cubicBezTo>
                    <a:pt x="41" y="0"/>
                    <a:pt x="41" y="0"/>
                    <a:pt x="41" y="0"/>
                  </a:cubicBezTo>
                  <a:cubicBezTo>
                    <a:pt x="50" y="0"/>
                    <a:pt x="57" y="7"/>
                    <a:pt x="57" y="1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6" name="Freeform 37"/>
            <p:cNvSpPr/>
            <p:nvPr/>
          </p:nvSpPr>
          <p:spPr bwMode="auto">
            <a:xfrm>
              <a:off x="3117850" y="3168650"/>
              <a:ext cx="349250" cy="92075"/>
            </a:xfrm>
            <a:custGeom>
              <a:avLst/>
              <a:gdLst>
                <a:gd name="T0" fmla="*/ 34 w 120"/>
                <a:gd name="T1" fmla="*/ 32 h 32"/>
                <a:gd name="T2" fmla="*/ 0 w 120"/>
                <a:gd name="T3" fmla="*/ 2 h 32"/>
                <a:gd name="T4" fmla="*/ 0 w 120"/>
                <a:gd name="T5" fmla="*/ 2 h 32"/>
                <a:gd name="T6" fmla="*/ 12 w 120"/>
                <a:gd name="T7" fmla="*/ 0 h 32"/>
                <a:gd name="T8" fmla="*/ 34 w 120"/>
                <a:gd name="T9" fmla="*/ 20 h 32"/>
                <a:gd name="T10" fmla="*/ 34 w 120"/>
                <a:gd name="T11" fmla="*/ 20 h 32"/>
                <a:gd name="T12" fmla="*/ 120 w 120"/>
                <a:gd name="T13" fmla="*/ 20 h 32"/>
                <a:gd name="T14" fmla="*/ 120 w 120"/>
                <a:gd name="T15" fmla="*/ 20 h 32"/>
                <a:gd name="T16" fmla="*/ 120 w 120"/>
                <a:gd name="T17" fmla="*/ 32 h 32"/>
                <a:gd name="T18" fmla="*/ 34 w 120"/>
                <a:gd name="T1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32">
                  <a:moveTo>
                    <a:pt x="34" y="32"/>
                  </a:moveTo>
                  <a:cubicBezTo>
                    <a:pt x="16" y="32"/>
                    <a:pt x="2" y="19"/>
                    <a:pt x="0" y="2"/>
                  </a:cubicBezTo>
                  <a:cubicBezTo>
                    <a:pt x="0" y="2"/>
                    <a:pt x="0" y="2"/>
                    <a:pt x="0" y="2"/>
                  </a:cubicBezTo>
                  <a:cubicBezTo>
                    <a:pt x="12" y="0"/>
                    <a:pt x="12" y="0"/>
                    <a:pt x="12" y="0"/>
                  </a:cubicBezTo>
                  <a:cubicBezTo>
                    <a:pt x="13" y="11"/>
                    <a:pt x="22" y="20"/>
                    <a:pt x="34" y="20"/>
                  </a:cubicBezTo>
                  <a:cubicBezTo>
                    <a:pt x="34" y="20"/>
                    <a:pt x="34" y="20"/>
                    <a:pt x="34" y="20"/>
                  </a:cubicBezTo>
                  <a:cubicBezTo>
                    <a:pt x="120" y="20"/>
                    <a:pt x="120" y="20"/>
                    <a:pt x="120" y="20"/>
                  </a:cubicBezTo>
                  <a:cubicBezTo>
                    <a:pt x="120" y="20"/>
                    <a:pt x="120" y="20"/>
                    <a:pt x="120" y="20"/>
                  </a:cubicBezTo>
                  <a:cubicBezTo>
                    <a:pt x="120" y="32"/>
                    <a:pt x="120" y="32"/>
                    <a:pt x="120" y="32"/>
                  </a:cubicBezTo>
                  <a:cubicBezTo>
                    <a:pt x="34" y="32"/>
                    <a:pt x="34" y="32"/>
                    <a:pt x="34"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nvGrpSpPr>
          <p:cNvPr id="67" name="组合 75"/>
          <p:cNvGrpSpPr/>
          <p:nvPr/>
        </p:nvGrpSpPr>
        <p:grpSpPr>
          <a:xfrm>
            <a:off x="5297637" y="1718571"/>
            <a:ext cx="332277" cy="364236"/>
            <a:chOff x="279401" y="2698750"/>
            <a:chExt cx="1473200" cy="1655763"/>
          </a:xfrm>
          <a:solidFill>
            <a:schemeClr val="bg1"/>
          </a:solidFill>
        </p:grpSpPr>
        <p:sp>
          <p:nvSpPr>
            <p:cNvPr id="68" name="Freeform 45"/>
            <p:cNvSpPr>
              <a:spLocks noEditPoints="1"/>
            </p:cNvSpPr>
            <p:nvPr/>
          </p:nvSpPr>
          <p:spPr bwMode="auto">
            <a:xfrm>
              <a:off x="279401" y="2884488"/>
              <a:ext cx="1473200" cy="1470025"/>
            </a:xfrm>
            <a:custGeom>
              <a:avLst/>
              <a:gdLst>
                <a:gd name="T0" fmla="*/ 250 w 501"/>
                <a:gd name="T1" fmla="*/ 0 h 501"/>
                <a:gd name="T2" fmla="*/ 0 w 501"/>
                <a:gd name="T3" fmla="*/ 251 h 501"/>
                <a:gd name="T4" fmla="*/ 250 w 501"/>
                <a:gd name="T5" fmla="*/ 501 h 501"/>
                <a:gd name="T6" fmla="*/ 501 w 501"/>
                <a:gd name="T7" fmla="*/ 251 h 501"/>
                <a:gd name="T8" fmla="*/ 250 w 501"/>
                <a:gd name="T9" fmla="*/ 0 h 501"/>
                <a:gd name="T10" fmla="*/ 455 w 501"/>
                <a:gd name="T11" fmla="*/ 267 h 501"/>
                <a:gd name="T12" fmla="*/ 446 w 501"/>
                <a:gd name="T13" fmla="*/ 267 h 501"/>
                <a:gd name="T14" fmla="*/ 389 w 501"/>
                <a:gd name="T15" fmla="*/ 390 h 501"/>
                <a:gd name="T16" fmla="*/ 267 w 501"/>
                <a:gd name="T17" fmla="*/ 447 h 501"/>
                <a:gd name="T18" fmla="*/ 267 w 501"/>
                <a:gd name="T19" fmla="*/ 455 h 501"/>
                <a:gd name="T20" fmla="*/ 250 w 501"/>
                <a:gd name="T21" fmla="*/ 471 h 501"/>
                <a:gd name="T22" fmla="*/ 234 w 501"/>
                <a:gd name="T23" fmla="*/ 455 h 501"/>
                <a:gd name="T24" fmla="*/ 234 w 501"/>
                <a:gd name="T25" fmla="*/ 447 h 501"/>
                <a:gd name="T26" fmla="*/ 111 w 501"/>
                <a:gd name="T27" fmla="*/ 390 h 501"/>
                <a:gd name="T28" fmla="*/ 54 w 501"/>
                <a:gd name="T29" fmla="*/ 267 h 501"/>
                <a:gd name="T30" fmla="*/ 46 w 501"/>
                <a:gd name="T31" fmla="*/ 267 h 501"/>
                <a:gd name="T32" fmla="*/ 30 w 501"/>
                <a:gd name="T33" fmla="*/ 251 h 501"/>
                <a:gd name="T34" fmla="*/ 46 w 501"/>
                <a:gd name="T35" fmla="*/ 234 h 501"/>
                <a:gd name="T36" fmla="*/ 54 w 501"/>
                <a:gd name="T37" fmla="*/ 234 h 501"/>
                <a:gd name="T38" fmla="*/ 111 w 501"/>
                <a:gd name="T39" fmla="*/ 111 h 501"/>
                <a:gd name="T40" fmla="*/ 234 w 501"/>
                <a:gd name="T41" fmla="*/ 54 h 501"/>
                <a:gd name="T42" fmla="*/ 234 w 501"/>
                <a:gd name="T43" fmla="*/ 46 h 501"/>
                <a:gd name="T44" fmla="*/ 250 w 501"/>
                <a:gd name="T45" fmla="*/ 30 h 501"/>
                <a:gd name="T46" fmla="*/ 267 w 501"/>
                <a:gd name="T47" fmla="*/ 46 h 501"/>
                <a:gd name="T48" fmla="*/ 267 w 501"/>
                <a:gd name="T49" fmla="*/ 54 h 501"/>
                <a:gd name="T50" fmla="*/ 389 w 501"/>
                <a:gd name="T51" fmla="*/ 111 h 501"/>
                <a:gd name="T52" fmla="*/ 446 w 501"/>
                <a:gd name="T53" fmla="*/ 234 h 501"/>
                <a:gd name="T54" fmla="*/ 455 w 501"/>
                <a:gd name="T55" fmla="*/ 234 h 501"/>
                <a:gd name="T56" fmla="*/ 471 w 501"/>
                <a:gd name="T57" fmla="*/ 251 h 501"/>
                <a:gd name="T58" fmla="*/ 455 w 501"/>
                <a:gd name="T59" fmla="*/ 267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1" h="501">
                  <a:moveTo>
                    <a:pt x="250" y="0"/>
                  </a:moveTo>
                  <a:cubicBezTo>
                    <a:pt x="112" y="0"/>
                    <a:pt x="0" y="112"/>
                    <a:pt x="0" y="251"/>
                  </a:cubicBezTo>
                  <a:cubicBezTo>
                    <a:pt x="0" y="389"/>
                    <a:pt x="112" y="501"/>
                    <a:pt x="250" y="501"/>
                  </a:cubicBezTo>
                  <a:cubicBezTo>
                    <a:pt x="389" y="501"/>
                    <a:pt x="501" y="389"/>
                    <a:pt x="501" y="251"/>
                  </a:cubicBezTo>
                  <a:cubicBezTo>
                    <a:pt x="501" y="112"/>
                    <a:pt x="389" y="0"/>
                    <a:pt x="250" y="0"/>
                  </a:cubicBezTo>
                  <a:close/>
                  <a:moveTo>
                    <a:pt x="455" y="267"/>
                  </a:moveTo>
                  <a:cubicBezTo>
                    <a:pt x="446" y="267"/>
                    <a:pt x="446" y="267"/>
                    <a:pt x="446" y="267"/>
                  </a:cubicBezTo>
                  <a:cubicBezTo>
                    <a:pt x="442" y="315"/>
                    <a:pt x="421" y="358"/>
                    <a:pt x="389" y="390"/>
                  </a:cubicBezTo>
                  <a:cubicBezTo>
                    <a:pt x="357" y="422"/>
                    <a:pt x="315" y="443"/>
                    <a:pt x="267" y="447"/>
                  </a:cubicBezTo>
                  <a:cubicBezTo>
                    <a:pt x="267" y="455"/>
                    <a:pt x="267" y="455"/>
                    <a:pt x="267" y="455"/>
                  </a:cubicBezTo>
                  <a:cubicBezTo>
                    <a:pt x="267" y="464"/>
                    <a:pt x="259" y="471"/>
                    <a:pt x="250" y="471"/>
                  </a:cubicBezTo>
                  <a:cubicBezTo>
                    <a:pt x="241" y="471"/>
                    <a:pt x="234" y="464"/>
                    <a:pt x="234" y="455"/>
                  </a:cubicBezTo>
                  <a:cubicBezTo>
                    <a:pt x="234" y="447"/>
                    <a:pt x="234" y="447"/>
                    <a:pt x="234" y="447"/>
                  </a:cubicBezTo>
                  <a:cubicBezTo>
                    <a:pt x="186" y="443"/>
                    <a:pt x="143" y="422"/>
                    <a:pt x="111" y="390"/>
                  </a:cubicBezTo>
                  <a:cubicBezTo>
                    <a:pt x="79" y="358"/>
                    <a:pt x="58" y="315"/>
                    <a:pt x="54" y="267"/>
                  </a:cubicBezTo>
                  <a:cubicBezTo>
                    <a:pt x="46" y="267"/>
                    <a:pt x="46" y="267"/>
                    <a:pt x="46" y="267"/>
                  </a:cubicBezTo>
                  <a:cubicBezTo>
                    <a:pt x="37" y="267"/>
                    <a:pt x="30" y="260"/>
                    <a:pt x="30" y="251"/>
                  </a:cubicBezTo>
                  <a:cubicBezTo>
                    <a:pt x="30" y="241"/>
                    <a:pt x="37" y="234"/>
                    <a:pt x="46" y="234"/>
                  </a:cubicBezTo>
                  <a:cubicBezTo>
                    <a:pt x="54" y="234"/>
                    <a:pt x="54" y="234"/>
                    <a:pt x="54" y="234"/>
                  </a:cubicBezTo>
                  <a:cubicBezTo>
                    <a:pt x="58" y="186"/>
                    <a:pt x="79" y="143"/>
                    <a:pt x="111" y="111"/>
                  </a:cubicBezTo>
                  <a:cubicBezTo>
                    <a:pt x="143" y="79"/>
                    <a:pt x="186" y="58"/>
                    <a:pt x="234" y="54"/>
                  </a:cubicBezTo>
                  <a:cubicBezTo>
                    <a:pt x="234" y="46"/>
                    <a:pt x="234" y="46"/>
                    <a:pt x="234" y="46"/>
                  </a:cubicBezTo>
                  <a:cubicBezTo>
                    <a:pt x="234" y="37"/>
                    <a:pt x="241" y="30"/>
                    <a:pt x="250" y="30"/>
                  </a:cubicBezTo>
                  <a:cubicBezTo>
                    <a:pt x="259" y="30"/>
                    <a:pt x="267" y="37"/>
                    <a:pt x="267" y="46"/>
                  </a:cubicBezTo>
                  <a:cubicBezTo>
                    <a:pt x="267" y="54"/>
                    <a:pt x="267" y="54"/>
                    <a:pt x="267" y="54"/>
                  </a:cubicBezTo>
                  <a:cubicBezTo>
                    <a:pt x="315" y="58"/>
                    <a:pt x="357" y="79"/>
                    <a:pt x="389" y="111"/>
                  </a:cubicBezTo>
                  <a:cubicBezTo>
                    <a:pt x="421" y="143"/>
                    <a:pt x="442" y="186"/>
                    <a:pt x="446" y="234"/>
                  </a:cubicBezTo>
                  <a:cubicBezTo>
                    <a:pt x="455" y="234"/>
                    <a:pt x="455" y="234"/>
                    <a:pt x="455" y="234"/>
                  </a:cubicBezTo>
                  <a:cubicBezTo>
                    <a:pt x="464" y="234"/>
                    <a:pt x="471" y="241"/>
                    <a:pt x="471" y="251"/>
                  </a:cubicBezTo>
                  <a:cubicBezTo>
                    <a:pt x="471" y="260"/>
                    <a:pt x="464" y="267"/>
                    <a:pt x="455" y="26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69" name="Freeform 46"/>
            <p:cNvSpPr/>
            <p:nvPr/>
          </p:nvSpPr>
          <p:spPr bwMode="auto">
            <a:xfrm>
              <a:off x="966788" y="3043238"/>
              <a:ext cx="96838" cy="117475"/>
            </a:xfrm>
            <a:custGeom>
              <a:avLst/>
              <a:gdLst>
                <a:gd name="T0" fmla="*/ 16 w 33"/>
                <a:gd name="T1" fmla="*/ 40 h 40"/>
                <a:gd name="T2" fmla="*/ 33 w 33"/>
                <a:gd name="T3" fmla="*/ 24 h 40"/>
                <a:gd name="T4" fmla="*/ 33 w 33"/>
                <a:gd name="T5" fmla="*/ 0 h 40"/>
                <a:gd name="T6" fmla="*/ 16 w 33"/>
                <a:gd name="T7" fmla="*/ 0 h 40"/>
                <a:gd name="T8" fmla="*/ 0 w 33"/>
                <a:gd name="T9" fmla="*/ 0 h 40"/>
                <a:gd name="T10" fmla="*/ 0 w 33"/>
                <a:gd name="T11" fmla="*/ 24 h 40"/>
                <a:gd name="T12" fmla="*/ 16 w 33"/>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3" h="40">
                  <a:moveTo>
                    <a:pt x="16" y="40"/>
                  </a:moveTo>
                  <a:cubicBezTo>
                    <a:pt x="25" y="40"/>
                    <a:pt x="33" y="33"/>
                    <a:pt x="33" y="24"/>
                  </a:cubicBezTo>
                  <a:cubicBezTo>
                    <a:pt x="33" y="0"/>
                    <a:pt x="33" y="0"/>
                    <a:pt x="33" y="0"/>
                  </a:cubicBezTo>
                  <a:cubicBezTo>
                    <a:pt x="27" y="0"/>
                    <a:pt x="22" y="0"/>
                    <a:pt x="16" y="0"/>
                  </a:cubicBezTo>
                  <a:cubicBezTo>
                    <a:pt x="11" y="0"/>
                    <a:pt x="5" y="0"/>
                    <a:pt x="0" y="0"/>
                  </a:cubicBezTo>
                  <a:cubicBezTo>
                    <a:pt x="0" y="24"/>
                    <a:pt x="0" y="24"/>
                    <a:pt x="0" y="24"/>
                  </a:cubicBezTo>
                  <a:cubicBezTo>
                    <a:pt x="0" y="33"/>
                    <a:pt x="7" y="40"/>
                    <a:pt x="16"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0" name="Freeform 47"/>
            <p:cNvSpPr/>
            <p:nvPr/>
          </p:nvSpPr>
          <p:spPr bwMode="auto">
            <a:xfrm>
              <a:off x="966788" y="4079875"/>
              <a:ext cx="96838" cy="115888"/>
            </a:xfrm>
            <a:custGeom>
              <a:avLst/>
              <a:gdLst>
                <a:gd name="T0" fmla="*/ 16 w 33"/>
                <a:gd name="T1" fmla="*/ 0 h 40"/>
                <a:gd name="T2" fmla="*/ 0 w 33"/>
                <a:gd name="T3" fmla="*/ 17 h 40"/>
                <a:gd name="T4" fmla="*/ 0 w 33"/>
                <a:gd name="T5" fmla="*/ 40 h 40"/>
                <a:gd name="T6" fmla="*/ 16 w 33"/>
                <a:gd name="T7" fmla="*/ 40 h 40"/>
                <a:gd name="T8" fmla="*/ 33 w 33"/>
                <a:gd name="T9" fmla="*/ 40 h 40"/>
                <a:gd name="T10" fmla="*/ 33 w 33"/>
                <a:gd name="T11" fmla="*/ 17 h 40"/>
                <a:gd name="T12" fmla="*/ 16 w 33"/>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33" h="40">
                  <a:moveTo>
                    <a:pt x="16" y="0"/>
                  </a:moveTo>
                  <a:cubicBezTo>
                    <a:pt x="7" y="0"/>
                    <a:pt x="0" y="7"/>
                    <a:pt x="0" y="17"/>
                  </a:cubicBezTo>
                  <a:cubicBezTo>
                    <a:pt x="0" y="40"/>
                    <a:pt x="0" y="40"/>
                    <a:pt x="0" y="40"/>
                  </a:cubicBezTo>
                  <a:cubicBezTo>
                    <a:pt x="5" y="40"/>
                    <a:pt x="11" y="40"/>
                    <a:pt x="16" y="40"/>
                  </a:cubicBezTo>
                  <a:cubicBezTo>
                    <a:pt x="22" y="40"/>
                    <a:pt x="27" y="40"/>
                    <a:pt x="33" y="40"/>
                  </a:cubicBezTo>
                  <a:cubicBezTo>
                    <a:pt x="33" y="17"/>
                    <a:pt x="33" y="17"/>
                    <a:pt x="33" y="17"/>
                  </a:cubicBezTo>
                  <a:cubicBezTo>
                    <a:pt x="33" y="7"/>
                    <a:pt x="25" y="0"/>
                    <a:pt x="1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1" name="Freeform 48"/>
            <p:cNvSpPr/>
            <p:nvPr/>
          </p:nvSpPr>
          <p:spPr bwMode="auto">
            <a:xfrm>
              <a:off x="434976" y="3571875"/>
              <a:ext cx="120650" cy="96838"/>
            </a:xfrm>
            <a:custGeom>
              <a:avLst/>
              <a:gdLst>
                <a:gd name="T0" fmla="*/ 41 w 41"/>
                <a:gd name="T1" fmla="*/ 17 h 33"/>
                <a:gd name="T2" fmla="*/ 24 w 41"/>
                <a:gd name="T3" fmla="*/ 0 h 33"/>
                <a:gd name="T4" fmla="*/ 1 w 41"/>
                <a:gd name="T5" fmla="*/ 0 h 33"/>
                <a:gd name="T6" fmla="*/ 0 w 41"/>
                <a:gd name="T7" fmla="*/ 17 h 33"/>
                <a:gd name="T8" fmla="*/ 1 w 41"/>
                <a:gd name="T9" fmla="*/ 33 h 33"/>
                <a:gd name="T10" fmla="*/ 24 w 41"/>
                <a:gd name="T11" fmla="*/ 33 h 33"/>
                <a:gd name="T12" fmla="*/ 41 w 41"/>
                <a:gd name="T13" fmla="*/ 17 h 33"/>
              </a:gdLst>
              <a:ahLst/>
              <a:cxnLst>
                <a:cxn ang="0">
                  <a:pos x="T0" y="T1"/>
                </a:cxn>
                <a:cxn ang="0">
                  <a:pos x="T2" y="T3"/>
                </a:cxn>
                <a:cxn ang="0">
                  <a:pos x="T4" y="T5"/>
                </a:cxn>
                <a:cxn ang="0">
                  <a:pos x="T6" y="T7"/>
                </a:cxn>
                <a:cxn ang="0">
                  <a:pos x="T8" y="T9"/>
                </a:cxn>
                <a:cxn ang="0">
                  <a:pos x="T10" y="T11"/>
                </a:cxn>
                <a:cxn ang="0">
                  <a:pos x="T12" y="T13"/>
                </a:cxn>
              </a:cxnLst>
              <a:rect l="0" t="0" r="r" b="b"/>
              <a:pathLst>
                <a:path w="41" h="33">
                  <a:moveTo>
                    <a:pt x="41" y="17"/>
                  </a:moveTo>
                  <a:cubicBezTo>
                    <a:pt x="41" y="7"/>
                    <a:pt x="33" y="0"/>
                    <a:pt x="24" y="0"/>
                  </a:cubicBezTo>
                  <a:cubicBezTo>
                    <a:pt x="1" y="0"/>
                    <a:pt x="1" y="0"/>
                    <a:pt x="1" y="0"/>
                  </a:cubicBezTo>
                  <a:cubicBezTo>
                    <a:pt x="1" y="6"/>
                    <a:pt x="0" y="11"/>
                    <a:pt x="0" y="17"/>
                  </a:cubicBezTo>
                  <a:cubicBezTo>
                    <a:pt x="0" y="22"/>
                    <a:pt x="1" y="28"/>
                    <a:pt x="1" y="33"/>
                  </a:cubicBezTo>
                  <a:cubicBezTo>
                    <a:pt x="24" y="33"/>
                    <a:pt x="24" y="33"/>
                    <a:pt x="24" y="33"/>
                  </a:cubicBezTo>
                  <a:cubicBezTo>
                    <a:pt x="33" y="33"/>
                    <a:pt x="41" y="26"/>
                    <a:pt x="41"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2" name="Freeform 49"/>
            <p:cNvSpPr/>
            <p:nvPr/>
          </p:nvSpPr>
          <p:spPr bwMode="auto">
            <a:xfrm>
              <a:off x="1474788" y="3571875"/>
              <a:ext cx="119063" cy="96838"/>
            </a:xfrm>
            <a:custGeom>
              <a:avLst/>
              <a:gdLst>
                <a:gd name="T0" fmla="*/ 39 w 40"/>
                <a:gd name="T1" fmla="*/ 0 h 33"/>
                <a:gd name="T2" fmla="*/ 16 w 40"/>
                <a:gd name="T3" fmla="*/ 0 h 33"/>
                <a:gd name="T4" fmla="*/ 0 w 40"/>
                <a:gd name="T5" fmla="*/ 17 h 33"/>
                <a:gd name="T6" fmla="*/ 16 w 40"/>
                <a:gd name="T7" fmla="*/ 33 h 33"/>
                <a:gd name="T8" fmla="*/ 39 w 40"/>
                <a:gd name="T9" fmla="*/ 33 h 33"/>
                <a:gd name="T10" fmla="*/ 40 w 40"/>
                <a:gd name="T11" fmla="*/ 17 h 33"/>
                <a:gd name="T12" fmla="*/ 39 w 40"/>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40" h="33">
                  <a:moveTo>
                    <a:pt x="39" y="0"/>
                  </a:moveTo>
                  <a:cubicBezTo>
                    <a:pt x="16" y="0"/>
                    <a:pt x="16" y="0"/>
                    <a:pt x="16" y="0"/>
                  </a:cubicBezTo>
                  <a:cubicBezTo>
                    <a:pt x="7" y="0"/>
                    <a:pt x="0" y="7"/>
                    <a:pt x="0" y="17"/>
                  </a:cubicBezTo>
                  <a:cubicBezTo>
                    <a:pt x="0" y="26"/>
                    <a:pt x="7" y="33"/>
                    <a:pt x="16" y="33"/>
                  </a:cubicBezTo>
                  <a:cubicBezTo>
                    <a:pt x="39" y="33"/>
                    <a:pt x="39" y="33"/>
                    <a:pt x="39" y="33"/>
                  </a:cubicBezTo>
                  <a:cubicBezTo>
                    <a:pt x="40" y="28"/>
                    <a:pt x="40" y="22"/>
                    <a:pt x="40" y="17"/>
                  </a:cubicBezTo>
                  <a:cubicBezTo>
                    <a:pt x="40" y="11"/>
                    <a:pt x="40" y="6"/>
                    <a:pt x="39"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3" name="Oval 50"/>
            <p:cNvSpPr>
              <a:spLocks noChangeArrowheads="1"/>
            </p:cNvSpPr>
            <p:nvPr/>
          </p:nvSpPr>
          <p:spPr bwMode="auto">
            <a:xfrm>
              <a:off x="925513" y="3532188"/>
              <a:ext cx="176213" cy="17462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4" name="Freeform 51"/>
            <p:cNvSpPr>
              <a:spLocks noEditPoints="1"/>
            </p:cNvSpPr>
            <p:nvPr/>
          </p:nvSpPr>
          <p:spPr bwMode="auto">
            <a:xfrm>
              <a:off x="652463" y="3254375"/>
              <a:ext cx="723900" cy="730250"/>
            </a:xfrm>
            <a:custGeom>
              <a:avLst/>
              <a:gdLst>
                <a:gd name="T0" fmla="*/ 106 w 246"/>
                <a:gd name="T1" fmla="*/ 86 h 249"/>
                <a:gd name="T2" fmla="*/ 109 w 246"/>
                <a:gd name="T3" fmla="*/ 89 h 249"/>
                <a:gd name="T4" fmla="*/ 123 w 246"/>
                <a:gd name="T5" fmla="*/ 86 h 249"/>
                <a:gd name="T6" fmla="*/ 162 w 246"/>
                <a:gd name="T7" fmla="*/ 125 h 249"/>
                <a:gd name="T8" fmla="*/ 159 w 246"/>
                <a:gd name="T9" fmla="*/ 139 h 249"/>
                <a:gd name="T10" fmla="*/ 162 w 246"/>
                <a:gd name="T11" fmla="*/ 142 h 249"/>
                <a:gd name="T12" fmla="*/ 246 w 246"/>
                <a:gd name="T13" fmla="*/ 0 h 249"/>
                <a:gd name="T14" fmla="*/ 106 w 246"/>
                <a:gd name="T15" fmla="*/ 86 h 249"/>
                <a:gd name="T16" fmla="*/ 123 w 246"/>
                <a:gd name="T17" fmla="*/ 163 h 249"/>
                <a:gd name="T18" fmla="*/ 84 w 246"/>
                <a:gd name="T19" fmla="*/ 125 h 249"/>
                <a:gd name="T20" fmla="*/ 87 w 246"/>
                <a:gd name="T21" fmla="*/ 110 h 249"/>
                <a:gd name="T22" fmla="*/ 85 w 246"/>
                <a:gd name="T23" fmla="*/ 107 h 249"/>
                <a:gd name="T24" fmla="*/ 0 w 246"/>
                <a:gd name="T25" fmla="*/ 249 h 249"/>
                <a:gd name="T26" fmla="*/ 140 w 246"/>
                <a:gd name="T27" fmla="*/ 163 h 249"/>
                <a:gd name="T28" fmla="*/ 138 w 246"/>
                <a:gd name="T29" fmla="*/ 160 h 249"/>
                <a:gd name="T30" fmla="*/ 123 w 246"/>
                <a:gd name="T31" fmla="*/ 16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6" h="249">
                  <a:moveTo>
                    <a:pt x="106" y="86"/>
                  </a:moveTo>
                  <a:cubicBezTo>
                    <a:pt x="109" y="89"/>
                    <a:pt x="109" y="89"/>
                    <a:pt x="109" y="89"/>
                  </a:cubicBezTo>
                  <a:cubicBezTo>
                    <a:pt x="113" y="87"/>
                    <a:pt x="118" y="86"/>
                    <a:pt x="123" y="86"/>
                  </a:cubicBezTo>
                  <a:cubicBezTo>
                    <a:pt x="145" y="86"/>
                    <a:pt x="162" y="103"/>
                    <a:pt x="162" y="125"/>
                  </a:cubicBezTo>
                  <a:cubicBezTo>
                    <a:pt x="162" y="130"/>
                    <a:pt x="161" y="135"/>
                    <a:pt x="159" y="139"/>
                  </a:cubicBezTo>
                  <a:cubicBezTo>
                    <a:pt x="162" y="142"/>
                    <a:pt x="162" y="142"/>
                    <a:pt x="162" y="142"/>
                  </a:cubicBezTo>
                  <a:cubicBezTo>
                    <a:pt x="246" y="0"/>
                    <a:pt x="246" y="0"/>
                    <a:pt x="246" y="0"/>
                  </a:cubicBezTo>
                  <a:lnTo>
                    <a:pt x="106" y="86"/>
                  </a:lnTo>
                  <a:close/>
                  <a:moveTo>
                    <a:pt x="123" y="163"/>
                  </a:moveTo>
                  <a:cubicBezTo>
                    <a:pt x="102" y="163"/>
                    <a:pt x="84" y="146"/>
                    <a:pt x="84" y="125"/>
                  </a:cubicBezTo>
                  <a:cubicBezTo>
                    <a:pt x="84" y="119"/>
                    <a:pt x="86" y="114"/>
                    <a:pt x="87" y="110"/>
                  </a:cubicBezTo>
                  <a:cubicBezTo>
                    <a:pt x="85" y="107"/>
                    <a:pt x="85" y="107"/>
                    <a:pt x="85" y="107"/>
                  </a:cubicBezTo>
                  <a:cubicBezTo>
                    <a:pt x="0" y="249"/>
                    <a:pt x="0" y="249"/>
                    <a:pt x="0" y="249"/>
                  </a:cubicBezTo>
                  <a:cubicBezTo>
                    <a:pt x="140" y="163"/>
                    <a:pt x="140" y="163"/>
                    <a:pt x="140" y="163"/>
                  </a:cubicBezTo>
                  <a:cubicBezTo>
                    <a:pt x="138" y="160"/>
                    <a:pt x="138" y="160"/>
                    <a:pt x="138" y="160"/>
                  </a:cubicBezTo>
                  <a:cubicBezTo>
                    <a:pt x="133" y="162"/>
                    <a:pt x="128" y="163"/>
                    <a:pt x="123" y="16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sp>
          <p:nvSpPr>
            <p:cNvPr id="75" name="Freeform 52"/>
            <p:cNvSpPr/>
            <p:nvPr/>
          </p:nvSpPr>
          <p:spPr bwMode="auto">
            <a:xfrm>
              <a:off x="935038" y="2698750"/>
              <a:ext cx="158750" cy="158750"/>
            </a:xfrm>
            <a:custGeom>
              <a:avLst/>
              <a:gdLst>
                <a:gd name="T0" fmla="*/ 27 w 54"/>
                <a:gd name="T1" fmla="*/ 0 h 54"/>
                <a:gd name="T2" fmla="*/ 0 w 54"/>
                <a:gd name="T3" fmla="*/ 27 h 54"/>
                <a:gd name="T4" fmla="*/ 0 w 54"/>
                <a:gd name="T5" fmla="*/ 54 h 54"/>
                <a:gd name="T6" fmla="*/ 29 w 54"/>
                <a:gd name="T7" fmla="*/ 52 h 54"/>
                <a:gd name="T8" fmla="*/ 29 w 54"/>
                <a:gd name="T9" fmla="*/ 52 h 54"/>
                <a:gd name="T10" fmla="*/ 54 w 54"/>
                <a:gd name="T11" fmla="*/ 53 h 54"/>
                <a:gd name="T12" fmla="*/ 54 w 54"/>
                <a:gd name="T13" fmla="*/ 27 h 54"/>
                <a:gd name="T14" fmla="*/ 27 w 54"/>
                <a:gd name="T15" fmla="*/ 0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4">
                  <a:moveTo>
                    <a:pt x="27" y="0"/>
                  </a:moveTo>
                  <a:cubicBezTo>
                    <a:pt x="12" y="0"/>
                    <a:pt x="0" y="12"/>
                    <a:pt x="0" y="27"/>
                  </a:cubicBezTo>
                  <a:cubicBezTo>
                    <a:pt x="0" y="54"/>
                    <a:pt x="0" y="54"/>
                    <a:pt x="0" y="54"/>
                  </a:cubicBezTo>
                  <a:cubicBezTo>
                    <a:pt x="10" y="53"/>
                    <a:pt x="19" y="52"/>
                    <a:pt x="29" y="52"/>
                  </a:cubicBezTo>
                  <a:cubicBezTo>
                    <a:pt x="29" y="52"/>
                    <a:pt x="29" y="52"/>
                    <a:pt x="29" y="52"/>
                  </a:cubicBezTo>
                  <a:cubicBezTo>
                    <a:pt x="38" y="52"/>
                    <a:pt x="46" y="52"/>
                    <a:pt x="54" y="53"/>
                  </a:cubicBezTo>
                  <a:cubicBezTo>
                    <a:pt x="54" y="27"/>
                    <a:pt x="54" y="27"/>
                    <a:pt x="54" y="27"/>
                  </a:cubicBezTo>
                  <a:cubicBezTo>
                    <a:pt x="54" y="12"/>
                    <a:pt x="42" y="0"/>
                    <a:pt x="2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88" tIns="60944" rIns="121888" bIns="60944" numCol="1" anchor="t" anchorCtr="0" compatLnSpc="1"/>
            <a:lstStyle/>
            <a:p>
              <a:endParaRPr lang="zh-CN" altLang="en-US" sz="2400"/>
            </a:p>
          </p:txBody>
        </p:sp>
      </p:grpSp>
      <p:grpSp>
        <p:nvGrpSpPr>
          <p:cNvPr id="76" name="Group 93"/>
          <p:cNvGrpSpPr/>
          <p:nvPr/>
        </p:nvGrpSpPr>
        <p:grpSpPr>
          <a:xfrm>
            <a:off x="541760" y="3246386"/>
            <a:ext cx="1792414" cy="1408478"/>
            <a:chOff x="138498" y="3002145"/>
            <a:chExt cx="1821339" cy="1437685"/>
          </a:xfrm>
        </p:grpSpPr>
        <p:sp>
          <p:nvSpPr>
            <p:cNvPr id="77" name="椭圆 10"/>
            <p:cNvSpPr/>
            <p:nvPr/>
          </p:nvSpPr>
          <p:spPr>
            <a:xfrm>
              <a:off x="138498" y="3248582"/>
              <a:ext cx="349697" cy="349697"/>
            </a:xfrm>
            <a:prstGeom prst="ellipse">
              <a:avLst/>
            </a:prstGeom>
            <a:solidFill>
              <a:srgbClr val="00A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微软雅黑" panose="020B0503020204020204" pitchFamily="34" charset="-122"/>
                  <a:ea typeface="微软雅黑" panose="020B0503020204020204" pitchFamily="34" charset="-122"/>
                </a:rPr>
                <a:t>1</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78" name="文本框 11"/>
            <p:cNvSpPr txBox="1"/>
            <p:nvPr/>
          </p:nvSpPr>
          <p:spPr>
            <a:xfrm>
              <a:off x="536812" y="3002145"/>
              <a:ext cx="1282248" cy="314159"/>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79" name="矩形 9"/>
            <p:cNvSpPr/>
            <p:nvPr/>
          </p:nvSpPr>
          <p:spPr>
            <a:xfrm>
              <a:off x="484796" y="3271159"/>
              <a:ext cx="1475041" cy="1168671"/>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80" name="Group 105"/>
          <p:cNvGrpSpPr/>
          <p:nvPr/>
        </p:nvGrpSpPr>
        <p:grpSpPr>
          <a:xfrm>
            <a:off x="2650119" y="3223735"/>
            <a:ext cx="1792414" cy="1408478"/>
            <a:chOff x="138498" y="3002145"/>
            <a:chExt cx="1821339" cy="1437685"/>
          </a:xfrm>
        </p:grpSpPr>
        <p:sp>
          <p:nvSpPr>
            <p:cNvPr id="81" name="椭圆 10"/>
            <p:cNvSpPr/>
            <p:nvPr/>
          </p:nvSpPr>
          <p:spPr>
            <a:xfrm>
              <a:off x="138498" y="324858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微软雅黑" panose="020B0503020204020204" pitchFamily="34" charset="-122"/>
                  <a:ea typeface="微软雅黑" panose="020B0503020204020204" pitchFamily="34" charset="-122"/>
                </a:rPr>
                <a:t>2</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82" name="文本框 11"/>
            <p:cNvSpPr txBox="1"/>
            <p:nvPr/>
          </p:nvSpPr>
          <p:spPr>
            <a:xfrm>
              <a:off x="536812" y="3002145"/>
              <a:ext cx="1282248" cy="314159"/>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83" name="矩形 9"/>
            <p:cNvSpPr/>
            <p:nvPr/>
          </p:nvSpPr>
          <p:spPr>
            <a:xfrm>
              <a:off x="484796" y="3271159"/>
              <a:ext cx="1475041" cy="1168671"/>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84" name="Group 109"/>
          <p:cNvGrpSpPr/>
          <p:nvPr/>
        </p:nvGrpSpPr>
        <p:grpSpPr>
          <a:xfrm>
            <a:off x="4578727" y="3201084"/>
            <a:ext cx="1792414" cy="1408478"/>
            <a:chOff x="138498" y="3002145"/>
            <a:chExt cx="1821339" cy="1437685"/>
          </a:xfrm>
        </p:grpSpPr>
        <p:sp>
          <p:nvSpPr>
            <p:cNvPr id="85" name="椭圆 10"/>
            <p:cNvSpPr/>
            <p:nvPr/>
          </p:nvSpPr>
          <p:spPr>
            <a:xfrm>
              <a:off x="138498" y="324858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微软雅黑" panose="020B0503020204020204" pitchFamily="34" charset="-122"/>
                  <a:ea typeface="微软雅黑" panose="020B0503020204020204" pitchFamily="34" charset="-122"/>
                </a:rPr>
                <a:t>3</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86" name="文本框 11"/>
            <p:cNvSpPr txBox="1"/>
            <p:nvPr/>
          </p:nvSpPr>
          <p:spPr>
            <a:xfrm>
              <a:off x="536812" y="3002145"/>
              <a:ext cx="1282248" cy="314159"/>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87" name="矩形 9"/>
            <p:cNvSpPr/>
            <p:nvPr/>
          </p:nvSpPr>
          <p:spPr>
            <a:xfrm>
              <a:off x="484796" y="3271159"/>
              <a:ext cx="1475041" cy="1168671"/>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88" name="Group 113"/>
          <p:cNvGrpSpPr/>
          <p:nvPr/>
        </p:nvGrpSpPr>
        <p:grpSpPr>
          <a:xfrm>
            <a:off x="6450524" y="3178432"/>
            <a:ext cx="1792414" cy="1408478"/>
            <a:chOff x="138498" y="3002145"/>
            <a:chExt cx="1821339" cy="1437685"/>
          </a:xfrm>
        </p:grpSpPr>
        <p:sp>
          <p:nvSpPr>
            <p:cNvPr id="89" name="椭圆 10"/>
            <p:cNvSpPr/>
            <p:nvPr/>
          </p:nvSpPr>
          <p:spPr>
            <a:xfrm>
              <a:off x="138498" y="3248582"/>
              <a:ext cx="349697" cy="349697"/>
            </a:xfrm>
            <a:prstGeom prst="ellipse">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bg1"/>
                  </a:solidFill>
                  <a:latin typeface="微软雅黑" panose="020B0503020204020204" pitchFamily="34" charset="-122"/>
                  <a:ea typeface="微软雅黑" panose="020B0503020204020204" pitchFamily="34" charset="-122"/>
                </a:rPr>
                <a:t>4</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90" name="文本框 11"/>
            <p:cNvSpPr txBox="1"/>
            <p:nvPr/>
          </p:nvSpPr>
          <p:spPr>
            <a:xfrm>
              <a:off x="536812" y="3002145"/>
              <a:ext cx="1282248" cy="314159"/>
            </a:xfrm>
            <a:prstGeom prst="rect">
              <a:avLst/>
            </a:prstGeom>
            <a:noFill/>
          </p:spPr>
          <p:txBody>
            <a:bodyPr wrap="none" rtlCol="0">
              <a:spAutoFit/>
            </a:bodyPr>
            <a:lstStyle/>
            <a:p>
              <a:pPr algn="l"/>
              <a:r>
                <a:rPr lang="zh-CN" altLang="en-US" sz="1400" dirty="0">
                  <a:solidFill>
                    <a:srgbClr val="00A4E3"/>
                  </a:solidFill>
                  <a:latin typeface="微软雅黑" panose="020B0503020204020204" pitchFamily="34" charset="-122"/>
                  <a:ea typeface="微软雅黑" panose="020B0503020204020204" pitchFamily="34" charset="-122"/>
                </a:rPr>
                <a:t>点击添加标题</a:t>
              </a:r>
              <a:endParaRPr lang="en-US" altLang="zh-CN" sz="1400" dirty="0">
                <a:solidFill>
                  <a:srgbClr val="00A4E3"/>
                </a:solidFill>
                <a:latin typeface="微软雅黑" panose="020B0503020204020204" pitchFamily="34" charset="-122"/>
                <a:ea typeface="微软雅黑" panose="020B0503020204020204" pitchFamily="34" charset="-122"/>
              </a:endParaRPr>
            </a:p>
          </p:txBody>
        </p:sp>
        <p:sp>
          <p:nvSpPr>
            <p:cNvPr id="91" name="矩形 9"/>
            <p:cNvSpPr/>
            <p:nvPr/>
          </p:nvSpPr>
          <p:spPr>
            <a:xfrm>
              <a:off x="484796" y="3271159"/>
              <a:ext cx="1475041" cy="1168671"/>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sp>
        <p:nvSpPr>
          <p:cNvPr id="92" name="平行四边形 91"/>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3" name="平行四边形 92"/>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4" name="平行四边形 93"/>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5" name="平行四边形 94"/>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96" name="直接连接符 95"/>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7"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98" name="Group 7"/>
          <p:cNvGrpSpPr/>
          <p:nvPr/>
        </p:nvGrpSpPr>
        <p:grpSpPr bwMode="auto">
          <a:xfrm>
            <a:off x="180202" y="181952"/>
            <a:ext cx="216018" cy="113981"/>
            <a:chOff x="0" y="0"/>
            <a:chExt cx="1041399" cy="549275"/>
          </a:xfrm>
          <a:solidFill>
            <a:srgbClr val="133E73"/>
          </a:solidFill>
        </p:grpSpPr>
        <p:sp>
          <p:nvSpPr>
            <p:cNvPr id="99"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0"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01"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pic>
        <p:nvPicPr>
          <p:cNvPr id="3" name="611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268377" y="-1568065"/>
            <a:ext cx="1008084" cy="1008084"/>
          </a:xfrm>
          <a:prstGeom prst="rect">
            <a:avLst/>
          </a:prstGeom>
        </p:spPr>
      </p:pic>
    </p:spTree>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98"/>
                                        </p:tgtEl>
                                        <p:attrNameLst>
                                          <p:attrName>style.visibility</p:attrName>
                                        </p:attrNameLst>
                                      </p:cBhvr>
                                      <p:to>
                                        <p:strVal val="visible"/>
                                      </p:to>
                                    </p:set>
                                    <p:anim calcmode="lin" valueType="num">
                                      <p:cBhvr additive="base">
                                        <p:cTn id="7" dur="500" fill="hold"/>
                                        <p:tgtEl>
                                          <p:spTgt spid="98"/>
                                        </p:tgtEl>
                                        <p:attrNameLst>
                                          <p:attrName>ppt_x</p:attrName>
                                        </p:attrNameLst>
                                      </p:cBhvr>
                                      <p:tavLst>
                                        <p:tav tm="0">
                                          <p:val>
                                            <p:strVal val="0-#ppt_w/2"/>
                                          </p:val>
                                        </p:tav>
                                        <p:tav tm="100000">
                                          <p:val>
                                            <p:strVal val="#ppt_x"/>
                                          </p:val>
                                        </p:tav>
                                      </p:tavLst>
                                    </p:anim>
                                    <p:anim calcmode="lin" valueType="num">
                                      <p:cBhvr additive="base">
                                        <p:cTn id="8" dur="500" fill="hold"/>
                                        <p:tgtEl>
                                          <p:spTgt spid="98"/>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97"/>
                                        </p:tgtEl>
                                        <p:attrNameLst>
                                          <p:attrName>style.visibility</p:attrName>
                                        </p:attrNameLst>
                                      </p:cBhvr>
                                      <p:to>
                                        <p:strVal val="visible"/>
                                      </p:to>
                                    </p:set>
                                    <p:anim calcmode="lin" valueType="num">
                                      <p:cBhvr>
                                        <p:cTn id="12" dur="500" fill="hold"/>
                                        <p:tgtEl>
                                          <p:spTgt spid="97"/>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97"/>
                                        </p:tgtEl>
                                        <p:attrNameLst>
                                          <p:attrName>ppt_y</p:attrName>
                                        </p:attrNameLst>
                                      </p:cBhvr>
                                      <p:tavLst>
                                        <p:tav tm="0">
                                          <p:val>
                                            <p:strVal val="#ppt_y"/>
                                          </p:val>
                                        </p:tav>
                                        <p:tav tm="100000">
                                          <p:val>
                                            <p:strVal val="#ppt_y"/>
                                          </p:val>
                                        </p:tav>
                                      </p:tavLst>
                                    </p:anim>
                                    <p:anim calcmode="lin" valueType="num">
                                      <p:cBhvr>
                                        <p:cTn id="14" dur="500" fill="hold"/>
                                        <p:tgtEl>
                                          <p:spTgt spid="97"/>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97"/>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97"/>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94"/>
                                        </p:tgtEl>
                                        <p:attrNameLst>
                                          <p:attrName>fillcolor</p:attrName>
                                        </p:attrNameLst>
                                      </p:cBhvr>
                                      <p:to>
                                        <a:srgbClr val="00AEEF"/>
                                      </p:to>
                                    </p:animClr>
                                    <p:set>
                                      <p:cBhvr>
                                        <p:cTn id="20" dur="300" fill="hold"/>
                                        <p:tgtEl>
                                          <p:spTgt spid="94"/>
                                        </p:tgtEl>
                                        <p:attrNameLst>
                                          <p:attrName>fill.type</p:attrName>
                                        </p:attrNameLst>
                                      </p:cBhvr>
                                      <p:to>
                                        <p:strVal val="solid"/>
                                      </p:to>
                                    </p:set>
                                    <p:set>
                                      <p:cBhvr>
                                        <p:cTn id="21" dur="300" fill="hold"/>
                                        <p:tgtEl>
                                          <p:spTgt spid="94"/>
                                        </p:tgtEl>
                                        <p:attrNameLst>
                                          <p:attrName>fill.on</p:attrName>
                                        </p:attrNameLst>
                                      </p:cBhvr>
                                      <p:to>
                                        <p:strVal val="true"/>
                                      </p:to>
                                    </p:set>
                                  </p:childTnLst>
                                </p:cTn>
                              </p:par>
                            </p:childTnLst>
                          </p:cTn>
                        </p:par>
                        <p:par>
                          <p:cTn id="22" fill="hold">
                            <p:stCondLst>
                              <p:cond delay="1799"/>
                            </p:stCondLst>
                            <p:childTnLst>
                              <p:par>
                                <p:cTn id="23" presetID="29" presetClass="entr" presetSubtype="0" fill="hold" nodeType="after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p:cTn id="25" dur="1000" fill="hold"/>
                                        <p:tgtEl>
                                          <p:spTgt spid="22"/>
                                        </p:tgtEl>
                                        <p:attrNameLst>
                                          <p:attrName>ppt_x</p:attrName>
                                        </p:attrNameLst>
                                      </p:cBhvr>
                                      <p:tavLst>
                                        <p:tav tm="0">
                                          <p:val>
                                            <p:strVal val="#ppt_x-.2"/>
                                          </p:val>
                                        </p:tav>
                                        <p:tav tm="100000">
                                          <p:val>
                                            <p:strVal val="#ppt_x"/>
                                          </p:val>
                                        </p:tav>
                                      </p:tavLst>
                                    </p:anim>
                                    <p:anim calcmode="lin" valueType="num">
                                      <p:cBhvr>
                                        <p:cTn id="26" dur="1000" fill="hold"/>
                                        <p:tgtEl>
                                          <p:spTgt spid="22"/>
                                        </p:tgtEl>
                                        <p:attrNameLst>
                                          <p:attrName>ppt_y</p:attrName>
                                        </p:attrNameLst>
                                      </p:cBhvr>
                                      <p:tavLst>
                                        <p:tav tm="0">
                                          <p:val>
                                            <p:strVal val="#ppt_y"/>
                                          </p:val>
                                        </p:tav>
                                        <p:tav tm="100000">
                                          <p:val>
                                            <p:strVal val="#ppt_y"/>
                                          </p:val>
                                        </p:tav>
                                      </p:tavLst>
                                    </p:anim>
                                    <p:animEffect transition="in" filter="wipe(right)" prLst="gradientSize: 0.1">
                                      <p:cBhvr>
                                        <p:cTn id="27" dur="1000"/>
                                        <p:tgtEl>
                                          <p:spTgt spid="22"/>
                                        </p:tgtEl>
                                      </p:cBhvr>
                                    </p:animEffect>
                                  </p:childTnLst>
                                </p:cTn>
                              </p:par>
                            </p:childTnLst>
                          </p:cTn>
                        </p:par>
                        <p:par>
                          <p:cTn id="28" fill="hold">
                            <p:stCondLst>
                              <p:cond delay="2799"/>
                            </p:stCondLst>
                            <p:childTnLst>
                              <p:par>
                                <p:cTn id="29" presetID="29" presetClass="entr" presetSubtype="0" fill="hold" nodeType="afterEffect">
                                  <p:stCondLst>
                                    <p:cond delay="0"/>
                                  </p:stCondLst>
                                  <p:childTnLst>
                                    <p:set>
                                      <p:cBhvr>
                                        <p:cTn id="30" dur="1" fill="hold">
                                          <p:stCondLst>
                                            <p:cond delay="0"/>
                                          </p:stCondLst>
                                        </p:cTn>
                                        <p:tgtEl>
                                          <p:spTgt spid="19"/>
                                        </p:tgtEl>
                                        <p:attrNameLst>
                                          <p:attrName>style.visibility</p:attrName>
                                        </p:attrNameLst>
                                      </p:cBhvr>
                                      <p:to>
                                        <p:strVal val="visible"/>
                                      </p:to>
                                    </p:set>
                                    <p:anim calcmode="lin" valueType="num">
                                      <p:cBhvr>
                                        <p:cTn id="31" dur="1000" fill="hold"/>
                                        <p:tgtEl>
                                          <p:spTgt spid="19"/>
                                        </p:tgtEl>
                                        <p:attrNameLst>
                                          <p:attrName>ppt_x</p:attrName>
                                        </p:attrNameLst>
                                      </p:cBhvr>
                                      <p:tavLst>
                                        <p:tav tm="0">
                                          <p:val>
                                            <p:strVal val="#ppt_x-.2"/>
                                          </p:val>
                                        </p:tav>
                                        <p:tav tm="100000">
                                          <p:val>
                                            <p:strVal val="#ppt_x"/>
                                          </p:val>
                                        </p:tav>
                                      </p:tavLst>
                                    </p:anim>
                                    <p:anim calcmode="lin" valueType="num">
                                      <p:cBhvr>
                                        <p:cTn id="32" dur="1000" fill="hold"/>
                                        <p:tgtEl>
                                          <p:spTgt spid="19"/>
                                        </p:tgtEl>
                                        <p:attrNameLst>
                                          <p:attrName>ppt_y</p:attrName>
                                        </p:attrNameLst>
                                      </p:cBhvr>
                                      <p:tavLst>
                                        <p:tav tm="0">
                                          <p:val>
                                            <p:strVal val="#ppt_y"/>
                                          </p:val>
                                        </p:tav>
                                        <p:tav tm="100000">
                                          <p:val>
                                            <p:strVal val="#ppt_y"/>
                                          </p:val>
                                        </p:tav>
                                      </p:tavLst>
                                    </p:anim>
                                    <p:animEffect transition="in" filter="wipe(right)" prLst="gradientSize: 0.1">
                                      <p:cBhvr>
                                        <p:cTn id="33" dur="1000"/>
                                        <p:tgtEl>
                                          <p:spTgt spid="19"/>
                                        </p:tgtEl>
                                      </p:cBhvr>
                                    </p:animEffect>
                                  </p:childTnLst>
                                </p:cTn>
                              </p:par>
                            </p:childTnLst>
                          </p:cTn>
                        </p:par>
                        <p:par>
                          <p:cTn id="34" fill="hold">
                            <p:stCondLst>
                              <p:cond delay="3799"/>
                            </p:stCondLst>
                            <p:childTnLst>
                              <p:par>
                                <p:cTn id="35" presetID="29" presetClass="entr" presetSubtype="0" fill="hold" nodeType="afterEffect">
                                  <p:stCondLst>
                                    <p:cond delay="0"/>
                                  </p:stCondLst>
                                  <p:childTnLst>
                                    <p:set>
                                      <p:cBhvr>
                                        <p:cTn id="36" dur="1" fill="hold">
                                          <p:stCondLst>
                                            <p:cond delay="0"/>
                                          </p:stCondLst>
                                        </p:cTn>
                                        <p:tgtEl>
                                          <p:spTgt spid="26"/>
                                        </p:tgtEl>
                                        <p:attrNameLst>
                                          <p:attrName>style.visibility</p:attrName>
                                        </p:attrNameLst>
                                      </p:cBhvr>
                                      <p:to>
                                        <p:strVal val="visible"/>
                                      </p:to>
                                    </p:set>
                                    <p:anim calcmode="lin" valueType="num">
                                      <p:cBhvr>
                                        <p:cTn id="37" dur="1000" fill="hold"/>
                                        <p:tgtEl>
                                          <p:spTgt spid="26"/>
                                        </p:tgtEl>
                                        <p:attrNameLst>
                                          <p:attrName>ppt_x</p:attrName>
                                        </p:attrNameLst>
                                      </p:cBhvr>
                                      <p:tavLst>
                                        <p:tav tm="0">
                                          <p:val>
                                            <p:strVal val="#ppt_x-.2"/>
                                          </p:val>
                                        </p:tav>
                                        <p:tav tm="100000">
                                          <p:val>
                                            <p:strVal val="#ppt_x"/>
                                          </p:val>
                                        </p:tav>
                                      </p:tavLst>
                                    </p:anim>
                                    <p:anim calcmode="lin" valueType="num">
                                      <p:cBhvr>
                                        <p:cTn id="38" dur="1000" fill="hold"/>
                                        <p:tgtEl>
                                          <p:spTgt spid="26"/>
                                        </p:tgtEl>
                                        <p:attrNameLst>
                                          <p:attrName>ppt_y</p:attrName>
                                        </p:attrNameLst>
                                      </p:cBhvr>
                                      <p:tavLst>
                                        <p:tav tm="0">
                                          <p:val>
                                            <p:strVal val="#ppt_y"/>
                                          </p:val>
                                        </p:tav>
                                        <p:tav tm="100000">
                                          <p:val>
                                            <p:strVal val="#ppt_y"/>
                                          </p:val>
                                        </p:tav>
                                      </p:tavLst>
                                    </p:anim>
                                    <p:animEffect transition="in" filter="wipe(right)" prLst="gradientSize: 0.1">
                                      <p:cBhvr>
                                        <p:cTn id="39" dur="1000"/>
                                        <p:tgtEl>
                                          <p:spTgt spid="26"/>
                                        </p:tgtEl>
                                      </p:cBhvr>
                                    </p:animEffect>
                                  </p:childTnLst>
                                </p:cTn>
                              </p:par>
                              <p:par>
                                <p:cTn id="40" presetID="29" presetClass="entr" presetSubtype="0" fill="hold" nodeType="withEffect">
                                  <p:stCondLst>
                                    <p:cond delay="0"/>
                                  </p:stCondLst>
                                  <p:childTnLst>
                                    <p:set>
                                      <p:cBhvr>
                                        <p:cTn id="41" dur="1" fill="hold">
                                          <p:stCondLst>
                                            <p:cond delay="0"/>
                                          </p:stCondLst>
                                        </p:cTn>
                                        <p:tgtEl>
                                          <p:spTgt spid="20"/>
                                        </p:tgtEl>
                                        <p:attrNameLst>
                                          <p:attrName>style.visibility</p:attrName>
                                        </p:attrNameLst>
                                      </p:cBhvr>
                                      <p:to>
                                        <p:strVal val="visible"/>
                                      </p:to>
                                    </p:set>
                                    <p:anim calcmode="lin" valueType="num">
                                      <p:cBhvr>
                                        <p:cTn id="42" dur="1000" fill="hold"/>
                                        <p:tgtEl>
                                          <p:spTgt spid="20"/>
                                        </p:tgtEl>
                                        <p:attrNameLst>
                                          <p:attrName>ppt_x</p:attrName>
                                        </p:attrNameLst>
                                      </p:cBhvr>
                                      <p:tavLst>
                                        <p:tav tm="0">
                                          <p:val>
                                            <p:strVal val="#ppt_x-.2"/>
                                          </p:val>
                                        </p:tav>
                                        <p:tav tm="100000">
                                          <p:val>
                                            <p:strVal val="#ppt_x"/>
                                          </p:val>
                                        </p:tav>
                                      </p:tavLst>
                                    </p:anim>
                                    <p:anim calcmode="lin" valueType="num">
                                      <p:cBhvr>
                                        <p:cTn id="43" dur="1000" fill="hold"/>
                                        <p:tgtEl>
                                          <p:spTgt spid="20"/>
                                        </p:tgtEl>
                                        <p:attrNameLst>
                                          <p:attrName>ppt_y</p:attrName>
                                        </p:attrNameLst>
                                      </p:cBhvr>
                                      <p:tavLst>
                                        <p:tav tm="0">
                                          <p:val>
                                            <p:strVal val="#ppt_y"/>
                                          </p:val>
                                        </p:tav>
                                        <p:tav tm="100000">
                                          <p:val>
                                            <p:strVal val="#ppt_y"/>
                                          </p:val>
                                        </p:tav>
                                      </p:tavLst>
                                    </p:anim>
                                    <p:animEffect transition="in" filter="wipe(right)" prLst="gradientSize: 0.1">
                                      <p:cBhvr>
                                        <p:cTn id="44" dur="1000"/>
                                        <p:tgtEl>
                                          <p:spTgt spid="20"/>
                                        </p:tgtEl>
                                      </p:cBhvr>
                                    </p:animEffect>
                                  </p:childTnLst>
                                </p:cTn>
                              </p:par>
                            </p:childTnLst>
                          </p:cTn>
                        </p:par>
                        <p:par>
                          <p:cTn id="45" fill="hold">
                            <p:stCondLst>
                              <p:cond delay="4799"/>
                            </p:stCondLst>
                            <p:childTnLst>
                              <p:par>
                                <p:cTn id="46" presetID="29" presetClass="entr" presetSubtype="0" fill="hold" nodeType="afterEffect">
                                  <p:stCondLst>
                                    <p:cond delay="0"/>
                                  </p:stCondLst>
                                  <p:childTnLst>
                                    <p:set>
                                      <p:cBhvr>
                                        <p:cTn id="47" dur="1" fill="hold">
                                          <p:stCondLst>
                                            <p:cond delay="0"/>
                                          </p:stCondLst>
                                        </p:cTn>
                                        <p:tgtEl>
                                          <p:spTgt spid="31"/>
                                        </p:tgtEl>
                                        <p:attrNameLst>
                                          <p:attrName>style.visibility</p:attrName>
                                        </p:attrNameLst>
                                      </p:cBhvr>
                                      <p:to>
                                        <p:strVal val="visible"/>
                                      </p:to>
                                    </p:set>
                                    <p:anim calcmode="lin" valueType="num">
                                      <p:cBhvr>
                                        <p:cTn id="48" dur="1000" fill="hold"/>
                                        <p:tgtEl>
                                          <p:spTgt spid="31"/>
                                        </p:tgtEl>
                                        <p:attrNameLst>
                                          <p:attrName>ppt_x</p:attrName>
                                        </p:attrNameLst>
                                      </p:cBhvr>
                                      <p:tavLst>
                                        <p:tav tm="0">
                                          <p:val>
                                            <p:strVal val="#ppt_x-.2"/>
                                          </p:val>
                                        </p:tav>
                                        <p:tav tm="100000">
                                          <p:val>
                                            <p:strVal val="#ppt_x"/>
                                          </p:val>
                                        </p:tav>
                                      </p:tavLst>
                                    </p:anim>
                                    <p:anim calcmode="lin" valueType="num">
                                      <p:cBhvr>
                                        <p:cTn id="49" dur="1000" fill="hold"/>
                                        <p:tgtEl>
                                          <p:spTgt spid="31"/>
                                        </p:tgtEl>
                                        <p:attrNameLst>
                                          <p:attrName>ppt_y</p:attrName>
                                        </p:attrNameLst>
                                      </p:cBhvr>
                                      <p:tavLst>
                                        <p:tav tm="0">
                                          <p:val>
                                            <p:strVal val="#ppt_y"/>
                                          </p:val>
                                        </p:tav>
                                        <p:tav tm="100000">
                                          <p:val>
                                            <p:strVal val="#ppt_y"/>
                                          </p:val>
                                        </p:tav>
                                      </p:tavLst>
                                    </p:anim>
                                    <p:animEffect transition="in" filter="wipe(right)" prLst="gradientSize: 0.1">
                                      <p:cBhvr>
                                        <p:cTn id="50" dur="1000"/>
                                        <p:tgtEl>
                                          <p:spTgt spid="31"/>
                                        </p:tgtEl>
                                      </p:cBhvr>
                                    </p:animEffect>
                                  </p:childTnLst>
                                </p:cTn>
                              </p:par>
                              <p:par>
                                <p:cTn id="51" presetID="29" presetClass="entr" presetSubtype="0" fill="hold" nodeType="withEffect">
                                  <p:stCondLst>
                                    <p:cond delay="0"/>
                                  </p:stCondLst>
                                  <p:childTnLst>
                                    <p:set>
                                      <p:cBhvr>
                                        <p:cTn id="52" dur="1" fill="hold">
                                          <p:stCondLst>
                                            <p:cond delay="0"/>
                                          </p:stCondLst>
                                        </p:cTn>
                                        <p:tgtEl>
                                          <p:spTgt spid="21"/>
                                        </p:tgtEl>
                                        <p:attrNameLst>
                                          <p:attrName>style.visibility</p:attrName>
                                        </p:attrNameLst>
                                      </p:cBhvr>
                                      <p:to>
                                        <p:strVal val="visible"/>
                                      </p:to>
                                    </p:set>
                                    <p:anim calcmode="lin" valueType="num">
                                      <p:cBhvr>
                                        <p:cTn id="53" dur="1000" fill="hold"/>
                                        <p:tgtEl>
                                          <p:spTgt spid="21"/>
                                        </p:tgtEl>
                                        <p:attrNameLst>
                                          <p:attrName>ppt_x</p:attrName>
                                        </p:attrNameLst>
                                      </p:cBhvr>
                                      <p:tavLst>
                                        <p:tav tm="0">
                                          <p:val>
                                            <p:strVal val="#ppt_x-.2"/>
                                          </p:val>
                                        </p:tav>
                                        <p:tav tm="100000">
                                          <p:val>
                                            <p:strVal val="#ppt_x"/>
                                          </p:val>
                                        </p:tav>
                                      </p:tavLst>
                                    </p:anim>
                                    <p:anim calcmode="lin" valueType="num">
                                      <p:cBhvr>
                                        <p:cTn id="54" dur="1000" fill="hold"/>
                                        <p:tgtEl>
                                          <p:spTgt spid="21"/>
                                        </p:tgtEl>
                                        <p:attrNameLst>
                                          <p:attrName>ppt_y</p:attrName>
                                        </p:attrNameLst>
                                      </p:cBhvr>
                                      <p:tavLst>
                                        <p:tav tm="0">
                                          <p:val>
                                            <p:strVal val="#ppt_y"/>
                                          </p:val>
                                        </p:tav>
                                        <p:tav tm="100000">
                                          <p:val>
                                            <p:strVal val="#ppt_y"/>
                                          </p:val>
                                        </p:tav>
                                      </p:tavLst>
                                    </p:anim>
                                    <p:animEffect transition="in" filter="wipe(right)" prLst="gradientSize: 0.1">
                                      <p:cBhvr>
                                        <p:cTn id="55" dur="1000"/>
                                        <p:tgtEl>
                                          <p:spTgt spid="21"/>
                                        </p:tgtEl>
                                      </p:cBhvr>
                                    </p:animEffect>
                                  </p:childTnLst>
                                </p:cTn>
                              </p:par>
                            </p:childTnLst>
                          </p:cTn>
                        </p:par>
                        <p:par>
                          <p:cTn id="56" fill="hold">
                            <p:stCondLst>
                              <p:cond delay="5799"/>
                            </p:stCondLst>
                            <p:childTnLst>
                              <p:par>
                                <p:cTn id="57" presetID="29" presetClass="entr" presetSubtype="0" fill="hold" nodeType="afterEffect">
                                  <p:stCondLst>
                                    <p:cond delay="0"/>
                                  </p:stCondLst>
                                  <p:childTnLst>
                                    <p:set>
                                      <p:cBhvr>
                                        <p:cTn id="58" dur="1" fill="hold">
                                          <p:stCondLst>
                                            <p:cond delay="0"/>
                                          </p:stCondLst>
                                        </p:cTn>
                                        <p:tgtEl>
                                          <p:spTgt spid="35"/>
                                        </p:tgtEl>
                                        <p:attrNameLst>
                                          <p:attrName>style.visibility</p:attrName>
                                        </p:attrNameLst>
                                      </p:cBhvr>
                                      <p:to>
                                        <p:strVal val="visible"/>
                                      </p:to>
                                    </p:set>
                                    <p:anim calcmode="lin" valueType="num">
                                      <p:cBhvr>
                                        <p:cTn id="59" dur="1000" fill="hold"/>
                                        <p:tgtEl>
                                          <p:spTgt spid="35"/>
                                        </p:tgtEl>
                                        <p:attrNameLst>
                                          <p:attrName>ppt_x</p:attrName>
                                        </p:attrNameLst>
                                      </p:cBhvr>
                                      <p:tavLst>
                                        <p:tav tm="0">
                                          <p:val>
                                            <p:strVal val="#ppt_x-.2"/>
                                          </p:val>
                                        </p:tav>
                                        <p:tav tm="100000">
                                          <p:val>
                                            <p:strVal val="#ppt_x"/>
                                          </p:val>
                                        </p:tav>
                                      </p:tavLst>
                                    </p:anim>
                                    <p:anim calcmode="lin" valueType="num">
                                      <p:cBhvr>
                                        <p:cTn id="60" dur="1000" fill="hold"/>
                                        <p:tgtEl>
                                          <p:spTgt spid="35"/>
                                        </p:tgtEl>
                                        <p:attrNameLst>
                                          <p:attrName>ppt_y</p:attrName>
                                        </p:attrNameLst>
                                      </p:cBhvr>
                                      <p:tavLst>
                                        <p:tav tm="0">
                                          <p:val>
                                            <p:strVal val="#ppt_y"/>
                                          </p:val>
                                        </p:tav>
                                        <p:tav tm="100000">
                                          <p:val>
                                            <p:strVal val="#ppt_y"/>
                                          </p:val>
                                        </p:tav>
                                      </p:tavLst>
                                    </p:anim>
                                    <p:animEffect transition="in" filter="wipe(right)" prLst="gradientSize: 0.1">
                                      <p:cBhvr>
                                        <p:cTn id="61" dur="1000"/>
                                        <p:tgtEl>
                                          <p:spTgt spid="35"/>
                                        </p:tgtEl>
                                      </p:cBhvr>
                                    </p:animEffect>
                                  </p:childTnLst>
                                </p:cTn>
                              </p:par>
                            </p:childTnLst>
                          </p:cTn>
                        </p:par>
                        <p:par>
                          <p:cTn id="62" fill="hold">
                            <p:stCondLst>
                              <p:cond delay="6799"/>
                            </p:stCondLst>
                            <p:childTnLst>
                              <p:par>
                                <p:cTn id="63" presetID="23" presetClass="entr" presetSubtype="16" fill="hold" nodeType="afterEffect">
                                  <p:stCondLst>
                                    <p:cond delay="0"/>
                                  </p:stCondLst>
                                  <p:childTnLst>
                                    <p:set>
                                      <p:cBhvr>
                                        <p:cTn id="64" dur="1" fill="hold">
                                          <p:stCondLst>
                                            <p:cond delay="0"/>
                                          </p:stCondLst>
                                        </p:cTn>
                                        <p:tgtEl>
                                          <p:spTgt spid="39"/>
                                        </p:tgtEl>
                                        <p:attrNameLst>
                                          <p:attrName>style.visibility</p:attrName>
                                        </p:attrNameLst>
                                      </p:cBhvr>
                                      <p:to>
                                        <p:strVal val="visible"/>
                                      </p:to>
                                    </p:set>
                                    <p:anim calcmode="lin" valueType="num">
                                      <p:cBhvr>
                                        <p:cTn id="65" dur="500" fill="hold"/>
                                        <p:tgtEl>
                                          <p:spTgt spid="39"/>
                                        </p:tgtEl>
                                        <p:attrNameLst>
                                          <p:attrName>ppt_w</p:attrName>
                                        </p:attrNameLst>
                                      </p:cBhvr>
                                      <p:tavLst>
                                        <p:tav tm="0">
                                          <p:val>
                                            <p:fltVal val="0"/>
                                          </p:val>
                                        </p:tav>
                                        <p:tav tm="100000">
                                          <p:val>
                                            <p:strVal val="#ppt_w"/>
                                          </p:val>
                                        </p:tav>
                                      </p:tavLst>
                                    </p:anim>
                                    <p:anim calcmode="lin" valueType="num">
                                      <p:cBhvr>
                                        <p:cTn id="66" dur="500" fill="hold"/>
                                        <p:tgtEl>
                                          <p:spTgt spid="39"/>
                                        </p:tgtEl>
                                        <p:attrNameLst>
                                          <p:attrName>ppt_h</p:attrName>
                                        </p:attrNameLst>
                                      </p:cBhvr>
                                      <p:tavLst>
                                        <p:tav tm="0">
                                          <p:val>
                                            <p:fltVal val="0"/>
                                          </p:val>
                                        </p:tav>
                                        <p:tav tm="100000">
                                          <p:val>
                                            <p:strVal val="#ppt_h"/>
                                          </p:val>
                                        </p:tav>
                                      </p:tavLst>
                                    </p:anim>
                                  </p:childTnLst>
                                </p:cTn>
                              </p:par>
                            </p:childTnLst>
                          </p:cTn>
                        </p:par>
                        <p:par>
                          <p:cTn id="67" fill="hold">
                            <p:stCondLst>
                              <p:cond delay="7299"/>
                            </p:stCondLst>
                            <p:childTnLst>
                              <p:par>
                                <p:cTn id="68" presetID="23" presetClass="entr" presetSubtype="16" fill="hold" nodeType="afterEffect">
                                  <p:stCondLst>
                                    <p:cond delay="0"/>
                                  </p:stCondLst>
                                  <p:childTnLst>
                                    <p:set>
                                      <p:cBhvr>
                                        <p:cTn id="69" dur="1" fill="hold">
                                          <p:stCondLst>
                                            <p:cond delay="0"/>
                                          </p:stCondLst>
                                        </p:cTn>
                                        <p:tgtEl>
                                          <p:spTgt spid="57"/>
                                        </p:tgtEl>
                                        <p:attrNameLst>
                                          <p:attrName>style.visibility</p:attrName>
                                        </p:attrNameLst>
                                      </p:cBhvr>
                                      <p:to>
                                        <p:strVal val="visible"/>
                                      </p:to>
                                    </p:set>
                                    <p:anim calcmode="lin" valueType="num">
                                      <p:cBhvr>
                                        <p:cTn id="70" dur="500" fill="hold"/>
                                        <p:tgtEl>
                                          <p:spTgt spid="57"/>
                                        </p:tgtEl>
                                        <p:attrNameLst>
                                          <p:attrName>ppt_w</p:attrName>
                                        </p:attrNameLst>
                                      </p:cBhvr>
                                      <p:tavLst>
                                        <p:tav tm="0">
                                          <p:val>
                                            <p:fltVal val="0"/>
                                          </p:val>
                                        </p:tav>
                                        <p:tav tm="100000">
                                          <p:val>
                                            <p:strVal val="#ppt_w"/>
                                          </p:val>
                                        </p:tav>
                                      </p:tavLst>
                                    </p:anim>
                                    <p:anim calcmode="lin" valueType="num">
                                      <p:cBhvr>
                                        <p:cTn id="71" dur="500" fill="hold"/>
                                        <p:tgtEl>
                                          <p:spTgt spid="57"/>
                                        </p:tgtEl>
                                        <p:attrNameLst>
                                          <p:attrName>ppt_h</p:attrName>
                                        </p:attrNameLst>
                                      </p:cBhvr>
                                      <p:tavLst>
                                        <p:tav tm="0">
                                          <p:val>
                                            <p:fltVal val="0"/>
                                          </p:val>
                                        </p:tav>
                                        <p:tav tm="100000">
                                          <p:val>
                                            <p:strVal val="#ppt_h"/>
                                          </p:val>
                                        </p:tav>
                                      </p:tavLst>
                                    </p:anim>
                                  </p:childTnLst>
                                </p:cTn>
                              </p:par>
                            </p:childTnLst>
                          </p:cTn>
                        </p:par>
                        <p:par>
                          <p:cTn id="72" fill="hold">
                            <p:stCondLst>
                              <p:cond delay="7799"/>
                            </p:stCondLst>
                            <p:childTnLst>
                              <p:par>
                                <p:cTn id="73" presetID="23" presetClass="entr" presetSubtype="16" fill="hold" nodeType="afterEffect">
                                  <p:stCondLst>
                                    <p:cond delay="0"/>
                                  </p:stCondLst>
                                  <p:childTnLst>
                                    <p:set>
                                      <p:cBhvr>
                                        <p:cTn id="74" dur="1" fill="hold">
                                          <p:stCondLst>
                                            <p:cond delay="0"/>
                                          </p:stCondLst>
                                        </p:cTn>
                                        <p:tgtEl>
                                          <p:spTgt spid="67"/>
                                        </p:tgtEl>
                                        <p:attrNameLst>
                                          <p:attrName>style.visibility</p:attrName>
                                        </p:attrNameLst>
                                      </p:cBhvr>
                                      <p:to>
                                        <p:strVal val="visible"/>
                                      </p:to>
                                    </p:set>
                                    <p:anim calcmode="lin" valueType="num">
                                      <p:cBhvr>
                                        <p:cTn id="75" dur="500" fill="hold"/>
                                        <p:tgtEl>
                                          <p:spTgt spid="67"/>
                                        </p:tgtEl>
                                        <p:attrNameLst>
                                          <p:attrName>ppt_w</p:attrName>
                                        </p:attrNameLst>
                                      </p:cBhvr>
                                      <p:tavLst>
                                        <p:tav tm="0">
                                          <p:val>
                                            <p:fltVal val="0"/>
                                          </p:val>
                                        </p:tav>
                                        <p:tav tm="100000">
                                          <p:val>
                                            <p:strVal val="#ppt_w"/>
                                          </p:val>
                                        </p:tav>
                                      </p:tavLst>
                                    </p:anim>
                                    <p:anim calcmode="lin" valueType="num">
                                      <p:cBhvr>
                                        <p:cTn id="76" dur="500" fill="hold"/>
                                        <p:tgtEl>
                                          <p:spTgt spid="67"/>
                                        </p:tgtEl>
                                        <p:attrNameLst>
                                          <p:attrName>ppt_h</p:attrName>
                                        </p:attrNameLst>
                                      </p:cBhvr>
                                      <p:tavLst>
                                        <p:tav tm="0">
                                          <p:val>
                                            <p:fltVal val="0"/>
                                          </p:val>
                                        </p:tav>
                                        <p:tav tm="100000">
                                          <p:val>
                                            <p:strVal val="#ppt_h"/>
                                          </p:val>
                                        </p:tav>
                                      </p:tavLst>
                                    </p:anim>
                                  </p:childTnLst>
                                </p:cTn>
                              </p:par>
                            </p:childTnLst>
                          </p:cTn>
                        </p:par>
                        <p:par>
                          <p:cTn id="77" fill="hold">
                            <p:stCondLst>
                              <p:cond delay="8299"/>
                            </p:stCondLst>
                            <p:childTnLst>
                              <p:par>
                                <p:cTn id="78" presetID="1" presetClass="mediacall" presetSubtype="0" fill="hold" nodeType="afterEffect">
                                  <p:stCondLst>
                                    <p:cond delay="0"/>
                                  </p:stCondLst>
                                  <p:childTnLst>
                                    <p:cmd type="call" cmd="playFrom(0.0)">
                                      <p:cBhvr>
                                        <p:cTn id="79" dur="1" fill="hold"/>
                                        <p:tgtEl>
                                          <p:spTgt spid="3"/>
                                        </p:tgtEl>
                                      </p:cBhvr>
                                    </p:cmd>
                                  </p:childTnLst>
                                </p:cTn>
                              </p:par>
                            </p:childTnLst>
                          </p:cTn>
                        </p:par>
                        <p:par>
                          <p:cTn id="80" fill="hold">
                            <p:stCondLst>
                              <p:cond delay="8299"/>
                            </p:stCondLst>
                            <p:childTnLst>
                              <p:par>
                                <p:cTn id="81" presetID="23" presetClass="entr" presetSubtype="16" fill="hold" nodeType="afterEffect">
                                  <p:stCondLst>
                                    <p:cond delay="0"/>
                                  </p:stCondLst>
                                  <p:childTnLst>
                                    <p:set>
                                      <p:cBhvr>
                                        <p:cTn id="82" dur="1" fill="hold">
                                          <p:stCondLst>
                                            <p:cond delay="0"/>
                                          </p:stCondLst>
                                        </p:cTn>
                                        <p:tgtEl>
                                          <p:spTgt spid="52"/>
                                        </p:tgtEl>
                                        <p:attrNameLst>
                                          <p:attrName>style.visibility</p:attrName>
                                        </p:attrNameLst>
                                      </p:cBhvr>
                                      <p:to>
                                        <p:strVal val="visible"/>
                                      </p:to>
                                    </p:set>
                                    <p:anim calcmode="lin" valueType="num">
                                      <p:cBhvr>
                                        <p:cTn id="83" dur="500" fill="hold"/>
                                        <p:tgtEl>
                                          <p:spTgt spid="52"/>
                                        </p:tgtEl>
                                        <p:attrNameLst>
                                          <p:attrName>ppt_w</p:attrName>
                                        </p:attrNameLst>
                                      </p:cBhvr>
                                      <p:tavLst>
                                        <p:tav tm="0">
                                          <p:val>
                                            <p:fltVal val="0"/>
                                          </p:val>
                                        </p:tav>
                                        <p:tav tm="100000">
                                          <p:val>
                                            <p:strVal val="#ppt_w"/>
                                          </p:val>
                                        </p:tav>
                                      </p:tavLst>
                                    </p:anim>
                                    <p:anim calcmode="lin" valueType="num">
                                      <p:cBhvr>
                                        <p:cTn id="84" dur="500" fill="hold"/>
                                        <p:tgtEl>
                                          <p:spTgt spid="52"/>
                                        </p:tgtEl>
                                        <p:attrNameLst>
                                          <p:attrName>ppt_h</p:attrName>
                                        </p:attrNameLst>
                                      </p:cBhvr>
                                      <p:tavLst>
                                        <p:tav tm="0">
                                          <p:val>
                                            <p:fltVal val="0"/>
                                          </p:val>
                                        </p:tav>
                                        <p:tav tm="100000">
                                          <p:val>
                                            <p:strVal val="#ppt_h"/>
                                          </p:val>
                                        </p:tav>
                                      </p:tavLst>
                                    </p:anim>
                                  </p:childTnLst>
                                </p:cTn>
                              </p:par>
                            </p:childTnLst>
                          </p:cTn>
                        </p:par>
                        <p:par>
                          <p:cTn id="85" fill="hold">
                            <p:stCondLst>
                              <p:cond delay="8799"/>
                            </p:stCondLst>
                            <p:childTnLst>
                              <p:par>
                                <p:cTn id="86" presetID="12" presetClass="entr" presetSubtype="1" fill="hold" nodeType="afterEffect">
                                  <p:stCondLst>
                                    <p:cond delay="0"/>
                                  </p:stCondLst>
                                  <p:childTnLst>
                                    <p:set>
                                      <p:cBhvr>
                                        <p:cTn id="87" dur="1" fill="hold">
                                          <p:stCondLst>
                                            <p:cond delay="0"/>
                                          </p:stCondLst>
                                        </p:cTn>
                                        <p:tgtEl>
                                          <p:spTgt spid="76"/>
                                        </p:tgtEl>
                                        <p:attrNameLst>
                                          <p:attrName>style.visibility</p:attrName>
                                        </p:attrNameLst>
                                      </p:cBhvr>
                                      <p:to>
                                        <p:strVal val="visible"/>
                                      </p:to>
                                    </p:set>
                                    <p:animEffect transition="in" filter="slide(fromTop)">
                                      <p:cBhvr>
                                        <p:cTn id="88" dur="500"/>
                                        <p:tgtEl>
                                          <p:spTgt spid="76"/>
                                        </p:tgtEl>
                                      </p:cBhvr>
                                    </p:animEffect>
                                  </p:childTnLst>
                                </p:cTn>
                              </p:par>
                            </p:childTnLst>
                          </p:cTn>
                        </p:par>
                        <p:par>
                          <p:cTn id="89" fill="hold">
                            <p:stCondLst>
                              <p:cond delay="9299"/>
                            </p:stCondLst>
                            <p:childTnLst>
                              <p:par>
                                <p:cTn id="90" presetID="12" presetClass="entr" presetSubtype="1" fill="hold" nodeType="afterEffect">
                                  <p:stCondLst>
                                    <p:cond delay="0"/>
                                  </p:stCondLst>
                                  <p:childTnLst>
                                    <p:set>
                                      <p:cBhvr>
                                        <p:cTn id="91" dur="1" fill="hold">
                                          <p:stCondLst>
                                            <p:cond delay="0"/>
                                          </p:stCondLst>
                                        </p:cTn>
                                        <p:tgtEl>
                                          <p:spTgt spid="80"/>
                                        </p:tgtEl>
                                        <p:attrNameLst>
                                          <p:attrName>style.visibility</p:attrName>
                                        </p:attrNameLst>
                                      </p:cBhvr>
                                      <p:to>
                                        <p:strVal val="visible"/>
                                      </p:to>
                                    </p:set>
                                    <p:animEffect transition="in" filter="slide(fromTop)">
                                      <p:cBhvr>
                                        <p:cTn id="92" dur="500"/>
                                        <p:tgtEl>
                                          <p:spTgt spid="80"/>
                                        </p:tgtEl>
                                      </p:cBhvr>
                                    </p:animEffect>
                                  </p:childTnLst>
                                </p:cTn>
                              </p:par>
                            </p:childTnLst>
                          </p:cTn>
                        </p:par>
                        <p:par>
                          <p:cTn id="93" fill="hold">
                            <p:stCondLst>
                              <p:cond delay="9799"/>
                            </p:stCondLst>
                            <p:childTnLst>
                              <p:par>
                                <p:cTn id="94" presetID="12" presetClass="entr" presetSubtype="1" fill="hold" nodeType="afterEffect">
                                  <p:stCondLst>
                                    <p:cond delay="0"/>
                                  </p:stCondLst>
                                  <p:childTnLst>
                                    <p:set>
                                      <p:cBhvr>
                                        <p:cTn id="95" dur="1" fill="hold">
                                          <p:stCondLst>
                                            <p:cond delay="0"/>
                                          </p:stCondLst>
                                        </p:cTn>
                                        <p:tgtEl>
                                          <p:spTgt spid="84"/>
                                        </p:tgtEl>
                                        <p:attrNameLst>
                                          <p:attrName>style.visibility</p:attrName>
                                        </p:attrNameLst>
                                      </p:cBhvr>
                                      <p:to>
                                        <p:strVal val="visible"/>
                                      </p:to>
                                    </p:set>
                                    <p:animEffect transition="in" filter="slide(fromTop)">
                                      <p:cBhvr>
                                        <p:cTn id="96" dur="500"/>
                                        <p:tgtEl>
                                          <p:spTgt spid="84"/>
                                        </p:tgtEl>
                                      </p:cBhvr>
                                    </p:animEffect>
                                  </p:childTnLst>
                                </p:cTn>
                              </p:par>
                            </p:childTnLst>
                          </p:cTn>
                        </p:par>
                        <p:par>
                          <p:cTn id="97" fill="hold">
                            <p:stCondLst>
                              <p:cond delay="10299"/>
                            </p:stCondLst>
                            <p:childTnLst>
                              <p:par>
                                <p:cTn id="98" presetID="12" presetClass="entr" presetSubtype="1" fill="hold" nodeType="afterEffect">
                                  <p:stCondLst>
                                    <p:cond delay="0"/>
                                  </p:stCondLst>
                                  <p:childTnLst>
                                    <p:set>
                                      <p:cBhvr>
                                        <p:cTn id="99" dur="1" fill="hold">
                                          <p:stCondLst>
                                            <p:cond delay="0"/>
                                          </p:stCondLst>
                                        </p:cTn>
                                        <p:tgtEl>
                                          <p:spTgt spid="88"/>
                                        </p:tgtEl>
                                        <p:attrNameLst>
                                          <p:attrName>style.visibility</p:attrName>
                                        </p:attrNameLst>
                                      </p:cBhvr>
                                      <p:to>
                                        <p:strVal val="visible"/>
                                      </p:to>
                                    </p:set>
                                    <p:animEffect transition="in" filter="slide(fromTop)">
                                      <p:cBhvr>
                                        <p:cTn id="100" dur="500"/>
                                        <p:tgtEl>
                                          <p:spTgt spid="88"/>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101" fill="hold" display="0">
                  <p:stCondLst>
                    <p:cond delay="indefinite"/>
                  </p:stCondLst>
                  <p:endCondLst>
                    <p:cond evt="onStopAudio" delay="0">
                      <p:tgtEl>
                        <p:sldTgt/>
                      </p:tgtEl>
                    </p:cond>
                  </p:endCondLst>
                </p:cTn>
                <p:tgtEl>
                  <p:spTgt spid="3"/>
                </p:tgtEl>
              </p:cMediaNode>
            </p:audio>
          </p:childTnLst>
        </p:cTn>
      </p:par>
    </p:tnLst>
    <p:bldLst>
      <p:bldP spid="94" grpId="0" animBg="1"/>
      <p:bldP spid="9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46"/>
          <p:cNvGrpSpPr/>
          <p:nvPr/>
        </p:nvGrpSpPr>
        <p:grpSpPr>
          <a:xfrm>
            <a:off x="1575368" y="1817185"/>
            <a:ext cx="904765" cy="949172"/>
            <a:chOff x="1599600" y="1854200"/>
            <a:chExt cx="919366" cy="968856"/>
          </a:xfrm>
        </p:grpSpPr>
        <p:sp>
          <p:nvSpPr>
            <p:cNvPr id="34" name="AutoShape 2"/>
            <p:cNvSpPr/>
            <p:nvPr/>
          </p:nvSpPr>
          <p:spPr bwMode="auto">
            <a:xfrm>
              <a:off x="1599600" y="1854200"/>
              <a:ext cx="919366" cy="968856"/>
            </a:xfrm>
            <a:custGeom>
              <a:avLst/>
              <a:gdLst>
                <a:gd name="T0" fmla="*/ 145448192 w 21600"/>
                <a:gd name="T1" fmla="*/ 0 h 21600"/>
                <a:gd name="T2" fmla="*/ 290896268 w 21600"/>
                <a:gd name="T3" fmla="*/ 323057896 h 21600"/>
                <a:gd name="T4" fmla="*/ 0 w 21600"/>
                <a:gd name="T5" fmla="*/ 323057896 h 21600"/>
                <a:gd name="T6" fmla="*/ 145448192 w 21600"/>
                <a:gd name="T7" fmla="*/ 0 h 21600"/>
                <a:gd name="T8" fmla="*/ 145448192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10800" y="0"/>
                  </a:moveTo>
                  <a:lnTo>
                    <a:pt x="21600" y="21600"/>
                  </a:lnTo>
                  <a:lnTo>
                    <a:pt x="0" y="21600"/>
                  </a:lnTo>
                  <a:lnTo>
                    <a:pt x="10800" y="0"/>
                  </a:lnTo>
                  <a:close/>
                  <a:moveTo>
                    <a:pt x="10800" y="0"/>
                  </a:moveTo>
                </a:path>
              </a:pathLst>
            </a:custGeom>
            <a:solidFill>
              <a:srgbClr val="00AEEF"/>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35" name="AutoShape 7"/>
            <p:cNvSpPr/>
            <p:nvPr/>
          </p:nvSpPr>
          <p:spPr bwMode="auto">
            <a:xfrm>
              <a:off x="1917506" y="2385208"/>
              <a:ext cx="279478" cy="276567"/>
            </a:xfrm>
            <a:custGeom>
              <a:avLst/>
              <a:gdLst>
                <a:gd name="T0" fmla="*/ 0 w 21600"/>
                <a:gd name="T1" fmla="*/ 13162309 h 21600"/>
                <a:gd name="T2" fmla="*/ 26881667 w 21600"/>
                <a:gd name="T3" fmla="*/ 13162309 h 21600"/>
                <a:gd name="T4" fmla="*/ 18593153 w 21600"/>
                <a:gd name="T5" fmla="*/ 5264931 h 21600"/>
                <a:gd name="T6" fmla="*/ 19265194 w 21600"/>
                <a:gd name="T7" fmla="*/ 3071201 h 21600"/>
                <a:gd name="T8" fmla="*/ 19265194 w 21600"/>
                <a:gd name="T9" fmla="*/ 6142402 h 21600"/>
                <a:gd name="T10" fmla="*/ 10528653 w 21600"/>
                <a:gd name="T11" fmla="*/ 16891605 h 21600"/>
                <a:gd name="T12" fmla="*/ 9184569 w 21600"/>
                <a:gd name="T13" fmla="*/ 19304711 h 21600"/>
                <a:gd name="T14" fmla="*/ 8512528 w 21600"/>
                <a:gd name="T15" fmla="*/ 20840311 h 21600"/>
                <a:gd name="T16" fmla="*/ 8288514 w 21600"/>
                <a:gd name="T17" fmla="*/ 24130854 h 21600"/>
                <a:gd name="T18" fmla="*/ 6944431 w 21600"/>
                <a:gd name="T19" fmla="*/ 21717782 h 21600"/>
                <a:gd name="T20" fmla="*/ 5824361 w 21600"/>
                <a:gd name="T21" fmla="*/ 19524053 h 21600"/>
                <a:gd name="T22" fmla="*/ 3808236 w 21600"/>
                <a:gd name="T23" fmla="*/ 17988452 h 21600"/>
                <a:gd name="T24" fmla="*/ 3584222 w 21600"/>
                <a:gd name="T25" fmla="*/ 14917251 h 21600"/>
                <a:gd name="T26" fmla="*/ 3360208 w 21600"/>
                <a:gd name="T27" fmla="*/ 13162309 h 21600"/>
                <a:gd name="T28" fmla="*/ 2240139 w 21600"/>
                <a:gd name="T29" fmla="*/ 11846050 h 21600"/>
                <a:gd name="T30" fmla="*/ 2240139 w 21600"/>
                <a:gd name="T31" fmla="*/ 9871732 h 21600"/>
                <a:gd name="T32" fmla="*/ 8512528 w 21600"/>
                <a:gd name="T33" fmla="*/ 4387425 h 21600"/>
                <a:gd name="T34" fmla="*/ 6944431 w 21600"/>
                <a:gd name="T35" fmla="*/ 4387425 h 21600"/>
                <a:gd name="T36" fmla="*/ 6272389 w 21600"/>
                <a:gd name="T37" fmla="*/ 5703649 h 21600"/>
                <a:gd name="T38" fmla="*/ 7168444 w 21600"/>
                <a:gd name="T39" fmla="*/ 6142402 h 21600"/>
                <a:gd name="T40" fmla="*/ 6944431 w 21600"/>
                <a:gd name="T41" fmla="*/ 5264931 h 21600"/>
                <a:gd name="T42" fmla="*/ 10528653 w 21600"/>
                <a:gd name="T43" fmla="*/ 6581155 h 21600"/>
                <a:gd name="T44" fmla="*/ 9184569 w 21600"/>
                <a:gd name="T45" fmla="*/ 7458626 h 21600"/>
                <a:gd name="T46" fmla="*/ 8288514 w 21600"/>
                <a:gd name="T47" fmla="*/ 7897379 h 21600"/>
                <a:gd name="T48" fmla="*/ 8512528 w 21600"/>
                <a:gd name="T49" fmla="*/ 9432979 h 21600"/>
                <a:gd name="T50" fmla="*/ 7392458 w 21600"/>
                <a:gd name="T51" fmla="*/ 10749203 h 21600"/>
                <a:gd name="T52" fmla="*/ 6496403 w 21600"/>
                <a:gd name="T53" fmla="*/ 11187956 h 21600"/>
                <a:gd name="T54" fmla="*/ 4704292 w 21600"/>
                <a:gd name="T55" fmla="*/ 10749203 h 21600"/>
                <a:gd name="T56" fmla="*/ 3360208 w 21600"/>
                <a:gd name="T57" fmla="*/ 11846050 h 21600"/>
                <a:gd name="T58" fmla="*/ 3584222 w 21600"/>
                <a:gd name="T59" fmla="*/ 12723556 h 21600"/>
                <a:gd name="T60" fmla="*/ 6048375 w 21600"/>
                <a:gd name="T61" fmla="*/ 13601027 h 21600"/>
                <a:gd name="T62" fmla="*/ 9184569 w 21600"/>
                <a:gd name="T63" fmla="*/ 14478533 h 21600"/>
                <a:gd name="T64" fmla="*/ 10528653 w 21600"/>
                <a:gd name="T65" fmla="*/ 16891605 h 21600"/>
                <a:gd name="T66" fmla="*/ 12320764 w 21600"/>
                <a:gd name="T67" fmla="*/ 4606801 h 21600"/>
                <a:gd name="T68" fmla="*/ 9856611 w 21600"/>
                <a:gd name="T69" fmla="*/ 3290577 h 21600"/>
                <a:gd name="T70" fmla="*/ 14112875 w 21600"/>
                <a:gd name="T71" fmla="*/ 2193730 h 21600"/>
                <a:gd name="T72" fmla="*/ 23969486 w 21600"/>
                <a:gd name="T73" fmla="*/ 13601027 h 21600"/>
                <a:gd name="T74" fmla="*/ 20609278 w 21600"/>
                <a:gd name="T75" fmla="*/ 22375912 h 21600"/>
                <a:gd name="T76" fmla="*/ 20385264 w 21600"/>
                <a:gd name="T77" fmla="*/ 20182182 h 21600"/>
                <a:gd name="T78" fmla="*/ 18817167 w 21600"/>
                <a:gd name="T79" fmla="*/ 17769111 h 21600"/>
                <a:gd name="T80" fmla="*/ 14784917 w 21600"/>
                <a:gd name="T81" fmla="*/ 14697910 h 21600"/>
                <a:gd name="T82" fmla="*/ 21729347 w 21600"/>
                <a:gd name="T83" fmla="*/ 12284803 h 21600"/>
                <a:gd name="T84" fmla="*/ 23521458 w 21600"/>
                <a:gd name="T85" fmla="*/ 10749203 h 21600"/>
                <a:gd name="T86" fmla="*/ 20833292 w 21600"/>
                <a:gd name="T87" fmla="*/ 8555473 h 21600"/>
                <a:gd name="T88" fmla="*/ 20385264 w 21600"/>
                <a:gd name="T89" fmla="*/ 11407332 h 21600"/>
                <a:gd name="T90" fmla="*/ 17697097 w 21600"/>
                <a:gd name="T91" fmla="*/ 10749203 h 21600"/>
                <a:gd name="T92" fmla="*/ 16353014 w 21600"/>
                <a:gd name="T93" fmla="*/ 9652356 h 21600"/>
                <a:gd name="T94" fmla="*/ 17025056 w 21600"/>
                <a:gd name="T95" fmla="*/ 7678002 h 21600"/>
                <a:gd name="T96" fmla="*/ 20161250 w 21600"/>
                <a:gd name="T97" fmla="*/ 7897379 h 21600"/>
                <a:gd name="T98" fmla="*/ 22401389 w 21600"/>
                <a:gd name="T99" fmla="*/ 7897379 h 21600"/>
                <a:gd name="T100" fmla="*/ 23521458 w 21600"/>
                <a:gd name="T101" fmla="*/ 7019873 h 21600"/>
                <a:gd name="T102" fmla="*/ 24641528 w 21600"/>
                <a:gd name="T103" fmla="*/ 12504180 h 21600"/>
                <a:gd name="T104" fmla="*/ 23969486 w 21600"/>
                <a:gd name="T105" fmla="*/ 13601027 h 216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1600" h="21600">
                  <a:moveTo>
                    <a:pt x="10800" y="0"/>
                  </a:moveTo>
                  <a:cubicBezTo>
                    <a:pt x="4860" y="0"/>
                    <a:pt x="0" y="4860"/>
                    <a:pt x="0" y="10800"/>
                  </a:cubicBezTo>
                  <a:cubicBezTo>
                    <a:pt x="0" y="16740"/>
                    <a:pt x="4860" y="21600"/>
                    <a:pt x="10800" y="21600"/>
                  </a:cubicBezTo>
                  <a:cubicBezTo>
                    <a:pt x="16740" y="21600"/>
                    <a:pt x="21600" y="16740"/>
                    <a:pt x="21600" y="10800"/>
                  </a:cubicBezTo>
                  <a:cubicBezTo>
                    <a:pt x="21600" y="4860"/>
                    <a:pt x="16740" y="0"/>
                    <a:pt x="10800" y="0"/>
                  </a:cubicBezTo>
                  <a:close/>
                  <a:moveTo>
                    <a:pt x="14940" y="4320"/>
                  </a:moveTo>
                  <a:cubicBezTo>
                    <a:pt x="15660" y="3780"/>
                    <a:pt x="15660" y="3780"/>
                    <a:pt x="15660" y="3780"/>
                  </a:cubicBezTo>
                  <a:cubicBezTo>
                    <a:pt x="15660" y="3780"/>
                    <a:pt x="15300" y="3060"/>
                    <a:pt x="15480" y="2520"/>
                  </a:cubicBezTo>
                  <a:cubicBezTo>
                    <a:pt x="15660" y="2520"/>
                    <a:pt x="16380" y="2880"/>
                    <a:pt x="16920" y="3600"/>
                  </a:cubicBezTo>
                  <a:cubicBezTo>
                    <a:pt x="16560" y="5220"/>
                    <a:pt x="15480" y="5040"/>
                    <a:pt x="15480" y="5040"/>
                  </a:cubicBezTo>
                  <a:cubicBezTo>
                    <a:pt x="15480" y="5040"/>
                    <a:pt x="14760" y="5040"/>
                    <a:pt x="14940" y="4320"/>
                  </a:cubicBezTo>
                  <a:close/>
                  <a:moveTo>
                    <a:pt x="8460" y="13860"/>
                  </a:moveTo>
                  <a:cubicBezTo>
                    <a:pt x="8280" y="14040"/>
                    <a:pt x="8100" y="14580"/>
                    <a:pt x="7920" y="15120"/>
                  </a:cubicBezTo>
                  <a:cubicBezTo>
                    <a:pt x="7740" y="15480"/>
                    <a:pt x="7560" y="15660"/>
                    <a:pt x="7380" y="15840"/>
                  </a:cubicBezTo>
                  <a:cubicBezTo>
                    <a:pt x="7020" y="16020"/>
                    <a:pt x="7020" y="16380"/>
                    <a:pt x="7020" y="16380"/>
                  </a:cubicBezTo>
                  <a:cubicBezTo>
                    <a:pt x="6840" y="17100"/>
                    <a:pt x="6840" y="17100"/>
                    <a:pt x="6840" y="17100"/>
                  </a:cubicBezTo>
                  <a:cubicBezTo>
                    <a:pt x="6840" y="17100"/>
                    <a:pt x="7020" y="17820"/>
                    <a:pt x="7200" y="18000"/>
                  </a:cubicBezTo>
                  <a:cubicBezTo>
                    <a:pt x="7200" y="18360"/>
                    <a:pt x="6660" y="19800"/>
                    <a:pt x="6660" y="19800"/>
                  </a:cubicBezTo>
                  <a:cubicBezTo>
                    <a:pt x="6120" y="19620"/>
                    <a:pt x="5940" y="19080"/>
                    <a:pt x="5760" y="18720"/>
                  </a:cubicBezTo>
                  <a:cubicBezTo>
                    <a:pt x="5760" y="18360"/>
                    <a:pt x="5400" y="18180"/>
                    <a:pt x="5580" y="17820"/>
                  </a:cubicBezTo>
                  <a:cubicBezTo>
                    <a:pt x="5580" y="17280"/>
                    <a:pt x="5220" y="17100"/>
                    <a:pt x="5040" y="16920"/>
                  </a:cubicBezTo>
                  <a:cubicBezTo>
                    <a:pt x="4860" y="16560"/>
                    <a:pt x="4680" y="16200"/>
                    <a:pt x="4680" y="16020"/>
                  </a:cubicBezTo>
                  <a:cubicBezTo>
                    <a:pt x="4680" y="15840"/>
                    <a:pt x="4140" y="15480"/>
                    <a:pt x="4140" y="15480"/>
                  </a:cubicBezTo>
                  <a:cubicBezTo>
                    <a:pt x="4140" y="15480"/>
                    <a:pt x="3240" y="14940"/>
                    <a:pt x="3060" y="14760"/>
                  </a:cubicBezTo>
                  <a:cubicBezTo>
                    <a:pt x="2880" y="14580"/>
                    <a:pt x="2700" y="13860"/>
                    <a:pt x="2700" y="13500"/>
                  </a:cubicBezTo>
                  <a:cubicBezTo>
                    <a:pt x="2700" y="13140"/>
                    <a:pt x="2880" y="12240"/>
                    <a:pt x="2880" y="12240"/>
                  </a:cubicBezTo>
                  <a:cubicBezTo>
                    <a:pt x="2880" y="12240"/>
                    <a:pt x="3240" y="11880"/>
                    <a:pt x="3060" y="11700"/>
                  </a:cubicBezTo>
                  <a:cubicBezTo>
                    <a:pt x="2700" y="11520"/>
                    <a:pt x="2700" y="10800"/>
                    <a:pt x="2700" y="10800"/>
                  </a:cubicBezTo>
                  <a:cubicBezTo>
                    <a:pt x="2340" y="10440"/>
                    <a:pt x="2340" y="10440"/>
                    <a:pt x="2340" y="10440"/>
                  </a:cubicBezTo>
                  <a:cubicBezTo>
                    <a:pt x="2340" y="10440"/>
                    <a:pt x="1980" y="9900"/>
                    <a:pt x="1800" y="9720"/>
                  </a:cubicBezTo>
                  <a:cubicBezTo>
                    <a:pt x="1800" y="9360"/>
                    <a:pt x="1800" y="9180"/>
                    <a:pt x="1980" y="9000"/>
                  </a:cubicBezTo>
                  <a:cubicBezTo>
                    <a:pt x="1980" y="8820"/>
                    <a:pt x="1800" y="8280"/>
                    <a:pt x="1800" y="8100"/>
                  </a:cubicBezTo>
                  <a:cubicBezTo>
                    <a:pt x="3600" y="3600"/>
                    <a:pt x="6660" y="2700"/>
                    <a:pt x="6660" y="2700"/>
                  </a:cubicBezTo>
                  <a:cubicBezTo>
                    <a:pt x="6840" y="3600"/>
                    <a:pt x="6840" y="3600"/>
                    <a:pt x="6840" y="3600"/>
                  </a:cubicBezTo>
                  <a:cubicBezTo>
                    <a:pt x="6840" y="3600"/>
                    <a:pt x="6300" y="3780"/>
                    <a:pt x="6120" y="3780"/>
                  </a:cubicBezTo>
                  <a:cubicBezTo>
                    <a:pt x="5760" y="3600"/>
                    <a:pt x="5580" y="3600"/>
                    <a:pt x="5580" y="3600"/>
                  </a:cubicBezTo>
                  <a:cubicBezTo>
                    <a:pt x="5220" y="4140"/>
                    <a:pt x="5220" y="4140"/>
                    <a:pt x="5220" y="4140"/>
                  </a:cubicBezTo>
                  <a:cubicBezTo>
                    <a:pt x="5220" y="4140"/>
                    <a:pt x="5040" y="4500"/>
                    <a:pt x="5040" y="4680"/>
                  </a:cubicBezTo>
                  <a:cubicBezTo>
                    <a:pt x="5040" y="4860"/>
                    <a:pt x="5220" y="5220"/>
                    <a:pt x="5220" y="5220"/>
                  </a:cubicBezTo>
                  <a:cubicBezTo>
                    <a:pt x="5220" y="5220"/>
                    <a:pt x="5760" y="5220"/>
                    <a:pt x="5760" y="5040"/>
                  </a:cubicBezTo>
                  <a:cubicBezTo>
                    <a:pt x="5760" y="4860"/>
                    <a:pt x="5760" y="4680"/>
                    <a:pt x="5760" y="4680"/>
                  </a:cubicBezTo>
                  <a:cubicBezTo>
                    <a:pt x="5580" y="4320"/>
                    <a:pt x="5580" y="4320"/>
                    <a:pt x="5580" y="4320"/>
                  </a:cubicBezTo>
                  <a:cubicBezTo>
                    <a:pt x="5580" y="4320"/>
                    <a:pt x="6120" y="4140"/>
                    <a:pt x="7200" y="4320"/>
                  </a:cubicBezTo>
                  <a:cubicBezTo>
                    <a:pt x="8460" y="4320"/>
                    <a:pt x="7920" y="5220"/>
                    <a:pt x="8460" y="5400"/>
                  </a:cubicBezTo>
                  <a:cubicBezTo>
                    <a:pt x="9000" y="5580"/>
                    <a:pt x="8100" y="6300"/>
                    <a:pt x="7920" y="6660"/>
                  </a:cubicBezTo>
                  <a:cubicBezTo>
                    <a:pt x="7740" y="7020"/>
                    <a:pt x="7380" y="6120"/>
                    <a:pt x="7380" y="6120"/>
                  </a:cubicBezTo>
                  <a:cubicBezTo>
                    <a:pt x="7380" y="6120"/>
                    <a:pt x="7740" y="5760"/>
                    <a:pt x="7200" y="5760"/>
                  </a:cubicBezTo>
                  <a:cubicBezTo>
                    <a:pt x="6660" y="5580"/>
                    <a:pt x="6300" y="6480"/>
                    <a:pt x="6660" y="6480"/>
                  </a:cubicBezTo>
                  <a:cubicBezTo>
                    <a:pt x="6840" y="6480"/>
                    <a:pt x="7200" y="6840"/>
                    <a:pt x="7020" y="7020"/>
                  </a:cubicBezTo>
                  <a:cubicBezTo>
                    <a:pt x="7020" y="7200"/>
                    <a:pt x="7020" y="7200"/>
                    <a:pt x="6840" y="7740"/>
                  </a:cubicBezTo>
                  <a:cubicBezTo>
                    <a:pt x="6480" y="8280"/>
                    <a:pt x="6120" y="8640"/>
                    <a:pt x="6120" y="8640"/>
                  </a:cubicBezTo>
                  <a:cubicBezTo>
                    <a:pt x="6120" y="8640"/>
                    <a:pt x="5760" y="8460"/>
                    <a:pt x="5940" y="8820"/>
                  </a:cubicBezTo>
                  <a:cubicBezTo>
                    <a:pt x="6120" y="9180"/>
                    <a:pt x="5940" y="9720"/>
                    <a:pt x="5940" y="9900"/>
                  </a:cubicBezTo>
                  <a:cubicBezTo>
                    <a:pt x="5940" y="10260"/>
                    <a:pt x="5220" y="9720"/>
                    <a:pt x="5220" y="9180"/>
                  </a:cubicBezTo>
                  <a:cubicBezTo>
                    <a:pt x="5040" y="8640"/>
                    <a:pt x="4500" y="9180"/>
                    <a:pt x="4320" y="9180"/>
                  </a:cubicBezTo>
                  <a:cubicBezTo>
                    <a:pt x="4140" y="9180"/>
                    <a:pt x="3780" y="9000"/>
                    <a:pt x="3780" y="8820"/>
                  </a:cubicBezTo>
                  <a:cubicBezTo>
                    <a:pt x="3600" y="8640"/>
                    <a:pt x="2700" y="9360"/>
                    <a:pt x="2520" y="9360"/>
                  </a:cubicBezTo>
                  <a:cubicBezTo>
                    <a:pt x="2340" y="9540"/>
                    <a:pt x="2340" y="9900"/>
                    <a:pt x="2700" y="9720"/>
                  </a:cubicBezTo>
                  <a:cubicBezTo>
                    <a:pt x="3060" y="9540"/>
                    <a:pt x="3420" y="9720"/>
                    <a:pt x="3420" y="10080"/>
                  </a:cubicBezTo>
                  <a:cubicBezTo>
                    <a:pt x="3240" y="10440"/>
                    <a:pt x="2880" y="10260"/>
                    <a:pt x="2880" y="10440"/>
                  </a:cubicBezTo>
                  <a:cubicBezTo>
                    <a:pt x="3060" y="10800"/>
                    <a:pt x="3420" y="10980"/>
                    <a:pt x="3420" y="11340"/>
                  </a:cubicBezTo>
                  <a:cubicBezTo>
                    <a:pt x="3600" y="11700"/>
                    <a:pt x="4500" y="11340"/>
                    <a:pt x="4860" y="11160"/>
                  </a:cubicBezTo>
                  <a:cubicBezTo>
                    <a:pt x="5040" y="11160"/>
                    <a:pt x="5940" y="10980"/>
                    <a:pt x="5940" y="11340"/>
                  </a:cubicBezTo>
                  <a:cubicBezTo>
                    <a:pt x="6120" y="11700"/>
                    <a:pt x="7020" y="11880"/>
                    <a:pt x="7380" y="11880"/>
                  </a:cubicBezTo>
                  <a:cubicBezTo>
                    <a:pt x="7740" y="12060"/>
                    <a:pt x="8280" y="12060"/>
                    <a:pt x="8820" y="12420"/>
                  </a:cubicBezTo>
                  <a:cubicBezTo>
                    <a:pt x="9180" y="12960"/>
                    <a:pt x="8460" y="13680"/>
                    <a:pt x="8460" y="13860"/>
                  </a:cubicBezTo>
                  <a:close/>
                  <a:moveTo>
                    <a:pt x="10620" y="2520"/>
                  </a:moveTo>
                  <a:cubicBezTo>
                    <a:pt x="10440" y="3060"/>
                    <a:pt x="9720" y="3600"/>
                    <a:pt x="9900" y="3780"/>
                  </a:cubicBezTo>
                  <a:cubicBezTo>
                    <a:pt x="9900" y="3960"/>
                    <a:pt x="9900" y="4860"/>
                    <a:pt x="9180" y="4140"/>
                  </a:cubicBezTo>
                  <a:cubicBezTo>
                    <a:pt x="8460" y="3420"/>
                    <a:pt x="7740" y="3240"/>
                    <a:pt x="7920" y="2700"/>
                  </a:cubicBezTo>
                  <a:cubicBezTo>
                    <a:pt x="7920" y="2520"/>
                    <a:pt x="8640" y="2520"/>
                    <a:pt x="8640" y="2340"/>
                  </a:cubicBezTo>
                  <a:cubicBezTo>
                    <a:pt x="9540" y="1260"/>
                    <a:pt x="11160" y="1440"/>
                    <a:pt x="11340" y="1800"/>
                  </a:cubicBezTo>
                  <a:cubicBezTo>
                    <a:pt x="10980" y="2160"/>
                    <a:pt x="10620" y="1980"/>
                    <a:pt x="10620" y="2520"/>
                  </a:cubicBezTo>
                  <a:close/>
                  <a:moveTo>
                    <a:pt x="19260" y="11160"/>
                  </a:moveTo>
                  <a:cubicBezTo>
                    <a:pt x="19260" y="11160"/>
                    <a:pt x="19620" y="11700"/>
                    <a:pt x="20160" y="11700"/>
                  </a:cubicBezTo>
                  <a:cubicBezTo>
                    <a:pt x="19800" y="15660"/>
                    <a:pt x="16560" y="18360"/>
                    <a:pt x="16560" y="18360"/>
                  </a:cubicBezTo>
                  <a:cubicBezTo>
                    <a:pt x="16020" y="17820"/>
                    <a:pt x="16200" y="17280"/>
                    <a:pt x="16200" y="17280"/>
                  </a:cubicBezTo>
                  <a:cubicBezTo>
                    <a:pt x="16380" y="16560"/>
                    <a:pt x="16380" y="16560"/>
                    <a:pt x="16380" y="16560"/>
                  </a:cubicBezTo>
                  <a:cubicBezTo>
                    <a:pt x="16380" y="15300"/>
                    <a:pt x="16380" y="15300"/>
                    <a:pt x="16380" y="15300"/>
                  </a:cubicBezTo>
                  <a:cubicBezTo>
                    <a:pt x="16380" y="15300"/>
                    <a:pt x="16380" y="13860"/>
                    <a:pt x="15120" y="14580"/>
                  </a:cubicBezTo>
                  <a:cubicBezTo>
                    <a:pt x="13860" y="14940"/>
                    <a:pt x="14400" y="14940"/>
                    <a:pt x="12960" y="14940"/>
                  </a:cubicBezTo>
                  <a:cubicBezTo>
                    <a:pt x="11520" y="15120"/>
                    <a:pt x="11880" y="12060"/>
                    <a:pt x="11880" y="12060"/>
                  </a:cubicBezTo>
                  <a:cubicBezTo>
                    <a:pt x="11880" y="7740"/>
                    <a:pt x="15120" y="10980"/>
                    <a:pt x="15120" y="10980"/>
                  </a:cubicBezTo>
                  <a:cubicBezTo>
                    <a:pt x="17100" y="12420"/>
                    <a:pt x="17460" y="10080"/>
                    <a:pt x="17460" y="10080"/>
                  </a:cubicBezTo>
                  <a:cubicBezTo>
                    <a:pt x="18720" y="9540"/>
                    <a:pt x="18720" y="9540"/>
                    <a:pt x="18720" y="9540"/>
                  </a:cubicBezTo>
                  <a:cubicBezTo>
                    <a:pt x="18900" y="8820"/>
                    <a:pt x="18900" y="8820"/>
                    <a:pt x="18900" y="8820"/>
                  </a:cubicBezTo>
                  <a:cubicBezTo>
                    <a:pt x="18720" y="7920"/>
                    <a:pt x="18720" y="7920"/>
                    <a:pt x="18720" y="7920"/>
                  </a:cubicBezTo>
                  <a:cubicBezTo>
                    <a:pt x="16740" y="7020"/>
                    <a:pt x="16740" y="7020"/>
                    <a:pt x="16740" y="7020"/>
                  </a:cubicBezTo>
                  <a:cubicBezTo>
                    <a:pt x="16740" y="7020"/>
                    <a:pt x="16380" y="7740"/>
                    <a:pt x="16920" y="8640"/>
                  </a:cubicBezTo>
                  <a:cubicBezTo>
                    <a:pt x="16920" y="8640"/>
                    <a:pt x="16740" y="9540"/>
                    <a:pt x="16380" y="9360"/>
                  </a:cubicBezTo>
                  <a:cubicBezTo>
                    <a:pt x="15120" y="8640"/>
                    <a:pt x="15120" y="8640"/>
                    <a:pt x="15120" y="8640"/>
                  </a:cubicBezTo>
                  <a:cubicBezTo>
                    <a:pt x="15120" y="8640"/>
                    <a:pt x="14760" y="8460"/>
                    <a:pt x="14220" y="8820"/>
                  </a:cubicBezTo>
                  <a:cubicBezTo>
                    <a:pt x="13500" y="9360"/>
                    <a:pt x="12420" y="8820"/>
                    <a:pt x="12420" y="8820"/>
                  </a:cubicBezTo>
                  <a:cubicBezTo>
                    <a:pt x="12420" y="8820"/>
                    <a:pt x="12420" y="8280"/>
                    <a:pt x="13140" y="7920"/>
                  </a:cubicBezTo>
                  <a:cubicBezTo>
                    <a:pt x="13680" y="7560"/>
                    <a:pt x="13680" y="7560"/>
                    <a:pt x="13680" y="7560"/>
                  </a:cubicBezTo>
                  <a:cubicBezTo>
                    <a:pt x="13680" y="7560"/>
                    <a:pt x="13500" y="6840"/>
                    <a:pt x="13680" y="6300"/>
                  </a:cubicBezTo>
                  <a:cubicBezTo>
                    <a:pt x="13860" y="5760"/>
                    <a:pt x="14040" y="6300"/>
                    <a:pt x="14580" y="5940"/>
                  </a:cubicBezTo>
                  <a:cubicBezTo>
                    <a:pt x="15120" y="5580"/>
                    <a:pt x="15480" y="6660"/>
                    <a:pt x="16200" y="6480"/>
                  </a:cubicBezTo>
                  <a:cubicBezTo>
                    <a:pt x="16920" y="6480"/>
                    <a:pt x="16560" y="6300"/>
                    <a:pt x="17100" y="5940"/>
                  </a:cubicBezTo>
                  <a:cubicBezTo>
                    <a:pt x="17640" y="5760"/>
                    <a:pt x="18000" y="6480"/>
                    <a:pt x="18000" y="6480"/>
                  </a:cubicBezTo>
                  <a:cubicBezTo>
                    <a:pt x="19080" y="6660"/>
                    <a:pt x="19080" y="6660"/>
                    <a:pt x="19080" y="6660"/>
                  </a:cubicBezTo>
                  <a:cubicBezTo>
                    <a:pt x="19080" y="6660"/>
                    <a:pt x="18900" y="5400"/>
                    <a:pt x="18900" y="5760"/>
                  </a:cubicBezTo>
                  <a:cubicBezTo>
                    <a:pt x="19620" y="6840"/>
                    <a:pt x="20520" y="9900"/>
                    <a:pt x="20160" y="10440"/>
                  </a:cubicBezTo>
                  <a:cubicBezTo>
                    <a:pt x="19980" y="10260"/>
                    <a:pt x="19800" y="10260"/>
                    <a:pt x="19800" y="10260"/>
                  </a:cubicBezTo>
                  <a:cubicBezTo>
                    <a:pt x="18540" y="10260"/>
                    <a:pt x="18540" y="10260"/>
                    <a:pt x="18540" y="10260"/>
                  </a:cubicBezTo>
                  <a:lnTo>
                    <a:pt x="19260" y="11160"/>
                  </a:lnTo>
                  <a:close/>
                  <a:moveTo>
                    <a:pt x="19260" y="11160"/>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grpSp>
      <p:grpSp>
        <p:nvGrpSpPr>
          <p:cNvPr id="36" name="Group 43"/>
          <p:cNvGrpSpPr/>
          <p:nvPr/>
        </p:nvGrpSpPr>
        <p:grpSpPr>
          <a:xfrm>
            <a:off x="926163" y="3820486"/>
            <a:ext cx="2203179" cy="474586"/>
            <a:chOff x="939916" y="3899046"/>
            <a:chExt cx="2238733" cy="484428"/>
          </a:xfrm>
        </p:grpSpPr>
        <p:sp>
          <p:nvSpPr>
            <p:cNvPr id="37" name="AutoShape 5"/>
            <p:cNvSpPr/>
            <p:nvPr/>
          </p:nvSpPr>
          <p:spPr bwMode="auto">
            <a:xfrm>
              <a:off x="939916" y="3899046"/>
              <a:ext cx="2238733" cy="484428"/>
            </a:xfrm>
            <a:custGeom>
              <a:avLst/>
              <a:gdLst>
                <a:gd name="T0" fmla="*/ 1552418536 w 21600"/>
                <a:gd name="T1" fmla="*/ 0 h 21600"/>
                <a:gd name="T2" fmla="*/ 1724909579 w 21600"/>
                <a:gd name="T3" fmla="*/ 80764474 h 21600"/>
                <a:gd name="T4" fmla="*/ 0 w 21600"/>
                <a:gd name="T5" fmla="*/ 80764474 h 21600"/>
                <a:gd name="T6" fmla="*/ 172491043 w 21600"/>
                <a:gd name="T7" fmla="*/ 0 h 21600"/>
                <a:gd name="T8" fmla="*/ 1552418536 w 21600"/>
                <a:gd name="T9" fmla="*/ 0 h 21600"/>
                <a:gd name="T10" fmla="*/ 1552418536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19440" y="0"/>
                  </a:moveTo>
                  <a:lnTo>
                    <a:pt x="21600" y="21600"/>
                  </a:lnTo>
                  <a:lnTo>
                    <a:pt x="0" y="21600"/>
                  </a:lnTo>
                  <a:lnTo>
                    <a:pt x="2160" y="0"/>
                  </a:lnTo>
                  <a:lnTo>
                    <a:pt x="19440" y="0"/>
                  </a:lnTo>
                  <a:close/>
                  <a:moveTo>
                    <a:pt x="19440" y="0"/>
                  </a:moveTo>
                </a:path>
              </a:pathLst>
            </a:custGeom>
            <a:solidFill>
              <a:srgbClr val="0070C0"/>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dirty="0">
                <a:solidFill>
                  <a:schemeClr val="tx1">
                    <a:lumMod val="50000"/>
                    <a:lumOff val="50000"/>
                  </a:schemeClr>
                </a:solidFill>
              </a:endParaRPr>
            </a:p>
          </p:txBody>
        </p:sp>
        <p:grpSp>
          <p:nvGrpSpPr>
            <p:cNvPr id="38" name="Group 16"/>
            <p:cNvGrpSpPr/>
            <p:nvPr/>
          </p:nvGrpSpPr>
          <p:grpSpPr bwMode="auto">
            <a:xfrm>
              <a:off x="1919253" y="4007926"/>
              <a:ext cx="279478" cy="270162"/>
              <a:chOff x="0" y="0"/>
              <a:chExt cx="480" cy="463"/>
            </a:xfrm>
          </p:grpSpPr>
          <p:sp>
            <p:nvSpPr>
              <p:cNvPr id="39" name="AutoShape 9"/>
              <p:cNvSpPr/>
              <p:nvPr/>
            </p:nvSpPr>
            <p:spPr bwMode="auto">
              <a:xfrm>
                <a:off x="0" y="0"/>
                <a:ext cx="480" cy="463"/>
              </a:xfrm>
              <a:custGeom>
                <a:avLst/>
                <a:gdLst>
                  <a:gd name="T0" fmla="*/ 10 w 21600"/>
                  <a:gd name="T1" fmla="*/ 0 h 21600"/>
                  <a:gd name="T2" fmla="*/ 1 w 21600"/>
                  <a:gd name="T3" fmla="*/ 0 h 21600"/>
                  <a:gd name="T4" fmla="*/ 0 w 21600"/>
                  <a:gd name="T5" fmla="*/ 1 h 21600"/>
                  <a:gd name="T6" fmla="*/ 0 w 21600"/>
                  <a:gd name="T7" fmla="*/ 7 h 21600"/>
                  <a:gd name="T8" fmla="*/ 1 w 21600"/>
                  <a:gd name="T9" fmla="*/ 8 h 21600"/>
                  <a:gd name="T10" fmla="*/ 4 w 21600"/>
                  <a:gd name="T11" fmla="*/ 8 h 21600"/>
                  <a:gd name="T12" fmla="*/ 3 w 21600"/>
                  <a:gd name="T13" fmla="*/ 9 h 21600"/>
                  <a:gd name="T14" fmla="*/ 3 w 21600"/>
                  <a:gd name="T15" fmla="*/ 10 h 21600"/>
                  <a:gd name="T16" fmla="*/ 4 w 21600"/>
                  <a:gd name="T17" fmla="*/ 10 h 21600"/>
                  <a:gd name="T18" fmla="*/ 6 w 21600"/>
                  <a:gd name="T19" fmla="*/ 10 h 21600"/>
                  <a:gd name="T20" fmla="*/ 7 w 21600"/>
                  <a:gd name="T21" fmla="*/ 10 h 21600"/>
                  <a:gd name="T22" fmla="*/ 7 w 21600"/>
                  <a:gd name="T23" fmla="*/ 9 h 21600"/>
                  <a:gd name="T24" fmla="*/ 6 w 21600"/>
                  <a:gd name="T25" fmla="*/ 8 h 21600"/>
                  <a:gd name="T26" fmla="*/ 10 w 21600"/>
                  <a:gd name="T27" fmla="*/ 8 h 21600"/>
                  <a:gd name="T28" fmla="*/ 11 w 21600"/>
                  <a:gd name="T29" fmla="*/ 7 h 21600"/>
                  <a:gd name="T30" fmla="*/ 11 w 21600"/>
                  <a:gd name="T31" fmla="*/ 1 h 21600"/>
                  <a:gd name="T32" fmla="*/ 10 w 21600"/>
                  <a:gd name="T33" fmla="*/ 0 h 21600"/>
                  <a:gd name="T34" fmla="*/ 5 w 21600"/>
                  <a:gd name="T35" fmla="*/ 7 h 21600"/>
                  <a:gd name="T36" fmla="*/ 5 w 21600"/>
                  <a:gd name="T37" fmla="*/ 6 h 21600"/>
                  <a:gd name="T38" fmla="*/ 6 w 21600"/>
                  <a:gd name="T39" fmla="*/ 7 h 21600"/>
                  <a:gd name="T40" fmla="*/ 5 w 21600"/>
                  <a:gd name="T41" fmla="*/ 8 h 21600"/>
                  <a:gd name="T42" fmla="*/ 5 w 21600"/>
                  <a:gd name="T43" fmla="*/ 7 h 21600"/>
                  <a:gd name="T44" fmla="*/ 10 w 21600"/>
                  <a:gd name="T45" fmla="*/ 6 h 21600"/>
                  <a:gd name="T46" fmla="*/ 1 w 21600"/>
                  <a:gd name="T47" fmla="*/ 6 h 21600"/>
                  <a:gd name="T48" fmla="*/ 1 w 21600"/>
                  <a:gd name="T49" fmla="*/ 1 h 21600"/>
                  <a:gd name="T50" fmla="*/ 10 w 21600"/>
                  <a:gd name="T51" fmla="*/ 1 h 21600"/>
                  <a:gd name="T52" fmla="*/ 10 w 21600"/>
                  <a:gd name="T53" fmla="*/ 6 h 21600"/>
                  <a:gd name="T54" fmla="*/ 10 w 21600"/>
                  <a:gd name="T55" fmla="*/ 6 h 2160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1600" h="21600">
                    <a:moveTo>
                      <a:pt x="20138" y="0"/>
                    </a:moveTo>
                    <a:cubicBezTo>
                      <a:pt x="1462" y="0"/>
                      <a:pt x="1462" y="0"/>
                      <a:pt x="1462" y="0"/>
                    </a:cubicBezTo>
                    <a:cubicBezTo>
                      <a:pt x="650" y="0"/>
                      <a:pt x="0" y="680"/>
                      <a:pt x="0" y="1531"/>
                    </a:cubicBezTo>
                    <a:cubicBezTo>
                      <a:pt x="0" y="15477"/>
                      <a:pt x="0" y="15477"/>
                      <a:pt x="0" y="15477"/>
                    </a:cubicBezTo>
                    <a:cubicBezTo>
                      <a:pt x="0" y="16328"/>
                      <a:pt x="650" y="17008"/>
                      <a:pt x="1462" y="17008"/>
                    </a:cubicBezTo>
                    <a:cubicBezTo>
                      <a:pt x="8608" y="17008"/>
                      <a:pt x="8608" y="17008"/>
                      <a:pt x="8608" y="17008"/>
                    </a:cubicBezTo>
                    <a:cubicBezTo>
                      <a:pt x="8608" y="17008"/>
                      <a:pt x="8932" y="20069"/>
                      <a:pt x="6334" y="20069"/>
                    </a:cubicBezTo>
                    <a:cubicBezTo>
                      <a:pt x="6334" y="21600"/>
                      <a:pt x="6334" y="21600"/>
                      <a:pt x="6334" y="21600"/>
                    </a:cubicBezTo>
                    <a:cubicBezTo>
                      <a:pt x="8608" y="21600"/>
                      <a:pt x="8608" y="21600"/>
                      <a:pt x="8608" y="21600"/>
                    </a:cubicBezTo>
                    <a:cubicBezTo>
                      <a:pt x="12992" y="21600"/>
                      <a:pt x="12992" y="21600"/>
                      <a:pt x="12992" y="21600"/>
                    </a:cubicBezTo>
                    <a:cubicBezTo>
                      <a:pt x="15104" y="21600"/>
                      <a:pt x="15104" y="21600"/>
                      <a:pt x="15104" y="21600"/>
                    </a:cubicBezTo>
                    <a:cubicBezTo>
                      <a:pt x="15104" y="20069"/>
                      <a:pt x="15104" y="20069"/>
                      <a:pt x="15104" y="20069"/>
                    </a:cubicBezTo>
                    <a:cubicBezTo>
                      <a:pt x="12505" y="20069"/>
                      <a:pt x="12992" y="17008"/>
                      <a:pt x="12992" y="17008"/>
                    </a:cubicBezTo>
                    <a:cubicBezTo>
                      <a:pt x="20138" y="17008"/>
                      <a:pt x="20138" y="17008"/>
                      <a:pt x="20138" y="17008"/>
                    </a:cubicBezTo>
                    <a:cubicBezTo>
                      <a:pt x="20950" y="17008"/>
                      <a:pt x="21600" y="16328"/>
                      <a:pt x="21600" y="15477"/>
                    </a:cubicBezTo>
                    <a:cubicBezTo>
                      <a:pt x="21600" y="1531"/>
                      <a:pt x="21600" y="1531"/>
                      <a:pt x="21600" y="1531"/>
                    </a:cubicBezTo>
                    <a:cubicBezTo>
                      <a:pt x="21600" y="680"/>
                      <a:pt x="20950" y="0"/>
                      <a:pt x="20138" y="0"/>
                    </a:cubicBezTo>
                    <a:close/>
                    <a:moveTo>
                      <a:pt x="9582" y="15137"/>
                    </a:moveTo>
                    <a:cubicBezTo>
                      <a:pt x="9582" y="14457"/>
                      <a:pt x="10232" y="13946"/>
                      <a:pt x="10881" y="13946"/>
                    </a:cubicBezTo>
                    <a:cubicBezTo>
                      <a:pt x="11531" y="13946"/>
                      <a:pt x="12180" y="14457"/>
                      <a:pt x="12180" y="15137"/>
                    </a:cubicBezTo>
                    <a:cubicBezTo>
                      <a:pt x="12180" y="15817"/>
                      <a:pt x="11531" y="16498"/>
                      <a:pt x="10881" y="16498"/>
                    </a:cubicBezTo>
                    <a:cubicBezTo>
                      <a:pt x="10232" y="16498"/>
                      <a:pt x="9582" y="15817"/>
                      <a:pt x="9582" y="15137"/>
                    </a:cubicBezTo>
                    <a:close/>
                    <a:moveTo>
                      <a:pt x="19976" y="13436"/>
                    </a:moveTo>
                    <a:cubicBezTo>
                      <a:pt x="1462" y="13436"/>
                      <a:pt x="1462" y="13436"/>
                      <a:pt x="1462" y="13436"/>
                    </a:cubicBezTo>
                    <a:cubicBezTo>
                      <a:pt x="1462" y="1701"/>
                      <a:pt x="1462" y="1701"/>
                      <a:pt x="1462" y="1701"/>
                    </a:cubicBezTo>
                    <a:cubicBezTo>
                      <a:pt x="19976" y="1701"/>
                      <a:pt x="19976" y="1701"/>
                      <a:pt x="19976" y="1701"/>
                    </a:cubicBezTo>
                    <a:lnTo>
                      <a:pt x="19976" y="13436"/>
                    </a:lnTo>
                    <a:close/>
                    <a:moveTo>
                      <a:pt x="19976" y="13436"/>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40" name="AutoShape 10"/>
              <p:cNvSpPr/>
              <p:nvPr/>
            </p:nvSpPr>
            <p:spPr bwMode="auto">
              <a:xfrm>
                <a:off x="225" y="304"/>
                <a:ext cx="36" cy="39"/>
              </a:xfrm>
              <a:custGeom>
                <a:avLst/>
                <a:gdLst>
                  <a:gd name="T0" fmla="*/ 0 w 19679"/>
                  <a:gd name="T1" fmla="*/ 0 h 19679"/>
                  <a:gd name="T2" fmla="*/ 0 w 19679"/>
                  <a:gd name="T3" fmla="*/ 0 h 19679"/>
                  <a:gd name="T4" fmla="*/ 0 w 19679"/>
                  <a:gd name="T5" fmla="*/ 0 h 19679"/>
                  <a:gd name="T6" fmla="*/ 0 w 19679"/>
                  <a:gd name="T7" fmla="*/ 0 h 19679"/>
                  <a:gd name="T8" fmla="*/ 0 w 19679"/>
                  <a:gd name="T9" fmla="*/ 0 h 19679"/>
                  <a:gd name="T10" fmla="*/ 0 w 19679"/>
                  <a:gd name="T11" fmla="*/ 0 h 1967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679" h="19679">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moveTo>
                      <a:pt x="16796" y="2882"/>
                    </a:moveTo>
                  </a:path>
                </a:pathLst>
              </a:custGeom>
              <a:solidFill>
                <a:srgbClr val="FFFEFE"/>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grpSp>
      </p:grpSp>
      <p:grpSp>
        <p:nvGrpSpPr>
          <p:cNvPr id="41" name="Group 45"/>
          <p:cNvGrpSpPr/>
          <p:nvPr/>
        </p:nvGrpSpPr>
        <p:grpSpPr>
          <a:xfrm>
            <a:off x="1359920" y="2793737"/>
            <a:ext cx="1335087" cy="474586"/>
            <a:chOff x="1380675" y="2851004"/>
            <a:chExt cx="1356632" cy="484428"/>
          </a:xfrm>
        </p:grpSpPr>
        <p:sp>
          <p:nvSpPr>
            <p:cNvPr id="42" name="AutoShape 3"/>
            <p:cNvSpPr/>
            <p:nvPr/>
          </p:nvSpPr>
          <p:spPr bwMode="auto">
            <a:xfrm>
              <a:off x="1380675" y="2851004"/>
              <a:ext cx="1356632" cy="484428"/>
            </a:xfrm>
            <a:custGeom>
              <a:avLst/>
              <a:gdLst>
                <a:gd name="T0" fmla="*/ 527842477 w 21600"/>
                <a:gd name="T1" fmla="*/ 0 h 21600"/>
                <a:gd name="T2" fmla="*/ 633410938 w 21600"/>
                <a:gd name="T3" fmla="*/ 80764474 h 21600"/>
                <a:gd name="T4" fmla="*/ 0 w 21600"/>
                <a:gd name="T5" fmla="*/ 80764474 h 21600"/>
                <a:gd name="T6" fmla="*/ 105568461 w 21600"/>
                <a:gd name="T7" fmla="*/ 0 h 21600"/>
                <a:gd name="T8" fmla="*/ 527842477 w 21600"/>
                <a:gd name="T9" fmla="*/ 0 h 21600"/>
                <a:gd name="T10" fmla="*/ 527842477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18000" y="0"/>
                  </a:moveTo>
                  <a:lnTo>
                    <a:pt x="21600" y="21600"/>
                  </a:lnTo>
                  <a:lnTo>
                    <a:pt x="0" y="21600"/>
                  </a:lnTo>
                  <a:lnTo>
                    <a:pt x="3600" y="0"/>
                  </a:lnTo>
                  <a:lnTo>
                    <a:pt x="18000" y="0"/>
                  </a:lnTo>
                  <a:close/>
                  <a:moveTo>
                    <a:pt x="18000" y="0"/>
                  </a:moveTo>
                </a:path>
              </a:pathLst>
            </a:custGeom>
            <a:solidFill>
              <a:srgbClr val="0070C0"/>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43" name="AutoShape 11"/>
            <p:cNvSpPr/>
            <p:nvPr/>
          </p:nvSpPr>
          <p:spPr bwMode="auto">
            <a:xfrm>
              <a:off x="1915177" y="3010539"/>
              <a:ext cx="279478" cy="190394"/>
            </a:xfrm>
            <a:custGeom>
              <a:avLst/>
              <a:gdLst>
                <a:gd name="T0" fmla="*/ 23114494 w 21600"/>
                <a:gd name="T1" fmla="*/ 5480127 h 21600"/>
                <a:gd name="T2" fmla="*/ 23456759 w 21600"/>
                <a:gd name="T3" fmla="*/ 4313997 h 21600"/>
                <a:gd name="T4" fmla="*/ 17122140 w 21600"/>
                <a:gd name="T5" fmla="*/ 0 h 21600"/>
                <a:gd name="T6" fmla="*/ 12498740 w 21600"/>
                <a:gd name="T7" fmla="*/ 2098947 h 21600"/>
                <a:gd name="T8" fmla="*/ 7876575 w 21600"/>
                <a:gd name="T9" fmla="*/ 932793 h 21600"/>
                <a:gd name="T10" fmla="*/ 3424908 w 21600"/>
                <a:gd name="T11" fmla="*/ 4664014 h 21600"/>
                <a:gd name="T12" fmla="*/ 3595441 w 21600"/>
                <a:gd name="T13" fmla="*/ 5480127 h 21600"/>
                <a:gd name="T14" fmla="*/ 0 w 21600"/>
                <a:gd name="T15" fmla="*/ 8861307 h 21600"/>
                <a:gd name="T16" fmla="*/ 5307894 w 21600"/>
                <a:gd name="T17" fmla="*/ 12475848 h 21600"/>
                <a:gd name="T18" fmla="*/ 21573772 w 21600"/>
                <a:gd name="T19" fmla="*/ 12475848 h 21600"/>
                <a:gd name="T20" fmla="*/ 26881667 w 21600"/>
                <a:gd name="T21" fmla="*/ 8861307 h 21600"/>
                <a:gd name="T22" fmla="*/ 23114494 w 21600"/>
                <a:gd name="T23" fmla="*/ 5480127 h 21600"/>
                <a:gd name="T24" fmla="*/ 20547048 w 21600"/>
                <a:gd name="T25" fmla="*/ 11776391 h 21600"/>
                <a:gd name="T26" fmla="*/ 13526699 w 21600"/>
                <a:gd name="T27" fmla="*/ 11776391 h 21600"/>
                <a:gd name="T28" fmla="*/ 17806599 w 21600"/>
                <a:gd name="T29" fmla="*/ 8861307 h 21600"/>
                <a:gd name="T30" fmla="*/ 17636102 w 21600"/>
                <a:gd name="T31" fmla="*/ 8511290 h 21600"/>
                <a:gd name="T32" fmla="*/ 15751916 w 21600"/>
                <a:gd name="T33" fmla="*/ 8511290 h 21600"/>
                <a:gd name="T34" fmla="*/ 15751916 w 21600"/>
                <a:gd name="T35" fmla="*/ 7928514 h 21600"/>
                <a:gd name="T36" fmla="*/ 15751916 w 21600"/>
                <a:gd name="T37" fmla="*/ 4313997 h 21600"/>
                <a:gd name="T38" fmla="*/ 15409651 w 21600"/>
                <a:gd name="T39" fmla="*/ 4197317 h 21600"/>
                <a:gd name="T40" fmla="*/ 10958019 w 21600"/>
                <a:gd name="T41" fmla="*/ 4197317 h 21600"/>
                <a:gd name="T42" fmla="*/ 10615754 w 21600"/>
                <a:gd name="T43" fmla="*/ 4430653 h 21600"/>
                <a:gd name="T44" fmla="*/ 10615754 w 21600"/>
                <a:gd name="T45" fmla="*/ 7928514 h 21600"/>
                <a:gd name="T46" fmla="*/ 10615754 w 21600"/>
                <a:gd name="T47" fmla="*/ 8511290 h 21600"/>
                <a:gd name="T48" fmla="*/ 8732802 w 21600"/>
                <a:gd name="T49" fmla="*/ 8511290 h 21600"/>
                <a:gd name="T50" fmla="*/ 8732802 w 21600"/>
                <a:gd name="T51" fmla="*/ 8861307 h 21600"/>
                <a:gd name="T52" fmla="*/ 13012702 w 21600"/>
                <a:gd name="T53" fmla="*/ 11776391 h 21600"/>
                <a:gd name="T54" fmla="*/ 6506351 w 21600"/>
                <a:gd name="T55" fmla="*/ 11776391 h 21600"/>
                <a:gd name="T56" fmla="*/ 1882951 w 21600"/>
                <a:gd name="T57" fmla="*/ 8744651 h 21600"/>
                <a:gd name="T58" fmla="*/ 4965629 w 21600"/>
                <a:gd name="T59" fmla="*/ 5829567 h 21600"/>
                <a:gd name="T60" fmla="*/ 4793897 w 21600"/>
                <a:gd name="T61" fmla="*/ 5130110 h 21600"/>
                <a:gd name="T62" fmla="*/ 8732802 w 21600"/>
                <a:gd name="T63" fmla="*/ 1982267 h 21600"/>
                <a:gd name="T64" fmla="*/ 12840970 w 21600"/>
                <a:gd name="T65" fmla="*/ 3497860 h 21600"/>
                <a:gd name="T66" fmla="*/ 16779875 w 21600"/>
                <a:gd name="T67" fmla="*/ 1282810 h 21600"/>
                <a:gd name="T68" fmla="*/ 21916037 w 21600"/>
                <a:gd name="T69" fmla="*/ 4896774 h 21600"/>
                <a:gd name="T70" fmla="*/ 21745540 w 21600"/>
                <a:gd name="T71" fmla="*/ 5829567 h 21600"/>
                <a:gd name="T72" fmla="*/ 25169213 w 21600"/>
                <a:gd name="T73" fmla="*/ 8744651 h 21600"/>
                <a:gd name="T74" fmla="*/ 20547048 w 21600"/>
                <a:gd name="T75" fmla="*/ 11776391 h 21600"/>
                <a:gd name="T76" fmla="*/ 20547048 w 21600"/>
                <a:gd name="T77" fmla="*/ 11776391 h 2160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600" h="21600">
                  <a:moveTo>
                    <a:pt x="18573" y="9488"/>
                  </a:moveTo>
                  <a:cubicBezTo>
                    <a:pt x="18711" y="8882"/>
                    <a:pt x="18848" y="8075"/>
                    <a:pt x="18848" y="7469"/>
                  </a:cubicBezTo>
                  <a:cubicBezTo>
                    <a:pt x="18848" y="3432"/>
                    <a:pt x="16510" y="0"/>
                    <a:pt x="13758" y="0"/>
                  </a:cubicBezTo>
                  <a:cubicBezTo>
                    <a:pt x="10456" y="0"/>
                    <a:pt x="10043" y="3634"/>
                    <a:pt x="10043" y="3634"/>
                  </a:cubicBezTo>
                  <a:cubicBezTo>
                    <a:pt x="10043" y="3634"/>
                    <a:pt x="8668" y="1211"/>
                    <a:pt x="6329" y="1615"/>
                  </a:cubicBezTo>
                  <a:cubicBezTo>
                    <a:pt x="4127" y="2221"/>
                    <a:pt x="2752" y="5047"/>
                    <a:pt x="2752" y="8075"/>
                  </a:cubicBezTo>
                  <a:cubicBezTo>
                    <a:pt x="2752" y="8478"/>
                    <a:pt x="2752" y="9084"/>
                    <a:pt x="2889" y="9488"/>
                  </a:cubicBezTo>
                  <a:cubicBezTo>
                    <a:pt x="1238" y="10295"/>
                    <a:pt x="0" y="12718"/>
                    <a:pt x="0" y="15342"/>
                  </a:cubicBezTo>
                  <a:cubicBezTo>
                    <a:pt x="0" y="18774"/>
                    <a:pt x="1926" y="21600"/>
                    <a:pt x="4265" y="21600"/>
                  </a:cubicBezTo>
                  <a:cubicBezTo>
                    <a:pt x="17335" y="21600"/>
                    <a:pt x="17335" y="21600"/>
                    <a:pt x="17335" y="21600"/>
                  </a:cubicBezTo>
                  <a:cubicBezTo>
                    <a:pt x="19674" y="21600"/>
                    <a:pt x="21600" y="18774"/>
                    <a:pt x="21600" y="15342"/>
                  </a:cubicBezTo>
                  <a:cubicBezTo>
                    <a:pt x="21600" y="12516"/>
                    <a:pt x="20362" y="10295"/>
                    <a:pt x="18573" y="9488"/>
                  </a:cubicBezTo>
                  <a:close/>
                  <a:moveTo>
                    <a:pt x="16510" y="20389"/>
                  </a:moveTo>
                  <a:cubicBezTo>
                    <a:pt x="10869" y="20389"/>
                    <a:pt x="10869" y="20389"/>
                    <a:pt x="10869" y="20389"/>
                  </a:cubicBezTo>
                  <a:cubicBezTo>
                    <a:pt x="11282" y="19581"/>
                    <a:pt x="14308" y="15342"/>
                    <a:pt x="14308" y="15342"/>
                  </a:cubicBezTo>
                  <a:cubicBezTo>
                    <a:pt x="14308" y="15342"/>
                    <a:pt x="14721" y="14736"/>
                    <a:pt x="14171" y="14736"/>
                  </a:cubicBezTo>
                  <a:cubicBezTo>
                    <a:pt x="13620" y="14736"/>
                    <a:pt x="12657" y="14736"/>
                    <a:pt x="12657" y="14736"/>
                  </a:cubicBezTo>
                  <a:cubicBezTo>
                    <a:pt x="12657" y="14736"/>
                    <a:pt x="12657" y="14333"/>
                    <a:pt x="12657" y="13727"/>
                  </a:cubicBezTo>
                  <a:cubicBezTo>
                    <a:pt x="12657" y="12112"/>
                    <a:pt x="12657" y="8882"/>
                    <a:pt x="12657" y="7469"/>
                  </a:cubicBezTo>
                  <a:cubicBezTo>
                    <a:pt x="12657" y="7469"/>
                    <a:pt x="12657" y="7267"/>
                    <a:pt x="12382" y="7267"/>
                  </a:cubicBezTo>
                  <a:cubicBezTo>
                    <a:pt x="12107" y="7267"/>
                    <a:pt x="9218" y="7267"/>
                    <a:pt x="8805" y="7267"/>
                  </a:cubicBezTo>
                  <a:cubicBezTo>
                    <a:pt x="8530" y="7267"/>
                    <a:pt x="8530" y="7671"/>
                    <a:pt x="8530" y="7671"/>
                  </a:cubicBezTo>
                  <a:cubicBezTo>
                    <a:pt x="8530" y="8882"/>
                    <a:pt x="8530" y="12112"/>
                    <a:pt x="8530" y="13727"/>
                  </a:cubicBezTo>
                  <a:cubicBezTo>
                    <a:pt x="8530" y="14333"/>
                    <a:pt x="8530" y="14736"/>
                    <a:pt x="8530" y="14736"/>
                  </a:cubicBezTo>
                  <a:cubicBezTo>
                    <a:pt x="8530" y="14736"/>
                    <a:pt x="7429" y="14736"/>
                    <a:pt x="7017" y="14736"/>
                  </a:cubicBezTo>
                  <a:cubicBezTo>
                    <a:pt x="6604" y="14736"/>
                    <a:pt x="7017" y="15342"/>
                    <a:pt x="7017" y="15342"/>
                  </a:cubicBezTo>
                  <a:cubicBezTo>
                    <a:pt x="10456" y="20389"/>
                    <a:pt x="10456" y="20389"/>
                    <a:pt x="10456" y="20389"/>
                  </a:cubicBezTo>
                  <a:cubicBezTo>
                    <a:pt x="5228" y="20389"/>
                    <a:pt x="5228" y="20389"/>
                    <a:pt x="5228" y="20389"/>
                  </a:cubicBezTo>
                  <a:cubicBezTo>
                    <a:pt x="3164" y="20389"/>
                    <a:pt x="1513" y="17966"/>
                    <a:pt x="1513" y="15140"/>
                  </a:cubicBezTo>
                  <a:cubicBezTo>
                    <a:pt x="1513" y="12718"/>
                    <a:pt x="2614" y="10901"/>
                    <a:pt x="3990" y="10093"/>
                  </a:cubicBezTo>
                  <a:cubicBezTo>
                    <a:pt x="3852" y="9690"/>
                    <a:pt x="3852" y="9286"/>
                    <a:pt x="3852" y="8882"/>
                  </a:cubicBezTo>
                  <a:cubicBezTo>
                    <a:pt x="3852" y="6460"/>
                    <a:pt x="5090" y="4037"/>
                    <a:pt x="7017" y="3432"/>
                  </a:cubicBezTo>
                  <a:cubicBezTo>
                    <a:pt x="9080" y="3230"/>
                    <a:pt x="10318" y="6056"/>
                    <a:pt x="10318" y="6056"/>
                  </a:cubicBezTo>
                  <a:cubicBezTo>
                    <a:pt x="10318" y="6056"/>
                    <a:pt x="10594" y="2221"/>
                    <a:pt x="13483" y="2221"/>
                  </a:cubicBezTo>
                  <a:cubicBezTo>
                    <a:pt x="15822" y="2221"/>
                    <a:pt x="17610" y="5047"/>
                    <a:pt x="17610" y="8478"/>
                  </a:cubicBezTo>
                  <a:cubicBezTo>
                    <a:pt x="17610" y="9084"/>
                    <a:pt x="17610" y="9690"/>
                    <a:pt x="17473" y="10093"/>
                  </a:cubicBezTo>
                  <a:cubicBezTo>
                    <a:pt x="18986" y="10699"/>
                    <a:pt x="20224" y="12718"/>
                    <a:pt x="20224" y="15140"/>
                  </a:cubicBezTo>
                  <a:cubicBezTo>
                    <a:pt x="20224" y="17966"/>
                    <a:pt x="18573" y="20389"/>
                    <a:pt x="16510" y="20389"/>
                  </a:cubicBezTo>
                  <a:close/>
                  <a:moveTo>
                    <a:pt x="16510" y="20389"/>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grpSp>
      <p:grpSp>
        <p:nvGrpSpPr>
          <p:cNvPr id="44" name="Group 44"/>
          <p:cNvGrpSpPr/>
          <p:nvPr/>
        </p:nvGrpSpPr>
        <p:grpSpPr>
          <a:xfrm>
            <a:off x="1147338" y="3304830"/>
            <a:ext cx="1760252" cy="474586"/>
            <a:chOff x="1164662" y="3372696"/>
            <a:chExt cx="1788658" cy="484428"/>
          </a:xfrm>
        </p:grpSpPr>
        <p:sp>
          <p:nvSpPr>
            <p:cNvPr id="45" name="AutoShape 4"/>
            <p:cNvSpPr/>
            <p:nvPr/>
          </p:nvSpPr>
          <p:spPr bwMode="auto">
            <a:xfrm>
              <a:off x="1164662" y="3372696"/>
              <a:ext cx="1788658" cy="484428"/>
            </a:xfrm>
            <a:custGeom>
              <a:avLst/>
              <a:gdLst>
                <a:gd name="T0" fmla="*/ 963438933 w 21600"/>
                <a:gd name="T1" fmla="*/ 0 h 21600"/>
                <a:gd name="T2" fmla="*/ 1101073067 w 21600"/>
                <a:gd name="T3" fmla="*/ 80764474 h 21600"/>
                <a:gd name="T4" fmla="*/ 0 w 21600"/>
                <a:gd name="T5" fmla="*/ 80764474 h 21600"/>
                <a:gd name="T6" fmla="*/ 137634133 w 21600"/>
                <a:gd name="T7" fmla="*/ 0 h 21600"/>
                <a:gd name="T8" fmla="*/ 963438933 w 21600"/>
                <a:gd name="T9" fmla="*/ 0 h 21600"/>
                <a:gd name="T10" fmla="*/ 963438933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18900" y="0"/>
                  </a:moveTo>
                  <a:lnTo>
                    <a:pt x="21600" y="21600"/>
                  </a:lnTo>
                  <a:lnTo>
                    <a:pt x="0" y="21600"/>
                  </a:lnTo>
                  <a:lnTo>
                    <a:pt x="2700" y="0"/>
                  </a:lnTo>
                  <a:lnTo>
                    <a:pt x="18900" y="0"/>
                  </a:lnTo>
                  <a:close/>
                  <a:moveTo>
                    <a:pt x="18900" y="0"/>
                  </a:moveTo>
                </a:path>
              </a:pathLst>
            </a:custGeom>
            <a:solidFill>
              <a:srgbClr val="00AEEF"/>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46" name="AutoShape 12"/>
            <p:cNvSpPr/>
            <p:nvPr/>
          </p:nvSpPr>
          <p:spPr bwMode="auto">
            <a:xfrm>
              <a:off x="1919253" y="3506612"/>
              <a:ext cx="279478" cy="246872"/>
            </a:xfrm>
            <a:custGeom>
              <a:avLst/>
              <a:gdLst>
                <a:gd name="T0" fmla="*/ 26881667 w 21600"/>
                <a:gd name="T1" fmla="*/ 8390067 h 21600"/>
                <a:gd name="T2" fmla="*/ 13440833 w 21600"/>
                <a:gd name="T3" fmla="*/ 0 h 21600"/>
                <a:gd name="T4" fmla="*/ 0 w 21600"/>
                <a:gd name="T5" fmla="*/ 8390067 h 21600"/>
                <a:gd name="T6" fmla="*/ 7312801 w 21600"/>
                <a:gd name="T7" fmla="*/ 15906163 h 21600"/>
                <a:gd name="T8" fmla="*/ 4150466 w 21600"/>
                <a:gd name="T9" fmla="*/ 20975167 h 21600"/>
                <a:gd name="T10" fmla="*/ 14231091 w 21600"/>
                <a:gd name="T11" fmla="*/ 16780134 h 21600"/>
                <a:gd name="T12" fmla="*/ 26881667 w 21600"/>
                <a:gd name="T13" fmla="*/ 8390067 h 21600"/>
                <a:gd name="T14" fmla="*/ 26881667 w 21600"/>
                <a:gd name="T15" fmla="*/ 8390067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21600" y="8640"/>
                  </a:moveTo>
                  <a:cubicBezTo>
                    <a:pt x="21600" y="3960"/>
                    <a:pt x="16676" y="0"/>
                    <a:pt x="10800" y="0"/>
                  </a:cubicBezTo>
                  <a:cubicBezTo>
                    <a:pt x="4765" y="0"/>
                    <a:pt x="0" y="3960"/>
                    <a:pt x="0" y="8640"/>
                  </a:cubicBezTo>
                  <a:cubicBezTo>
                    <a:pt x="0" y="12060"/>
                    <a:pt x="2382" y="14940"/>
                    <a:pt x="5876" y="16380"/>
                  </a:cubicBezTo>
                  <a:cubicBezTo>
                    <a:pt x="6035" y="17280"/>
                    <a:pt x="5718" y="19080"/>
                    <a:pt x="3335" y="21600"/>
                  </a:cubicBezTo>
                  <a:cubicBezTo>
                    <a:pt x="3335" y="21600"/>
                    <a:pt x="8576" y="19980"/>
                    <a:pt x="11435" y="17280"/>
                  </a:cubicBezTo>
                  <a:cubicBezTo>
                    <a:pt x="17153" y="16920"/>
                    <a:pt x="21600" y="13140"/>
                    <a:pt x="21600" y="8640"/>
                  </a:cubicBezTo>
                  <a:close/>
                  <a:moveTo>
                    <a:pt x="21600" y="8640"/>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grpSp>
      <p:grpSp>
        <p:nvGrpSpPr>
          <p:cNvPr id="47" name="Group 42"/>
          <p:cNvGrpSpPr/>
          <p:nvPr/>
        </p:nvGrpSpPr>
        <p:grpSpPr>
          <a:xfrm>
            <a:off x="704986" y="4322452"/>
            <a:ext cx="2644961" cy="474586"/>
            <a:chOff x="715169" y="4411422"/>
            <a:chExt cx="2687645" cy="484428"/>
          </a:xfrm>
        </p:grpSpPr>
        <p:sp>
          <p:nvSpPr>
            <p:cNvPr id="48" name="AutoShape 6"/>
            <p:cNvSpPr/>
            <p:nvPr/>
          </p:nvSpPr>
          <p:spPr bwMode="auto">
            <a:xfrm>
              <a:off x="715169" y="4411422"/>
              <a:ext cx="2687645" cy="484428"/>
            </a:xfrm>
            <a:custGeom>
              <a:avLst/>
              <a:gdLst>
                <a:gd name="T0" fmla="*/ 2147483647 w 21600"/>
                <a:gd name="T1" fmla="*/ 0 h 21600"/>
                <a:gd name="T2" fmla="*/ 2147483647 w 21600"/>
                <a:gd name="T3" fmla="*/ 80764474 h 21600"/>
                <a:gd name="T4" fmla="*/ 0 w 21600"/>
                <a:gd name="T5" fmla="*/ 80764474 h 21600"/>
                <a:gd name="T6" fmla="*/ 207283900 w 21600"/>
                <a:gd name="T7" fmla="*/ 0 h 21600"/>
                <a:gd name="T8" fmla="*/ 2147483647 w 21600"/>
                <a:gd name="T9" fmla="*/ 0 h 21600"/>
                <a:gd name="T10" fmla="*/ 2147483647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19799" y="0"/>
                  </a:moveTo>
                  <a:lnTo>
                    <a:pt x="21600" y="21600"/>
                  </a:lnTo>
                  <a:lnTo>
                    <a:pt x="0" y="21600"/>
                  </a:lnTo>
                  <a:lnTo>
                    <a:pt x="1801" y="0"/>
                  </a:lnTo>
                  <a:lnTo>
                    <a:pt x="19799" y="0"/>
                  </a:lnTo>
                  <a:close/>
                  <a:moveTo>
                    <a:pt x="19799" y="0"/>
                  </a:moveTo>
                </a:path>
              </a:pathLst>
            </a:custGeom>
            <a:solidFill>
              <a:srgbClr val="00AEEF"/>
            </a:solidFill>
            <a:ln>
              <a:no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49" name="AutoShape 13"/>
            <p:cNvSpPr/>
            <p:nvPr/>
          </p:nvSpPr>
          <p:spPr bwMode="auto">
            <a:xfrm>
              <a:off x="1904696" y="4488278"/>
              <a:ext cx="330715" cy="275984"/>
            </a:xfrm>
            <a:custGeom>
              <a:avLst/>
              <a:gdLst>
                <a:gd name="T0" fmla="*/ 37641800 w 21600"/>
                <a:gd name="T1" fmla="*/ 11419145 h 21579"/>
                <a:gd name="T2" fmla="*/ 36976087 w 21600"/>
                <a:gd name="T3" fmla="*/ 13007192 h 21579"/>
                <a:gd name="T4" fmla="*/ 35311824 w 21600"/>
                <a:gd name="T5" fmla="*/ 13896047 h 21579"/>
                <a:gd name="T6" fmla="*/ 35311824 w 21600"/>
                <a:gd name="T7" fmla="*/ 20198404 h 21579"/>
                <a:gd name="T8" fmla="*/ 34382990 w 21600"/>
                <a:gd name="T9" fmla="*/ 22043030 h 21579"/>
                <a:gd name="T10" fmla="*/ 32168064 w 21600"/>
                <a:gd name="T11" fmla="*/ 22810325 h 21579"/>
                <a:gd name="T12" fmla="*/ 28818624 w 21600"/>
                <a:gd name="T13" fmla="*/ 20554678 h 21579"/>
                <a:gd name="T14" fmla="*/ 24599628 w 21600"/>
                <a:gd name="T15" fmla="*/ 18549578 h 21579"/>
                <a:gd name="T16" fmla="*/ 19953619 w 21600"/>
                <a:gd name="T17" fmla="*/ 16985836 h 21579"/>
                <a:gd name="T18" fmla="*/ 15316376 w 21600"/>
                <a:gd name="T19" fmla="*/ 16133456 h 21579"/>
                <a:gd name="T20" fmla="*/ 13887391 w 21600"/>
                <a:gd name="T21" fmla="*/ 16815597 h 21579"/>
                <a:gd name="T22" fmla="*/ 13131048 w 21600"/>
                <a:gd name="T23" fmla="*/ 17882013 h 21579"/>
                <a:gd name="T24" fmla="*/ 13089219 w 21600"/>
                <a:gd name="T25" fmla="*/ 19088225 h 21579"/>
                <a:gd name="T26" fmla="*/ 13849027 w 21600"/>
                <a:gd name="T27" fmla="*/ 20198404 h 21579"/>
                <a:gd name="T28" fmla="*/ 13378515 w 21600"/>
                <a:gd name="T29" fmla="*/ 21489771 h 21579"/>
                <a:gd name="T30" fmla="*/ 13796761 w 21600"/>
                <a:gd name="T31" fmla="*/ 22624255 h 21579"/>
                <a:gd name="T32" fmla="*/ 14809254 w 21600"/>
                <a:gd name="T33" fmla="*/ 23673654 h 21579"/>
                <a:gd name="T34" fmla="*/ 16156335 w 21600"/>
                <a:gd name="T35" fmla="*/ 24673188 h 21579"/>
                <a:gd name="T36" fmla="*/ 14736074 w 21600"/>
                <a:gd name="T37" fmla="*/ 25794281 h 21579"/>
                <a:gd name="T38" fmla="*/ 12568195 w 21600"/>
                <a:gd name="T39" fmla="*/ 26229607 h 21579"/>
                <a:gd name="T40" fmla="*/ 10311399 w 21600"/>
                <a:gd name="T41" fmla="*/ 26050860 h 21579"/>
                <a:gd name="T42" fmla="*/ 8579175 w 21600"/>
                <a:gd name="T43" fmla="*/ 25305463 h 21579"/>
                <a:gd name="T44" fmla="*/ 7760130 w 21600"/>
                <a:gd name="T45" fmla="*/ 23171446 h 21579"/>
                <a:gd name="T46" fmla="*/ 7026456 w 21600"/>
                <a:gd name="T47" fmla="*/ 20943800 h 21579"/>
                <a:gd name="T48" fmla="*/ 6740667 w 21600"/>
                <a:gd name="T49" fmla="*/ 18581170 h 21579"/>
                <a:gd name="T50" fmla="*/ 7232093 w 21600"/>
                <a:gd name="T51" fmla="*/ 15994810 h 21579"/>
                <a:gd name="T52" fmla="*/ 3143802 w 21600"/>
                <a:gd name="T53" fmla="*/ 15994810 h 21579"/>
                <a:gd name="T54" fmla="*/ 930588 w 21600"/>
                <a:gd name="T55" fmla="*/ 15227550 h 21579"/>
                <a:gd name="T56" fmla="*/ 0 w 21600"/>
                <a:gd name="T57" fmla="*/ 13364687 h 21579"/>
                <a:gd name="T58" fmla="*/ 0 w 21600"/>
                <a:gd name="T59" fmla="*/ 9452926 h 21579"/>
                <a:gd name="T60" fmla="*/ 916645 w 21600"/>
                <a:gd name="T61" fmla="*/ 7593724 h 21579"/>
                <a:gd name="T62" fmla="*/ 3143802 w 21600"/>
                <a:gd name="T63" fmla="*/ 6815480 h 21579"/>
                <a:gd name="T64" fmla="*/ 13336686 w 21600"/>
                <a:gd name="T65" fmla="*/ 6815480 h 21579"/>
                <a:gd name="T66" fmla="*/ 18341663 w 21600"/>
                <a:gd name="T67" fmla="*/ 6245204 h 21579"/>
                <a:gd name="T68" fmla="*/ 23545307 w 21600"/>
                <a:gd name="T69" fmla="*/ 4710649 h 21579"/>
                <a:gd name="T70" fmla="*/ 28358548 w 21600"/>
                <a:gd name="T71" fmla="*/ 2519478 h 21579"/>
                <a:gd name="T72" fmla="*/ 32168064 w 21600"/>
                <a:gd name="T73" fmla="*/ 0 h 21579"/>
                <a:gd name="T74" fmla="*/ 34382990 w 21600"/>
                <a:gd name="T75" fmla="*/ 770922 h 21579"/>
                <a:gd name="T76" fmla="*/ 35311824 w 21600"/>
                <a:gd name="T77" fmla="*/ 2633785 h 21579"/>
                <a:gd name="T78" fmla="*/ 35311824 w 21600"/>
                <a:gd name="T79" fmla="*/ 8917905 h 21579"/>
                <a:gd name="T80" fmla="*/ 36976087 w 21600"/>
                <a:gd name="T81" fmla="*/ 9814047 h 21579"/>
                <a:gd name="T82" fmla="*/ 37641800 w 21600"/>
                <a:gd name="T83" fmla="*/ 11419145 h 21579"/>
                <a:gd name="T84" fmla="*/ 32168064 w 21600"/>
                <a:gd name="T85" fmla="*/ 3471588 h 21579"/>
                <a:gd name="T86" fmla="*/ 28776795 w 21600"/>
                <a:gd name="T87" fmla="*/ 5413468 h 21579"/>
                <a:gd name="T88" fmla="*/ 24885417 w 21600"/>
                <a:gd name="T89" fmla="*/ 7093957 h 21579"/>
                <a:gd name="T90" fmla="*/ 20699525 w 21600"/>
                <a:gd name="T91" fmla="*/ 8418138 h 21579"/>
                <a:gd name="T92" fmla="*/ 16480488 w 21600"/>
                <a:gd name="T93" fmla="*/ 9246212 h 21579"/>
                <a:gd name="T94" fmla="*/ 16480488 w 21600"/>
                <a:gd name="T95" fmla="*/ 13585976 h 21579"/>
                <a:gd name="T96" fmla="*/ 20699525 w 21600"/>
                <a:gd name="T97" fmla="*/ 14423780 h 21579"/>
                <a:gd name="T98" fmla="*/ 24885417 w 21600"/>
                <a:gd name="T99" fmla="*/ 15755283 h 21579"/>
                <a:gd name="T100" fmla="*/ 28797710 w 21600"/>
                <a:gd name="T101" fmla="*/ 17446687 h 21579"/>
                <a:gd name="T102" fmla="*/ 32168064 w 21600"/>
                <a:gd name="T103" fmla="*/ 19359415 h 21579"/>
                <a:gd name="T104" fmla="*/ 32168064 w 21600"/>
                <a:gd name="T105" fmla="*/ 3471588 h 21579"/>
                <a:gd name="T106" fmla="*/ 32168064 w 21600"/>
                <a:gd name="T107" fmla="*/ 3471588 h 2157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1600" h="21579">
                  <a:moveTo>
                    <a:pt x="21600" y="9391"/>
                  </a:moveTo>
                  <a:cubicBezTo>
                    <a:pt x="21600" y="9887"/>
                    <a:pt x="21473" y="10321"/>
                    <a:pt x="21218" y="10697"/>
                  </a:cubicBezTo>
                  <a:cubicBezTo>
                    <a:pt x="20963" y="11073"/>
                    <a:pt x="20648" y="11313"/>
                    <a:pt x="20263" y="11428"/>
                  </a:cubicBezTo>
                  <a:lnTo>
                    <a:pt x="20263" y="16611"/>
                  </a:lnTo>
                  <a:cubicBezTo>
                    <a:pt x="20263" y="17201"/>
                    <a:pt x="20087" y="17708"/>
                    <a:pt x="19730" y="18128"/>
                  </a:cubicBezTo>
                  <a:cubicBezTo>
                    <a:pt x="19375" y="18551"/>
                    <a:pt x="18951" y="18759"/>
                    <a:pt x="18459" y="18759"/>
                  </a:cubicBezTo>
                  <a:cubicBezTo>
                    <a:pt x="17928" y="18122"/>
                    <a:pt x="17286" y="17506"/>
                    <a:pt x="16537" y="16904"/>
                  </a:cubicBezTo>
                  <a:cubicBezTo>
                    <a:pt x="15786" y="16305"/>
                    <a:pt x="14980" y="15757"/>
                    <a:pt x="14116" y="15255"/>
                  </a:cubicBezTo>
                  <a:cubicBezTo>
                    <a:pt x="13254" y="14756"/>
                    <a:pt x="12363" y="14325"/>
                    <a:pt x="11450" y="13969"/>
                  </a:cubicBezTo>
                  <a:cubicBezTo>
                    <a:pt x="10537" y="13614"/>
                    <a:pt x="9648" y="13380"/>
                    <a:pt x="8789" y="13268"/>
                  </a:cubicBezTo>
                  <a:cubicBezTo>
                    <a:pt x="8453" y="13379"/>
                    <a:pt x="8179" y="13564"/>
                    <a:pt x="7969" y="13829"/>
                  </a:cubicBezTo>
                  <a:cubicBezTo>
                    <a:pt x="7758" y="14093"/>
                    <a:pt x="7614" y="14386"/>
                    <a:pt x="7535" y="14706"/>
                  </a:cubicBezTo>
                  <a:cubicBezTo>
                    <a:pt x="7457" y="15029"/>
                    <a:pt x="7450" y="15361"/>
                    <a:pt x="7511" y="15698"/>
                  </a:cubicBezTo>
                  <a:cubicBezTo>
                    <a:pt x="7575" y="16036"/>
                    <a:pt x="7719" y="16341"/>
                    <a:pt x="7947" y="16611"/>
                  </a:cubicBezTo>
                  <a:cubicBezTo>
                    <a:pt x="7751" y="16992"/>
                    <a:pt x="7660" y="17347"/>
                    <a:pt x="7677" y="17673"/>
                  </a:cubicBezTo>
                  <a:cubicBezTo>
                    <a:pt x="7692" y="17993"/>
                    <a:pt x="7773" y="18307"/>
                    <a:pt x="7917" y="18606"/>
                  </a:cubicBezTo>
                  <a:cubicBezTo>
                    <a:pt x="8059" y="18909"/>
                    <a:pt x="8255" y="19193"/>
                    <a:pt x="8498" y="19469"/>
                  </a:cubicBezTo>
                  <a:cubicBezTo>
                    <a:pt x="8737" y="19745"/>
                    <a:pt x="8997" y="20021"/>
                    <a:pt x="9271" y="20291"/>
                  </a:cubicBezTo>
                  <a:cubicBezTo>
                    <a:pt x="9114" y="20696"/>
                    <a:pt x="8843" y="21001"/>
                    <a:pt x="8456" y="21213"/>
                  </a:cubicBezTo>
                  <a:cubicBezTo>
                    <a:pt x="8069" y="21424"/>
                    <a:pt x="7655" y="21541"/>
                    <a:pt x="7212" y="21571"/>
                  </a:cubicBezTo>
                  <a:cubicBezTo>
                    <a:pt x="6772" y="21600"/>
                    <a:pt x="6341" y="21550"/>
                    <a:pt x="5917" y="21424"/>
                  </a:cubicBezTo>
                  <a:cubicBezTo>
                    <a:pt x="5496" y="21295"/>
                    <a:pt x="5163" y="21092"/>
                    <a:pt x="4923" y="20811"/>
                  </a:cubicBezTo>
                  <a:cubicBezTo>
                    <a:pt x="4781" y="20241"/>
                    <a:pt x="4625" y="19657"/>
                    <a:pt x="4453" y="19056"/>
                  </a:cubicBezTo>
                  <a:cubicBezTo>
                    <a:pt x="4282" y="18454"/>
                    <a:pt x="4140" y="17843"/>
                    <a:pt x="4032" y="17224"/>
                  </a:cubicBezTo>
                  <a:cubicBezTo>
                    <a:pt x="3922" y="16599"/>
                    <a:pt x="3868" y="15953"/>
                    <a:pt x="3868" y="15281"/>
                  </a:cubicBezTo>
                  <a:cubicBezTo>
                    <a:pt x="3868" y="14615"/>
                    <a:pt x="3961" y="13905"/>
                    <a:pt x="4150" y="13154"/>
                  </a:cubicBezTo>
                  <a:lnTo>
                    <a:pt x="1804" y="13154"/>
                  </a:lnTo>
                  <a:cubicBezTo>
                    <a:pt x="1312" y="13154"/>
                    <a:pt x="889" y="12945"/>
                    <a:pt x="534" y="12523"/>
                  </a:cubicBezTo>
                  <a:cubicBezTo>
                    <a:pt x="176" y="12100"/>
                    <a:pt x="0" y="11592"/>
                    <a:pt x="0" y="10991"/>
                  </a:cubicBezTo>
                  <a:lnTo>
                    <a:pt x="0" y="7774"/>
                  </a:lnTo>
                  <a:cubicBezTo>
                    <a:pt x="0" y="7184"/>
                    <a:pt x="176" y="6677"/>
                    <a:pt x="526" y="6245"/>
                  </a:cubicBezTo>
                  <a:cubicBezTo>
                    <a:pt x="879" y="5820"/>
                    <a:pt x="1305" y="5605"/>
                    <a:pt x="1804" y="5605"/>
                  </a:cubicBezTo>
                  <a:lnTo>
                    <a:pt x="7653" y="5605"/>
                  </a:lnTo>
                  <a:cubicBezTo>
                    <a:pt x="8551" y="5605"/>
                    <a:pt x="9509" y="5450"/>
                    <a:pt x="10525" y="5136"/>
                  </a:cubicBezTo>
                  <a:cubicBezTo>
                    <a:pt x="11541" y="4822"/>
                    <a:pt x="12537" y="4399"/>
                    <a:pt x="13511" y="3874"/>
                  </a:cubicBezTo>
                  <a:cubicBezTo>
                    <a:pt x="14488" y="3343"/>
                    <a:pt x="15409" y="2744"/>
                    <a:pt x="16273" y="2072"/>
                  </a:cubicBezTo>
                  <a:cubicBezTo>
                    <a:pt x="17135" y="1406"/>
                    <a:pt x="17864" y="713"/>
                    <a:pt x="18459" y="0"/>
                  </a:cubicBezTo>
                  <a:cubicBezTo>
                    <a:pt x="18951" y="0"/>
                    <a:pt x="19375" y="214"/>
                    <a:pt x="19730" y="634"/>
                  </a:cubicBezTo>
                  <a:cubicBezTo>
                    <a:pt x="20087" y="1057"/>
                    <a:pt x="20263" y="1567"/>
                    <a:pt x="20263" y="2166"/>
                  </a:cubicBezTo>
                  <a:lnTo>
                    <a:pt x="20263" y="7334"/>
                  </a:lnTo>
                  <a:cubicBezTo>
                    <a:pt x="20648" y="7446"/>
                    <a:pt x="20963" y="7692"/>
                    <a:pt x="21218" y="8071"/>
                  </a:cubicBezTo>
                  <a:cubicBezTo>
                    <a:pt x="21473" y="8455"/>
                    <a:pt x="21600" y="8895"/>
                    <a:pt x="21600" y="9391"/>
                  </a:cubicBezTo>
                  <a:moveTo>
                    <a:pt x="18459" y="2855"/>
                  </a:moveTo>
                  <a:cubicBezTo>
                    <a:pt x="17864" y="3407"/>
                    <a:pt x="17215" y="3941"/>
                    <a:pt x="16513" y="4452"/>
                  </a:cubicBezTo>
                  <a:cubicBezTo>
                    <a:pt x="15810" y="4963"/>
                    <a:pt x="15066" y="5423"/>
                    <a:pt x="14280" y="5834"/>
                  </a:cubicBezTo>
                  <a:cubicBezTo>
                    <a:pt x="13494" y="6245"/>
                    <a:pt x="12694" y="6609"/>
                    <a:pt x="11878" y="6923"/>
                  </a:cubicBezTo>
                  <a:cubicBezTo>
                    <a:pt x="11061" y="7237"/>
                    <a:pt x="10255" y="7463"/>
                    <a:pt x="9457" y="7604"/>
                  </a:cubicBezTo>
                  <a:lnTo>
                    <a:pt x="9457" y="11173"/>
                  </a:lnTo>
                  <a:cubicBezTo>
                    <a:pt x="10255" y="11325"/>
                    <a:pt x="11061" y="11554"/>
                    <a:pt x="11878" y="11862"/>
                  </a:cubicBezTo>
                  <a:cubicBezTo>
                    <a:pt x="12694" y="12170"/>
                    <a:pt x="13494" y="12537"/>
                    <a:pt x="14280" y="12957"/>
                  </a:cubicBezTo>
                  <a:cubicBezTo>
                    <a:pt x="15066" y="13379"/>
                    <a:pt x="15813" y="13843"/>
                    <a:pt x="16525" y="14348"/>
                  </a:cubicBezTo>
                  <a:cubicBezTo>
                    <a:pt x="17235" y="14856"/>
                    <a:pt x="17881" y="15381"/>
                    <a:pt x="18459" y="15921"/>
                  </a:cubicBezTo>
                  <a:lnTo>
                    <a:pt x="18459" y="2855"/>
                  </a:lnTo>
                  <a:close/>
                  <a:moveTo>
                    <a:pt x="18459" y="2855"/>
                  </a:moveTo>
                </a:path>
              </a:pathLst>
            </a:custGeom>
            <a:solidFill>
              <a:srgbClr val="FFFFFF"/>
            </a:solidFill>
            <a:ln>
              <a:noFill/>
            </a:ln>
            <a:extLs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grpSp>
      <p:grpSp>
        <p:nvGrpSpPr>
          <p:cNvPr id="50" name="Group 47"/>
          <p:cNvGrpSpPr/>
          <p:nvPr/>
        </p:nvGrpSpPr>
        <p:grpSpPr>
          <a:xfrm>
            <a:off x="2414238" y="2138330"/>
            <a:ext cx="1705244" cy="318863"/>
            <a:chOff x="2452007" y="2182004"/>
            <a:chExt cx="1732762" cy="325475"/>
          </a:xfrm>
        </p:grpSpPr>
        <p:sp>
          <p:nvSpPr>
            <p:cNvPr id="51" name="Freeform 25"/>
            <p:cNvSpPr/>
            <p:nvPr/>
          </p:nvSpPr>
          <p:spPr bwMode="auto">
            <a:xfrm>
              <a:off x="2471221" y="2182004"/>
              <a:ext cx="1655906" cy="268415"/>
            </a:xfrm>
            <a:custGeom>
              <a:avLst/>
              <a:gdLst>
                <a:gd name="T0" fmla="*/ 0 w 21600"/>
                <a:gd name="T1" fmla="*/ 2147483647 h 9600"/>
                <a:gd name="T2" fmla="*/ 2147483647 w 21600"/>
                <a:gd name="T3" fmla="*/ 2147483647 h 9600"/>
                <a:gd name="T4" fmla="*/ 0 60000 65536"/>
                <a:gd name="T5" fmla="*/ 0 60000 65536"/>
              </a:gdLst>
              <a:ahLst/>
              <a:cxnLst>
                <a:cxn ang="T4">
                  <a:pos x="T0" y="T1"/>
                </a:cxn>
                <a:cxn ang="T5">
                  <a:pos x="T2" y="T3"/>
                </a:cxn>
              </a:cxnLst>
              <a:rect l="0" t="0" r="r" b="b"/>
              <a:pathLst>
                <a:path w="21600" h="9600">
                  <a:moveTo>
                    <a:pt x="0" y="9600"/>
                  </a:moveTo>
                  <a:cubicBezTo>
                    <a:pt x="0" y="9600"/>
                    <a:pt x="9029" y="-12000"/>
                    <a:pt x="21600" y="9600"/>
                  </a:cubicBezTo>
                </a:path>
              </a:pathLst>
            </a:custGeom>
            <a:noFill/>
            <a:ln w="38100" cap="flat">
              <a:solidFill>
                <a:schemeClr val="bg2">
                  <a:lumMod val="90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52" name="Oval 30"/>
            <p:cNvSpPr/>
            <p:nvPr/>
          </p:nvSpPr>
          <p:spPr bwMode="auto">
            <a:xfrm>
              <a:off x="2452007" y="2386372"/>
              <a:ext cx="93159" cy="93159"/>
            </a:xfrm>
            <a:prstGeom prst="ellipse">
              <a:avLst/>
            </a:prstGeom>
            <a:solidFill>
              <a:schemeClr val="tx1">
                <a:lumMod val="40000"/>
                <a:lumOff val="60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sp>
          <p:nvSpPr>
            <p:cNvPr id="53" name="Oval 31"/>
            <p:cNvSpPr/>
            <p:nvPr/>
          </p:nvSpPr>
          <p:spPr bwMode="auto">
            <a:xfrm>
              <a:off x="4091610" y="2414320"/>
              <a:ext cx="93159" cy="93159"/>
            </a:xfrm>
            <a:prstGeom prst="ellipse">
              <a:avLst/>
            </a:prstGeom>
            <a:solidFill>
              <a:schemeClr val="tx1">
                <a:lumMod val="40000"/>
                <a:lumOff val="60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grpSp>
        <p:nvGrpSpPr>
          <p:cNvPr id="54" name="Group 49"/>
          <p:cNvGrpSpPr/>
          <p:nvPr/>
        </p:nvGrpSpPr>
        <p:grpSpPr>
          <a:xfrm>
            <a:off x="2615934" y="2633451"/>
            <a:ext cx="1498964" cy="334834"/>
            <a:chOff x="2656957" y="2687393"/>
            <a:chExt cx="1523154" cy="341778"/>
          </a:xfrm>
        </p:grpSpPr>
        <p:grpSp>
          <p:nvGrpSpPr>
            <p:cNvPr id="55" name="Group 48"/>
            <p:cNvGrpSpPr/>
            <p:nvPr/>
          </p:nvGrpSpPr>
          <p:grpSpPr>
            <a:xfrm>
              <a:off x="2701208" y="2687393"/>
              <a:ext cx="1478903" cy="291123"/>
              <a:chOff x="2701208" y="2687393"/>
              <a:chExt cx="1478903" cy="291123"/>
            </a:xfrm>
          </p:grpSpPr>
          <p:sp>
            <p:nvSpPr>
              <p:cNvPr id="57" name="Freeform 26"/>
              <p:cNvSpPr/>
              <p:nvPr/>
            </p:nvSpPr>
            <p:spPr bwMode="auto">
              <a:xfrm>
                <a:off x="2701208" y="2687393"/>
                <a:ext cx="1473081" cy="291123"/>
              </a:xfrm>
              <a:custGeom>
                <a:avLst/>
                <a:gdLst>
                  <a:gd name="T0" fmla="*/ 0 w 21600"/>
                  <a:gd name="T1" fmla="*/ 2147483647 h 10845"/>
                  <a:gd name="T2" fmla="*/ 2147483647 w 21600"/>
                  <a:gd name="T3" fmla="*/ 2147483647 h 10845"/>
                  <a:gd name="T4" fmla="*/ 0 60000 65536"/>
                  <a:gd name="T5" fmla="*/ 0 60000 65536"/>
                </a:gdLst>
                <a:ahLst/>
                <a:cxnLst>
                  <a:cxn ang="T4">
                    <a:pos x="T0" y="T1"/>
                  </a:cxn>
                  <a:cxn ang="T5">
                    <a:pos x="T2" y="T3"/>
                  </a:cxn>
                </a:cxnLst>
                <a:rect l="0" t="0" r="r" b="b"/>
                <a:pathLst>
                  <a:path w="21600" h="10845">
                    <a:moveTo>
                      <a:pt x="0" y="10845"/>
                    </a:moveTo>
                    <a:cubicBezTo>
                      <a:pt x="0" y="10845"/>
                      <a:pt x="8479" y="-10755"/>
                      <a:pt x="21600" y="7012"/>
                    </a:cubicBezTo>
                  </a:path>
                </a:pathLst>
              </a:custGeom>
              <a:noFill/>
              <a:ln w="38100" cap="flat">
                <a:solidFill>
                  <a:schemeClr val="bg2">
                    <a:lumMod val="90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58" name="Oval 32"/>
              <p:cNvSpPr/>
              <p:nvPr/>
            </p:nvSpPr>
            <p:spPr bwMode="auto">
              <a:xfrm>
                <a:off x="4086952" y="2810247"/>
                <a:ext cx="93159" cy="93159"/>
              </a:xfrm>
              <a:prstGeom prst="ellipse">
                <a:avLst/>
              </a:prstGeom>
              <a:solidFill>
                <a:schemeClr val="bg1">
                  <a:lumMod val="85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sp>
          <p:nvSpPr>
            <p:cNvPr id="56" name="Oval 33"/>
            <p:cNvSpPr/>
            <p:nvPr/>
          </p:nvSpPr>
          <p:spPr bwMode="auto">
            <a:xfrm>
              <a:off x="2656957" y="2936012"/>
              <a:ext cx="93159" cy="93159"/>
            </a:xfrm>
            <a:prstGeom prst="ellipse">
              <a:avLst/>
            </a:prstGeom>
            <a:solidFill>
              <a:schemeClr val="bg1">
                <a:lumMod val="85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grpSp>
        <p:nvGrpSpPr>
          <p:cNvPr id="59" name="Group 50"/>
          <p:cNvGrpSpPr/>
          <p:nvPr/>
        </p:nvGrpSpPr>
        <p:grpSpPr>
          <a:xfrm>
            <a:off x="2849716" y="3134848"/>
            <a:ext cx="1246845" cy="403854"/>
            <a:chOff x="2894513" y="3199187"/>
            <a:chExt cx="1266966" cy="412229"/>
          </a:xfrm>
        </p:grpSpPr>
        <p:sp>
          <p:nvSpPr>
            <p:cNvPr id="60" name="Freeform 27"/>
            <p:cNvSpPr/>
            <p:nvPr/>
          </p:nvSpPr>
          <p:spPr bwMode="auto">
            <a:xfrm>
              <a:off x="2948080" y="3199187"/>
              <a:ext cx="1191857" cy="352841"/>
            </a:xfrm>
            <a:custGeom>
              <a:avLst/>
              <a:gdLst>
                <a:gd name="T0" fmla="*/ 0 w 21600"/>
                <a:gd name="T1" fmla="*/ 2147483647 h 13858"/>
                <a:gd name="T2" fmla="*/ 2147483647 w 21600"/>
                <a:gd name="T3" fmla="*/ 2147483647 h 13858"/>
                <a:gd name="T4" fmla="*/ 0 60000 65536"/>
                <a:gd name="T5" fmla="*/ 0 60000 65536"/>
              </a:gdLst>
              <a:ahLst/>
              <a:cxnLst>
                <a:cxn ang="T4">
                  <a:pos x="T0" y="T1"/>
                </a:cxn>
                <a:cxn ang="T5">
                  <a:pos x="T2" y="T3"/>
                </a:cxn>
              </a:cxnLst>
              <a:rect l="0" t="0" r="r" b="b"/>
              <a:pathLst>
                <a:path w="21600" h="13858">
                  <a:moveTo>
                    <a:pt x="0" y="13858"/>
                  </a:moveTo>
                  <a:cubicBezTo>
                    <a:pt x="0" y="13858"/>
                    <a:pt x="7202" y="-7742"/>
                    <a:pt x="21600" y="2992"/>
                  </a:cubicBezTo>
                </a:path>
              </a:pathLst>
            </a:custGeom>
            <a:noFill/>
            <a:ln w="38100" cap="flat">
              <a:solidFill>
                <a:schemeClr val="bg2">
                  <a:lumMod val="90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61" name="Oval 34"/>
            <p:cNvSpPr/>
            <p:nvPr/>
          </p:nvSpPr>
          <p:spPr bwMode="auto">
            <a:xfrm>
              <a:off x="2894513" y="3518257"/>
              <a:ext cx="93159" cy="93159"/>
            </a:xfrm>
            <a:prstGeom prst="ellipse">
              <a:avLst/>
            </a:prstGeom>
            <a:solidFill>
              <a:schemeClr val="tx1">
                <a:lumMod val="40000"/>
                <a:lumOff val="60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sp>
          <p:nvSpPr>
            <p:cNvPr id="62" name="Oval 35"/>
            <p:cNvSpPr/>
            <p:nvPr/>
          </p:nvSpPr>
          <p:spPr bwMode="auto">
            <a:xfrm>
              <a:off x="4068320" y="3220148"/>
              <a:ext cx="93159" cy="93159"/>
            </a:xfrm>
            <a:prstGeom prst="ellipse">
              <a:avLst/>
            </a:prstGeom>
            <a:solidFill>
              <a:schemeClr val="tx1">
                <a:lumMod val="40000"/>
                <a:lumOff val="60000"/>
              </a:schemeClr>
            </a:solidFill>
            <a:ln>
              <a:solidFill>
                <a:schemeClr val="bg2">
                  <a:lumMod val="90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grpSp>
        <p:nvGrpSpPr>
          <p:cNvPr id="63" name="Group 51"/>
          <p:cNvGrpSpPr/>
          <p:nvPr/>
        </p:nvGrpSpPr>
        <p:grpSpPr>
          <a:xfrm>
            <a:off x="3065166" y="3577717"/>
            <a:ext cx="1031397" cy="490332"/>
            <a:chOff x="3113438" y="3651239"/>
            <a:chExt cx="1048041" cy="500501"/>
          </a:xfrm>
        </p:grpSpPr>
        <p:sp>
          <p:nvSpPr>
            <p:cNvPr id="64" name="Freeform 28"/>
            <p:cNvSpPr/>
            <p:nvPr/>
          </p:nvSpPr>
          <p:spPr bwMode="auto">
            <a:xfrm>
              <a:off x="3163511" y="3678957"/>
              <a:ext cx="973514" cy="416306"/>
            </a:xfrm>
            <a:custGeom>
              <a:avLst/>
              <a:gdLst>
                <a:gd name="T0" fmla="*/ 0 w 21600"/>
                <a:gd name="T1" fmla="*/ 2147483647 h 17258"/>
                <a:gd name="T2" fmla="*/ 2147483647 w 21600"/>
                <a:gd name="T3" fmla="*/ 1459504296 h 17258"/>
                <a:gd name="T4" fmla="*/ 0 60000 65536"/>
                <a:gd name="T5" fmla="*/ 0 60000 65536"/>
              </a:gdLst>
              <a:ahLst/>
              <a:cxnLst>
                <a:cxn ang="T4">
                  <a:pos x="T0" y="T1"/>
                </a:cxn>
                <a:cxn ang="T5">
                  <a:pos x="T2" y="T3"/>
                </a:cxn>
              </a:cxnLst>
              <a:rect l="0" t="0" r="r" b="b"/>
              <a:pathLst>
                <a:path w="21600" h="17258">
                  <a:moveTo>
                    <a:pt x="0" y="17258"/>
                  </a:moveTo>
                  <a:cubicBezTo>
                    <a:pt x="0" y="17258"/>
                    <a:pt x="5818" y="-4342"/>
                    <a:pt x="21600" y="788"/>
                  </a:cubicBezTo>
                </a:path>
              </a:pathLst>
            </a:custGeom>
            <a:noFill/>
            <a:ln w="38100" cap="flat">
              <a:solidFill>
                <a:schemeClr val="bg1">
                  <a:lumMod val="85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65" name="Oval 36"/>
            <p:cNvSpPr/>
            <p:nvPr/>
          </p:nvSpPr>
          <p:spPr bwMode="auto">
            <a:xfrm>
              <a:off x="4068320" y="3651239"/>
              <a:ext cx="93159" cy="93159"/>
            </a:xfrm>
            <a:prstGeom prst="ellipse">
              <a:avLst/>
            </a:prstGeom>
            <a:solidFill>
              <a:schemeClr val="bg1">
                <a:lumMod val="85000"/>
              </a:schemeClr>
            </a:solidFill>
            <a:ln>
              <a:solidFill>
                <a:schemeClr val="bg1">
                  <a:lumMod val="85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sp>
          <p:nvSpPr>
            <p:cNvPr id="66" name="Oval 37"/>
            <p:cNvSpPr/>
            <p:nvPr/>
          </p:nvSpPr>
          <p:spPr bwMode="auto">
            <a:xfrm>
              <a:off x="3113438" y="4058581"/>
              <a:ext cx="93159" cy="93159"/>
            </a:xfrm>
            <a:prstGeom prst="ellipse">
              <a:avLst/>
            </a:prstGeom>
            <a:solidFill>
              <a:schemeClr val="bg1">
                <a:lumMod val="85000"/>
              </a:schemeClr>
            </a:solidFill>
            <a:ln>
              <a:solidFill>
                <a:schemeClr val="bg1">
                  <a:lumMod val="85000"/>
                </a:schemeClr>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grpSp>
        <p:nvGrpSpPr>
          <p:cNvPr id="67" name="Group 52"/>
          <p:cNvGrpSpPr/>
          <p:nvPr/>
        </p:nvGrpSpPr>
        <p:grpSpPr>
          <a:xfrm>
            <a:off x="3298950" y="3949402"/>
            <a:ext cx="793029" cy="625176"/>
            <a:chOff x="3350994" y="4030633"/>
            <a:chExt cx="805827" cy="638141"/>
          </a:xfrm>
        </p:grpSpPr>
        <p:sp>
          <p:nvSpPr>
            <p:cNvPr id="68" name="Freeform 29"/>
            <p:cNvSpPr/>
            <p:nvPr/>
          </p:nvSpPr>
          <p:spPr bwMode="auto">
            <a:xfrm>
              <a:off x="3398738" y="4075466"/>
              <a:ext cx="728389" cy="546728"/>
            </a:xfrm>
            <a:custGeom>
              <a:avLst/>
              <a:gdLst>
                <a:gd name="T0" fmla="*/ 0 w 21600"/>
                <a:gd name="T1" fmla="*/ 2147483647 h 21600"/>
                <a:gd name="T2" fmla="*/ 2147483647 w 21600"/>
                <a:gd name="T3" fmla="*/ 0 h 21600"/>
                <a:gd name="T4" fmla="*/ 0 60000 65536"/>
                <a:gd name="T5" fmla="*/ 0 60000 65536"/>
              </a:gdLst>
              <a:ahLst/>
              <a:cxnLst>
                <a:cxn ang="T4">
                  <a:pos x="T0" y="T1"/>
                </a:cxn>
                <a:cxn ang="T5">
                  <a:pos x="T2" y="T3"/>
                </a:cxn>
              </a:cxnLst>
              <a:rect l="0" t="0" r="r" b="b"/>
              <a:pathLst>
                <a:path w="21600" h="21600">
                  <a:moveTo>
                    <a:pt x="0" y="21600"/>
                  </a:moveTo>
                  <a:cubicBezTo>
                    <a:pt x="0" y="21600"/>
                    <a:pt x="3117" y="2089"/>
                    <a:pt x="21600" y="0"/>
                  </a:cubicBezTo>
                </a:path>
              </a:pathLst>
            </a:custGeom>
            <a:noFill/>
            <a:ln w="38100" cap="flat">
              <a:solidFill>
                <a:schemeClr val="bg2">
                  <a:lumMod val="90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endParaRPr lang="zh-CN" altLang="en-US" sz="5700">
                <a:solidFill>
                  <a:schemeClr val="tx1">
                    <a:lumMod val="50000"/>
                    <a:lumOff val="50000"/>
                  </a:schemeClr>
                </a:solidFill>
              </a:endParaRPr>
            </a:p>
          </p:txBody>
        </p:sp>
        <p:sp>
          <p:nvSpPr>
            <p:cNvPr id="69" name="Oval 38"/>
            <p:cNvSpPr/>
            <p:nvPr/>
          </p:nvSpPr>
          <p:spPr bwMode="auto">
            <a:xfrm>
              <a:off x="3350994" y="4575615"/>
              <a:ext cx="93159" cy="93159"/>
            </a:xfrm>
            <a:prstGeom prst="ellipse">
              <a:avLst/>
            </a:prstGeom>
            <a:solidFill>
              <a:schemeClr val="tx1">
                <a:lumMod val="40000"/>
                <a:lumOff val="60000"/>
              </a:schemeClr>
            </a:solidFill>
            <a:ln>
              <a:solidFill>
                <a:schemeClr val="bg2"/>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sp>
          <p:nvSpPr>
            <p:cNvPr id="70" name="Oval 39"/>
            <p:cNvSpPr/>
            <p:nvPr/>
          </p:nvSpPr>
          <p:spPr bwMode="auto">
            <a:xfrm>
              <a:off x="4063662" y="4030633"/>
              <a:ext cx="93159" cy="93159"/>
            </a:xfrm>
            <a:prstGeom prst="ellipse">
              <a:avLst/>
            </a:prstGeom>
            <a:solidFill>
              <a:schemeClr val="tx1">
                <a:lumMod val="40000"/>
                <a:lumOff val="60000"/>
              </a:schemeClr>
            </a:solidFill>
            <a:ln>
              <a:solidFill>
                <a:srgbClr val="00B0F0"/>
              </a:solidFill>
            </a:ln>
          </p:spPr>
          <p:txBody>
            <a:bodyPr lIns="0" tIns="0" rIns="0" bIns="0"/>
            <a:lstStyle>
              <a:defPPr>
                <a:defRPr lang="en-US"/>
              </a:defPPr>
              <a:lvl1pPr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1pPr>
              <a:lvl2pPr marL="4572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2pPr>
              <a:lvl3pPr marL="9144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3pPr>
              <a:lvl4pPr marL="13716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4pPr>
              <a:lvl5pPr marL="1828800" algn="ctr" rtl="0" fontAlgn="base">
                <a:spcBef>
                  <a:spcPct val="0"/>
                </a:spcBef>
                <a:spcAft>
                  <a:spcPct val="0"/>
                </a:spcAft>
                <a:defRPr sz="58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5800" kern="1200">
                  <a:solidFill>
                    <a:srgbClr val="000000"/>
                  </a:solidFill>
                  <a:latin typeface="Gill Sans" pitchFamily="2" charset="0"/>
                  <a:ea typeface="ヒラギノ角ゴ ProN W3" pitchFamily="2" charset="-128"/>
                  <a:cs typeface="+mn-cs"/>
                  <a:sym typeface="Gill Sans" pitchFamily="2" charset="0"/>
                </a:defRPr>
              </a:lvl9pPr>
            </a:lstStyle>
            <a:p>
              <a:pPr eaLnBrk="1" hangingPunct="1"/>
              <a:endParaRPr lang="es-ES" altLang="zh-CN" sz="5700">
                <a:solidFill>
                  <a:schemeClr val="tx1">
                    <a:lumMod val="50000"/>
                    <a:lumOff val="50000"/>
                  </a:schemeClr>
                </a:solidFill>
              </a:endParaRPr>
            </a:p>
          </p:txBody>
        </p:sp>
      </p:grpSp>
      <p:graphicFrame>
        <p:nvGraphicFramePr>
          <p:cNvPr id="71" name="图表 43"/>
          <p:cNvGraphicFramePr/>
          <p:nvPr/>
        </p:nvGraphicFramePr>
        <p:xfrm>
          <a:off x="4091978" y="1906172"/>
          <a:ext cx="4263920" cy="2577140"/>
        </p:xfrm>
        <a:graphic>
          <a:graphicData uri="http://schemas.openxmlformats.org/drawingml/2006/chart">
            <c:chart xmlns:c="http://schemas.openxmlformats.org/drawingml/2006/chart" xmlns:r="http://schemas.openxmlformats.org/officeDocument/2006/relationships" r:id="rId3"/>
          </a:graphicData>
        </a:graphic>
      </p:graphicFrame>
      <p:grpSp>
        <p:nvGrpSpPr>
          <p:cNvPr id="72" name="组合 3"/>
          <p:cNvGrpSpPr/>
          <p:nvPr/>
        </p:nvGrpSpPr>
        <p:grpSpPr>
          <a:xfrm>
            <a:off x="220671" y="748097"/>
            <a:ext cx="7888779" cy="921266"/>
            <a:chOff x="5054599" y="1342008"/>
            <a:chExt cx="3392426" cy="940371"/>
          </a:xfrm>
        </p:grpSpPr>
        <p:sp>
          <p:nvSpPr>
            <p:cNvPr id="73" name="TextBox 72"/>
            <p:cNvSpPr txBox="1"/>
            <p:nvPr/>
          </p:nvSpPr>
          <p:spPr>
            <a:xfrm>
              <a:off x="5054600" y="1342008"/>
              <a:ext cx="542650" cy="314160"/>
            </a:xfrm>
            <a:prstGeom prst="rect">
              <a:avLst/>
            </a:prstGeom>
            <a:noFill/>
          </p:spPr>
          <p:txBody>
            <a:bodyPr wrap="none" rtlCol="0">
              <a:spAutoFit/>
            </a:bodyPr>
            <a:lstStyle>
              <a:defPPr>
                <a:defRPr lang="zh-CN"/>
              </a:defPPr>
              <a:lvl1pPr>
                <a:defRPr sz="1400">
                  <a:solidFill>
                    <a:srgbClr val="0070C0"/>
                  </a:solidFill>
                  <a:latin typeface="微软雅黑" panose="020B0503020204020204" pitchFamily="34" charset="-122"/>
                  <a:ea typeface="微软雅黑" panose="020B0503020204020204" pitchFamily="34" charset="-122"/>
                </a:defRPr>
              </a:lvl1pPr>
            </a:lstStyle>
            <a:p>
              <a:pPr algn="l">
                <a:defRPr/>
              </a:pPr>
              <a:r>
                <a:rPr lang="zh-CN" altLang="en-US" dirty="0">
                  <a:solidFill>
                    <a:srgbClr val="00A4E3"/>
                  </a:solidFill>
                </a:rPr>
                <a:t>点击添加标题</a:t>
              </a:r>
              <a:endParaRPr lang="en-US" altLang="zh-CN" dirty="0">
                <a:solidFill>
                  <a:srgbClr val="00A4E3"/>
                </a:solidFill>
              </a:endParaRPr>
            </a:p>
          </p:txBody>
        </p:sp>
        <p:sp>
          <p:nvSpPr>
            <p:cNvPr id="74" name="矩形 35"/>
            <p:cNvSpPr/>
            <p:nvPr/>
          </p:nvSpPr>
          <p:spPr>
            <a:xfrm>
              <a:off x="5054599" y="1650919"/>
              <a:ext cx="3392426" cy="631460"/>
            </a:xfrm>
            <a:prstGeom prst="rect">
              <a:avLst/>
            </a:prstGeom>
          </p:spPr>
          <p:txBody>
            <a:bodyPr wrap="square">
              <a:spAutoFit/>
            </a:bodyPr>
            <a:lstStyle/>
            <a:p>
              <a:pPr algn="just">
                <a:lnSpc>
                  <a:spcPct val="114000"/>
                </a:lnSpc>
              </a:pPr>
              <a:r>
                <a:rPr lang="zh-CN" altLang="en-US" sz="10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r>
                <a:rPr lang="en-US" altLang="zh-CN" sz="10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1000" dirty="0">
                  <a:solidFill>
                    <a:schemeClr val="bg1">
                      <a:lumMod val="85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a:p>
              <a:pPr algn="just">
                <a:lnSpc>
                  <a:spcPct val="114000"/>
                </a:lnSpc>
              </a:pPr>
              <a:endParaRPr lang="zh-CN" altLang="en-US" sz="1000" dirty="0">
                <a:solidFill>
                  <a:schemeClr val="bg1">
                    <a:lumMod val="85000"/>
                  </a:schemeClr>
                </a:solidFill>
                <a:latin typeface="微软雅黑" panose="020B0503020204020204" pitchFamily="34" charset="-122"/>
                <a:ea typeface="微软雅黑" panose="020B0503020204020204" pitchFamily="34" charset="-122"/>
              </a:endParaRPr>
            </a:p>
          </p:txBody>
        </p:sp>
      </p:grpSp>
      <p:sp>
        <p:nvSpPr>
          <p:cNvPr id="75" name="平行四边形 74"/>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平行四边形 75"/>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平行四边形 76"/>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8" name="平行四边形 77"/>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79" name="直接连接符 78"/>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80"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81" name="Group 7"/>
          <p:cNvGrpSpPr/>
          <p:nvPr/>
        </p:nvGrpSpPr>
        <p:grpSpPr bwMode="auto">
          <a:xfrm>
            <a:off x="180202" y="181952"/>
            <a:ext cx="216018" cy="113981"/>
            <a:chOff x="0" y="0"/>
            <a:chExt cx="1041399" cy="549275"/>
          </a:xfrm>
          <a:solidFill>
            <a:srgbClr val="133E73"/>
          </a:solidFill>
        </p:grpSpPr>
        <p:sp>
          <p:nvSpPr>
            <p:cNvPr id="82"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3"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4"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81"/>
                                        </p:tgtEl>
                                        <p:attrNameLst>
                                          <p:attrName>style.visibility</p:attrName>
                                        </p:attrNameLst>
                                      </p:cBhvr>
                                      <p:to>
                                        <p:strVal val="visible"/>
                                      </p:to>
                                    </p:set>
                                    <p:anim calcmode="lin" valueType="num">
                                      <p:cBhvr additive="base">
                                        <p:cTn id="7" dur="500" fill="hold"/>
                                        <p:tgtEl>
                                          <p:spTgt spid="81"/>
                                        </p:tgtEl>
                                        <p:attrNameLst>
                                          <p:attrName>ppt_x</p:attrName>
                                        </p:attrNameLst>
                                      </p:cBhvr>
                                      <p:tavLst>
                                        <p:tav tm="0">
                                          <p:val>
                                            <p:strVal val="0-#ppt_w/2"/>
                                          </p:val>
                                        </p:tav>
                                        <p:tav tm="100000">
                                          <p:val>
                                            <p:strVal val="#ppt_x"/>
                                          </p:val>
                                        </p:tav>
                                      </p:tavLst>
                                    </p:anim>
                                    <p:anim calcmode="lin" valueType="num">
                                      <p:cBhvr additive="base">
                                        <p:cTn id="8" dur="500" fill="hold"/>
                                        <p:tgtEl>
                                          <p:spTgt spid="81"/>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80"/>
                                        </p:tgtEl>
                                        <p:attrNameLst>
                                          <p:attrName>style.visibility</p:attrName>
                                        </p:attrNameLst>
                                      </p:cBhvr>
                                      <p:to>
                                        <p:strVal val="visible"/>
                                      </p:to>
                                    </p:set>
                                    <p:anim calcmode="lin" valueType="num">
                                      <p:cBhvr>
                                        <p:cTn id="12" dur="500" fill="hold"/>
                                        <p:tgtEl>
                                          <p:spTgt spid="80"/>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80"/>
                                        </p:tgtEl>
                                        <p:attrNameLst>
                                          <p:attrName>ppt_y</p:attrName>
                                        </p:attrNameLst>
                                      </p:cBhvr>
                                      <p:tavLst>
                                        <p:tav tm="0">
                                          <p:val>
                                            <p:strVal val="#ppt_y"/>
                                          </p:val>
                                        </p:tav>
                                        <p:tav tm="100000">
                                          <p:val>
                                            <p:strVal val="#ppt_y"/>
                                          </p:val>
                                        </p:tav>
                                      </p:tavLst>
                                    </p:anim>
                                    <p:anim calcmode="lin" valueType="num">
                                      <p:cBhvr>
                                        <p:cTn id="14" dur="500" fill="hold"/>
                                        <p:tgtEl>
                                          <p:spTgt spid="80"/>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80"/>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80"/>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77"/>
                                        </p:tgtEl>
                                        <p:attrNameLst>
                                          <p:attrName>fillcolor</p:attrName>
                                        </p:attrNameLst>
                                      </p:cBhvr>
                                      <p:to>
                                        <a:srgbClr val="00AEEF"/>
                                      </p:to>
                                    </p:animClr>
                                    <p:set>
                                      <p:cBhvr>
                                        <p:cTn id="20" dur="300" fill="hold"/>
                                        <p:tgtEl>
                                          <p:spTgt spid="77"/>
                                        </p:tgtEl>
                                        <p:attrNameLst>
                                          <p:attrName>fill.type</p:attrName>
                                        </p:attrNameLst>
                                      </p:cBhvr>
                                      <p:to>
                                        <p:strVal val="solid"/>
                                      </p:to>
                                    </p:set>
                                    <p:set>
                                      <p:cBhvr>
                                        <p:cTn id="21" dur="300" fill="hold"/>
                                        <p:tgtEl>
                                          <p:spTgt spid="77"/>
                                        </p:tgtEl>
                                        <p:attrNameLst>
                                          <p:attrName>fill.on</p:attrName>
                                        </p:attrNameLst>
                                      </p:cBhvr>
                                      <p:to>
                                        <p:strVal val="true"/>
                                      </p:to>
                                    </p:set>
                                  </p:childTnLst>
                                </p:cTn>
                              </p:par>
                              <p:par>
                                <p:cTn id="22" presetID="53" presetClass="entr" presetSubtype="16" fill="hold" nodeType="withEffect">
                                  <p:stCondLst>
                                    <p:cond delay="0"/>
                                  </p:stCondLst>
                                  <p:childTnLst>
                                    <p:set>
                                      <p:cBhvr>
                                        <p:cTn id="23" dur="1" fill="hold">
                                          <p:stCondLst>
                                            <p:cond delay="0"/>
                                          </p:stCondLst>
                                        </p:cTn>
                                        <p:tgtEl>
                                          <p:spTgt spid="72"/>
                                        </p:tgtEl>
                                        <p:attrNameLst>
                                          <p:attrName>style.visibility</p:attrName>
                                        </p:attrNameLst>
                                      </p:cBhvr>
                                      <p:to>
                                        <p:strVal val="visible"/>
                                      </p:to>
                                    </p:set>
                                    <p:anim calcmode="lin" valueType="num">
                                      <p:cBhvr>
                                        <p:cTn id="24" dur="500" fill="hold"/>
                                        <p:tgtEl>
                                          <p:spTgt spid="72"/>
                                        </p:tgtEl>
                                        <p:attrNameLst>
                                          <p:attrName>ppt_w</p:attrName>
                                        </p:attrNameLst>
                                      </p:cBhvr>
                                      <p:tavLst>
                                        <p:tav tm="0">
                                          <p:val>
                                            <p:fltVal val="0"/>
                                          </p:val>
                                        </p:tav>
                                        <p:tav tm="100000">
                                          <p:val>
                                            <p:strVal val="#ppt_w"/>
                                          </p:val>
                                        </p:tav>
                                      </p:tavLst>
                                    </p:anim>
                                    <p:anim calcmode="lin" valueType="num">
                                      <p:cBhvr>
                                        <p:cTn id="25" dur="500" fill="hold"/>
                                        <p:tgtEl>
                                          <p:spTgt spid="72"/>
                                        </p:tgtEl>
                                        <p:attrNameLst>
                                          <p:attrName>ppt_h</p:attrName>
                                        </p:attrNameLst>
                                      </p:cBhvr>
                                      <p:tavLst>
                                        <p:tav tm="0">
                                          <p:val>
                                            <p:fltVal val="0"/>
                                          </p:val>
                                        </p:tav>
                                        <p:tav tm="100000">
                                          <p:val>
                                            <p:strVal val="#ppt_h"/>
                                          </p:val>
                                        </p:tav>
                                      </p:tavLst>
                                    </p:anim>
                                    <p:animEffect transition="in" filter="fade">
                                      <p:cBhvr>
                                        <p:cTn id="26" dur="500"/>
                                        <p:tgtEl>
                                          <p:spTgt spid="72"/>
                                        </p:tgtEl>
                                      </p:cBhvr>
                                    </p:animEffect>
                                  </p:childTnLst>
                                </p:cTn>
                              </p:par>
                            </p:childTnLst>
                          </p:cTn>
                        </p:par>
                        <p:par>
                          <p:cTn id="27" fill="hold">
                            <p:stCondLst>
                              <p:cond delay="1799"/>
                            </p:stCondLst>
                            <p:childTnLst>
                              <p:par>
                                <p:cTn id="28" presetID="12" presetClass="entr" presetSubtype="4" fill="hold" nodeType="afterEffect">
                                  <p:stCondLst>
                                    <p:cond delay="0"/>
                                  </p:stCondLst>
                                  <p:childTnLst>
                                    <p:set>
                                      <p:cBhvr>
                                        <p:cTn id="29" dur="1" fill="hold">
                                          <p:stCondLst>
                                            <p:cond delay="0"/>
                                          </p:stCondLst>
                                        </p:cTn>
                                        <p:tgtEl>
                                          <p:spTgt spid="47"/>
                                        </p:tgtEl>
                                        <p:attrNameLst>
                                          <p:attrName>style.visibility</p:attrName>
                                        </p:attrNameLst>
                                      </p:cBhvr>
                                      <p:to>
                                        <p:strVal val="visible"/>
                                      </p:to>
                                    </p:set>
                                    <p:animEffect transition="in" filter="slide(fromBottom)">
                                      <p:cBhvr>
                                        <p:cTn id="30" dur="500"/>
                                        <p:tgtEl>
                                          <p:spTgt spid="47"/>
                                        </p:tgtEl>
                                      </p:cBhvr>
                                    </p:animEffect>
                                  </p:childTnLst>
                                </p:cTn>
                              </p:par>
                            </p:childTnLst>
                          </p:cTn>
                        </p:par>
                        <p:par>
                          <p:cTn id="31" fill="hold">
                            <p:stCondLst>
                              <p:cond delay="2299"/>
                            </p:stCondLst>
                            <p:childTnLst>
                              <p:par>
                                <p:cTn id="32" presetID="12" presetClass="entr" presetSubtype="4" fill="hold" nodeType="afterEffect">
                                  <p:stCondLst>
                                    <p:cond delay="0"/>
                                  </p:stCondLst>
                                  <p:childTnLst>
                                    <p:set>
                                      <p:cBhvr>
                                        <p:cTn id="33" dur="1" fill="hold">
                                          <p:stCondLst>
                                            <p:cond delay="0"/>
                                          </p:stCondLst>
                                        </p:cTn>
                                        <p:tgtEl>
                                          <p:spTgt spid="36"/>
                                        </p:tgtEl>
                                        <p:attrNameLst>
                                          <p:attrName>style.visibility</p:attrName>
                                        </p:attrNameLst>
                                      </p:cBhvr>
                                      <p:to>
                                        <p:strVal val="visible"/>
                                      </p:to>
                                    </p:set>
                                    <p:animEffect transition="in" filter="slide(fromBottom)">
                                      <p:cBhvr>
                                        <p:cTn id="34" dur="500"/>
                                        <p:tgtEl>
                                          <p:spTgt spid="36"/>
                                        </p:tgtEl>
                                      </p:cBhvr>
                                    </p:animEffect>
                                  </p:childTnLst>
                                </p:cTn>
                              </p:par>
                            </p:childTnLst>
                          </p:cTn>
                        </p:par>
                        <p:par>
                          <p:cTn id="35" fill="hold">
                            <p:stCondLst>
                              <p:cond delay="2799"/>
                            </p:stCondLst>
                            <p:childTnLst>
                              <p:par>
                                <p:cTn id="36" presetID="12" presetClass="entr" presetSubtype="4" fill="hold" nodeType="afterEffect">
                                  <p:stCondLst>
                                    <p:cond delay="0"/>
                                  </p:stCondLst>
                                  <p:childTnLst>
                                    <p:set>
                                      <p:cBhvr>
                                        <p:cTn id="37" dur="1" fill="hold">
                                          <p:stCondLst>
                                            <p:cond delay="0"/>
                                          </p:stCondLst>
                                        </p:cTn>
                                        <p:tgtEl>
                                          <p:spTgt spid="44"/>
                                        </p:tgtEl>
                                        <p:attrNameLst>
                                          <p:attrName>style.visibility</p:attrName>
                                        </p:attrNameLst>
                                      </p:cBhvr>
                                      <p:to>
                                        <p:strVal val="visible"/>
                                      </p:to>
                                    </p:set>
                                    <p:animEffect transition="in" filter="slide(fromBottom)">
                                      <p:cBhvr>
                                        <p:cTn id="38" dur="500"/>
                                        <p:tgtEl>
                                          <p:spTgt spid="44"/>
                                        </p:tgtEl>
                                      </p:cBhvr>
                                    </p:animEffect>
                                  </p:childTnLst>
                                </p:cTn>
                              </p:par>
                            </p:childTnLst>
                          </p:cTn>
                        </p:par>
                        <p:par>
                          <p:cTn id="39" fill="hold">
                            <p:stCondLst>
                              <p:cond delay="3299"/>
                            </p:stCondLst>
                            <p:childTnLst>
                              <p:par>
                                <p:cTn id="40" presetID="12" presetClass="entr" presetSubtype="4" fill="hold" nodeType="afterEffect">
                                  <p:stCondLst>
                                    <p:cond delay="0"/>
                                  </p:stCondLst>
                                  <p:childTnLst>
                                    <p:set>
                                      <p:cBhvr>
                                        <p:cTn id="41" dur="1" fill="hold">
                                          <p:stCondLst>
                                            <p:cond delay="0"/>
                                          </p:stCondLst>
                                        </p:cTn>
                                        <p:tgtEl>
                                          <p:spTgt spid="41"/>
                                        </p:tgtEl>
                                        <p:attrNameLst>
                                          <p:attrName>style.visibility</p:attrName>
                                        </p:attrNameLst>
                                      </p:cBhvr>
                                      <p:to>
                                        <p:strVal val="visible"/>
                                      </p:to>
                                    </p:set>
                                    <p:animEffect transition="in" filter="slide(fromBottom)">
                                      <p:cBhvr>
                                        <p:cTn id="42" dur="500"/>
                                        <p:tgtEl>
                                          <p:spTgt spid="41"/>
                                        </p:tgtEl>
                                      </p:cBhvr>
                                    </p:animEffect>
                                  </p:childTnLst>
                                </p:cTn>
                              </p:par>
                            </p:childTnLst>
                          </p:cTn>
                        </p:par>
                        <p:par>
                          <p:cTn id="43" fill="hold">
                            <p:stCondLst>
                              <p:cond delay="3799"/>
                            </p:stCondLst>
                            <p:childTnLst>
                              <p:par>
                                <p:cTn id="44" presetID="12" presetClass="entr" presetSubtype="4" fill="hold" nodeType="afterEffect">
                                  <p:stCondLst>
                                    <p:cond delay="0"/>
                                  </p:stCondLst>
                                  <p:childTnLst>
                                    <p:set>
                                      <p:cBhvr>
                                        <p:cTn id="45" dur="1" fill="hold">
                                          <p:stCondLst>
                                            <p:cond delay="0"/>
                                          </p:stCondLst>
                                        </p:cTn>
                                        <p:tgtEl>
                                          <p:spTgt spid="33"/>
                                        </p:tgtEl>
                                        <p:attrNameLst>
                                          <p:attrName>style.visibility</p:attrName>
                                        </p:attrNameLst>
                                      </p:cBhvr>
                                      <p:to>
                                        <p:strVal val="visible"/>
                                      </p:to>
                                    </p:set>
                                    <p:animEffect transition="in" filter="slide(fromBottom)">
                                      <p:cBhvr>
                                        <p:cTn id="46" dur="500"/>
                                        <p:tgtEl>
                                          <p:spTgt spid="33"/>
                                        </p:tgtEl>
                                      </p:cBhvr>
                                    </p:animEffect>
                                  </p:childTnLst>
                                </p:cTn>
                              </p:par>
                            </p:childTnLst>
                          </p:cTn>
                        </p:par>
                        <p:par>
                          <p:cTn id="47" fill="hold">
                            <p:stCondLst>
                              <p:cond delay="4299"/>
                            </p:stCondLst>
                            <p:childTnLst>
                              <p:par>
                                <p:cTn id="48" presetID="12" presetClass="entr" presetSubtype="2" fill="hold" grpId="0" nodeType="afterEffect">
                                  <p:stCondLst>
                                    <p:cond delay="0"/>
                                  </p:stCondLst>
                                  <p:childTnLst>
                                    <p:set>
                                      <p:cBhvr>
                                        <p:cTn id="49" dur="1" fill="hold">
                                          <p:stCondLst>
                                            <p:cond delay="0"/>
                                          </p:stCondLst>
                                        </p:cTn>
                                        <p:tgtEl>
                                          <p:spTgt spid="71"/>
                                        </p:tgtEl>
                                        <p:attrNameLst>
                                          <p:attrName>style.visibility</p:attrName>
                                        </p:attrNameLst>
                                      </p:cBhvr>
                                      <p:to>
                                        <p:strVal val="visible"/>
                                      </p:to>
                                    </p:set>
                                    <p:animEffect transition="in" filter="slide(fromRight)">
                                      <p:cBhvr>
                                        <p:cTn id="50" dur="1000"/>
                                        <p:tgtEl>
                                          <p:spTgt spid="71"/>
                                        </p:tgtEl>
                                      </p:cBhvr>
                                    </p:animEffect>
                                  </p:childTnLst>
                                </p:cTn>
                              </p:par>
                            </p:childTnLst>
                          </p:cTn>
                        </p:par>
                        <p:par>
                          <p:cTn id="51" fill="hold">
                            <p:stCondLst>
                              <p:cond delay="5299"/>
                            </p:stCondLst>
                            <p:childTnLst>
                              <p:par>
                                <p:cTn id="52" presetID="12" presetClass="entr" presetSubtype="8" fill="hold" nodeType="afterEffect">
                                  <p:stCondLst>
                                    <p:cond delay="0"/>
                                  </p:stCondLst>
                                  <p:childTnLst>
                                    <p:set>
                                      <p:cBhvr>
                                        <p:cTn id="53" dur="1" fill="hold">
                                          <p:stCondLst>
                                            <p:cond delay="0"/>
                                          </p:stCondLst>
                                        </p:cTn>
                                        <p:tgtEl>
                                          <p:spTgt spid="67"/>
                                        </p:tgtEl>
                                        <p:attrNameLst>
                                          <p:attrName>style.visibility</p:attrName>
                                        </p:attrNameLst>
                                      </p:cBhvr>
                                      <p:to>
                                        <p:strVal val="visible"/>
                                      </p:to>
                                    </p:set>
                                    <p:animEffect transition="in" filter="slide(fromLeft)">
                                      <p:cBhvr>
                                        <p:cTn id="54" dur="500"/>
                                        <p:tgtEl>
                                          <p:spTgt spid="67"/>
                                        </p:tgtEl>
                                      </p:cBhvr>
                                    </p:animEffect>
                                  </p:childTnLst>
                                </p:cTn>
                              </p:par>
                            </p:childTnLst>
                          </p:cTn>
                        </p:par>
                        <p:par>
                          <p:cTn id="55" fill="hold">
                            <p:stCondLst>
                              <p:cond delay="5799"/>
                            </p:stCondLst>
                            <p:childTnLst>
                              <p:par>
                                <p:cTn id="56" presetID="12" presetClass="entr" presetSubtype="8" fill="hold" nodeType="afterEffect">
                                  <p:stCondLst>
                                    <p:cond delay="0"/>
                                  </p:stCondLst>
                                  <p:childTnLst>
                                    <p:set>
                                      <p:cBhvr>
                                        <p:cTn id="57" dur="1" fill="hold">
                                          <p:stCondLst>
                                            <p:cond delay="0"/>
                                          </p:stCondLst>
                                        </p:cTn>
                                        <p:tgtEl>
                                          <p:spTgt spid="63"/>
                                        </p:tgtEl>
                                        <p:attrNameLst>
                                          <p:attrName>style.visibility</p:attrName>
                                        </p:attrNameLst>
                                      </p:cBhvr>
                                      <p:to>
                                        <p:strVal val="visible"/>
                                      </p:to>
                                    </p:set>
                                    <p:animEffect transition="in" filter="slide(fromLeft)">
                                      <p:cBhvr>
                                        <p:cTn id="58" dur="500"/>
                                        <p:tgtEl>
                                          <p:spTgt spid="63"/>
                                        </p:tgtEl>
                                      </p:cBhvr>
                                    </p:animEffect>
                                  </p:childTnLst>
                                </p:cTn>
                              </p:par>
                            </p:childTnLst>
                          </p:cTn>
                        </p:par>
                        <p:par>
                          <p:cTn id="59" fill="hold">
                            <p:stCondLst>
                              <p:cond delay="6299"/>
                            </p:stCondLst>
                            <p:childTnLst>
                              <p:par>
                                <p:cTn id="60" presetID="12" presetClass="entr" presetSubtype="8" fill="hold" nodeType="afterEffect">
                                  <p:stCondLst>
                                    <p:cond delay="0"/>
                                  </p:stCondLst>
                                  <p:childTnLst>
                                    <p:set>
                                      <p:cBhvr>
                                        <p:cTn id="61" dur="1" fill="hold">
                                          <p:stCondLst>
                                            <p:cond delay="0"/>
                                          </p:stCondLst>
                                        </p:cTn>
                                        <p:tgtEl>
                                          <p:spTgt spid="59"/>
                                        </p:tgtEl>
                                        <p:attrNameLst>
                                          <p:attrName>style.visibility</p:attrName>
                                        </p:attrNameLst>
                                      </p:cBhvr>
                                      <p:to>
                                        <p:strVal val="visible"/>
                                      </p:to>
                                    </p:set>
                                    <p:animEffect transition="in" filter="slide(fromLeft)">
                                      <p:cBhvr>
                                        <p:cTn id="62" dur="500"/>
                                        <p:tgtEl>
                                          <p:spTgt spid="59"/>
                                        </p:tgtEl>
                                      </p:cBhvr>
                                    </p:animEffect>
                                  </p:childTnLst>
                                </p:cTn>
                              </p:par>
                            </p:childTnLst>
                          </p:cTn>
                        </p:par>
                        <p:par>
                          <p:cTn id="63" fill="hold">
                            <p:stCondLst>
                              <p:cond delay="6799"/>
                            </p:stCondLst>
                            <p:childTnLst>
                              <p:par>
                                <p:cTn id="64" presetID="12" presetClass="entr" presetSubtype="8" fill="hold" nodeType="afterEffect">
                                  <p:stCondLst>
                                    <p:cond delay="0"/>
                                  </p:stCondLst>
                                  <p:childTnLst>
                                    <p:set>
                                      <p:cBhvr>
                                        <p:cTn id="65" dur="1" fill="hold">
                                          <p:stCondLst>
                                            <p:cond delay="0"/>
                                          </p:stCondLst>
                                        </p:cTn>
                                        <p:tgtEl>
                                          <p:spTgt spid="54"/>
                                        </p:tgtEl>
                                        <p:attrNameLst>
                                          <p:attrName>style.visibility</p:attrName>
                                        </p:attrNameLst>
                                      </p:cBhvr>
                                      <p:to>
                                        <p:strVal val="visible"/>
                                      </p:to>
                                    </p:set>
                                    <p:animEffect transition="in" filter="slide(fromLeft)">
                                      <p:cBhvr>
                                        <p:cTn id="66" dur="500"/>
                                        <p:tgtEl>
                                          <p:spTgt spid="54"/>
                                        </p:tgtEl>
                                      </p:cBhvr>
                                    </p:animEffect>
                                  </p:childTnLst>
                                </p:cTn>
                              </p:par>
                            </p:childTnLst>
                          </p:cTn>
                        </p:par>
                        <p:par>
                          <p:cTn id="67" fill="hold">
                            <p:stCondLst>
                              <p:cond delay="7299"/>
                            </p:stCondLst>
                            <p:childTnLst>
                              <p:par>
                                <p:cTn id="68" presetID="12" presetClass="entr" presetSubtype="8" fill="hold" nodeType="afterEffect">
                                  <p:stCondLst>
                                    <p:cond delay="0"/>
                                  </p:stCondLst>
                                  <p:childTnLst>
                                    <p:set>
                                      <p:cBhvr>
                                        <p:cTn id="69" dur="1" fill="hold">
                                          <p:stCondLst>
                                            <p:cond delay="0"/>
                                          </p:stCondLst>
                                        </p:cTn>
                                        <p:tgtEl>
                                          <p:spTgt spid="50"/>
                                        </p:tgtEl>
                                        <p:attrNameLst>
                                          <p:attrName>style.visibility</p:attrName>
                                        </p:attrNameLst>
                                      </p:cBhvr>
                                      <p:to>
                                        <p:strVal val="visible"/>
                                      </p:to>
                                    </p:set>
                                    <p:animEffect transition="in" filter="slide(fromLeft)">
                                      <p:cBhvr>
                                        <p:cTn id="70"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1" grpId="0">
        <p:bldAsOne/>
      </p:bldGraphic>
      <p:bldP spid="77" grpId="0" animBg="1"/>
      <p:bldP spid="8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4" name="Group 4"/>
          <p:cNvGrpSpPr>
            <a:grpSpLocks noChangeAspect="1"/>
          </p:cNvGrpSpPr>
          <p:nvPr/>
        </p:nvGrpSpPr>
        <p:grpSpPr bwMode="auto">
          <a:xfrm>
            <a:off x="3021489" y="1947092"/>
            <a:ext cx="2974816" cy="2300003"/>
            <a:chOff x="2329" y="786"/>
            <a:chExt cx="3022" cy="2347"/>
          </a:xfrm>
        </p:grpSpPr>
        <p:sp>
          <p:nvSpPr>
            <p:cNvPr id="105" name="Freeform 5"/>
            <p:cNvSpPr/>
            <p:nvPr/>
          </p:nvSpPr>
          <p:spPr bwMode="auto">
            <a:xfrm>
              <a:off x="3462" y="1393"/>
              <a:ext cx="387" cy="1740"/>
            </a:xfrm>
            <a:custGeom>
              <a:avLst/>
              <a:gdLst>
                <a:gd name="T0" fmla="*/ 0 w 164"/>
                <a:gd name="T1" fmla="*/ 1140 h 1222"/>
                <a:gd name="T2" fmla="*/ 0 w 164"/>
                <a:gd name="T3" fmla="*/ 1140 h 1222"/>
                <a:gd name="T4" fmla="*/ 82 w 164"/>
                <a:gd name="T5" fmla="*/ 1222 h 1222"/>
                <a:gd name="T6" fmla="*/ 82 w 164"/>
                <a:gd name="T7" fmla="*/ 1222 h 1222"/>
                <a:gd name="T8" fmla="*/ 164 w 164"/>
                <a:gd name="T9" fmla="*/ 1140 h 1222"/>
                <a:gd name="T10" fmla="*/ 164 w 164"/>
                <a:gd name="T11" fmla="*/ 1140 h 1222"/>
                <a:gd name="T12" fmla="*/ 164 w 164"/>
                <a:gd name="T13" fmla="*/ 0 h 1222"/>
                <a:gd name="connsiteX0" fmla="*/ 0 w 10000"/>
                <a:gd name="connsiteY0" fmla="*/ 9830 h 10501"/>
                <a:gd name="connsiteX1" fmla="*/ 0 w 10000"/>
                <a:gd name="connsiteY1" fmla="*/ 9830 h 10501"/>
                <a:gd name="connsiteX2" fmla="*/ 5000 w 10000"/>
                <a:gd name="connsiteY2" fmla="*/ 10501 h 10501"/>
                <a:gd name="connsiteX3" fmla="*/ 5000 w 10000"/>
                <a:gd name="connsiteY3" fmla="*/ 10501 h 10501"/>
                <a:gd name="connsiteX4" fmla="*/ 10000 w 10000"/>
                <a:gd name="connsiteY4" fmla="*/ 9830 h 10501"/>
                <a:gd name="connsiteX5" fmla="*/ 10000 w 10000"/>
                <a:gd name="connsiteY5" fmla="*/ 9830 h 10501"/>
                <a:gd name="connsiteX6" fmla="*/ 10000 w 10000"/>
                <a:gd name="connsiteY6" fmla="*/ 0 h 10501"/>
                <a:gd name="connsiteX0-1" fmla="*/ 0 w 10000"/>
                <a:gd name="connsiteY0-2" fmla="*/ 5342 h 6013"/>
                <a:gd name="connsiteX1-3" fmla="*/ 0 w 10000"/>
                <a:gd name="connsiteY1-4" fmla="*/ 5342 h 6013"/>
                <a:gd name="connsiteX2-5" fmla="*/ 5000 w 10000"/>
                <a:gd name="connsiteY2-6" fmla="*/ 6013 h 6013"/>
                <a:gd name="connsiteX3-7" fmla="*/ 5000 w 10000"/>
                <a:gd name="connsiteY3-8" fmla="*/ 6013 h 6013"/>
                <a:gd name="connsiteX4-9" fmla="*/ 10000 w 10000"/>
                <a:gd name="connsiteY4-10" fmla="*/ 5342 h 6013"/>
                <a:gd name="connsiteX5-11" fmla="*/ 10000 w 10000"/>
                <a:gd name="connsiteY5-12" fmla="*/ 5342 h 6013"/>
                <a:gd name="connsiteX6-13" fmla="*/ 10000 w 10000"/>
                <a:gd name="connsiteY6-14" fmla="*/ 0 h 601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0000" h="6013">
                  <a:moveTo>
                    <a:pt x="0" y="5342"/>
                  </a:moveTo>
                  <a:lnTo>
                    <a:pt x="0" y="5342"/>
                  </a:lnTo>
                  <a:cubicBezTo>
                    <a:pt x="0" y="5710"/>
                    <a:pt x="2256" y="6013"/>
                    <a:pt x="5000" y="6013"/>
                  </a:cubicBezTo>
                  <a:lnTo>
                    <a:pt x="5000" y="6013"/>
                  </a:lnTo>
                  <a:cubicBezTo>
                    <a:pt x="7805" y="6013"/>
                    <a:pt x="10000" y="5710"/>
                    <a:pt x="10000" y="5342"/>
                  </a:cubicBezTo>
                  <a:lnTo>
                    <a:pt x="10000" y="5342"/>
                  </a:lnTo>
                  <a:lnTo>
                    <a:pt x="10000" y="0"/>
                  </a:lnTo>
                </a:path>
              </a:pathLst>
            </a:custGeom>
            <a:noFill/>
            <a:ln w="101600" cap="rnd">
              <a:solidFill>
                <a:srgbClr val="B3B3B3"/>
              </a:solidFill>
              <a:prstDash val="solid"/>
              <a:round/>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106" name="Freeform 6"/>
            <p:cNvSpPr/>
            <p:nvPr/>
          </p:nvSpPr>
          <p:spPr bwMode="auto">
            <a:xfrm>
              <a:off x="3841" y="786"/>
              <a:ext cx="1510" cy="1346"/>
            </a:xfrm>
            <a:custGeom>
              <a:avLst/>
              <a:gdLst>
                <a:gd name="T0" fmla="*/ 0 w 638"/>
                <a:gd name="T1" fmla="*/ 0 h 568"/>
                <a:gd name="T2" fmla="*/ 0 w 638"/>
                <a:gd name="T3" fmla="*/ 568 h 568"/>
                <a:gd name="T4" fmla="*/ 159 w 638"/>
                <a:gd name="T5" fmla="*/ 484 h 568"/>
                <a:gd name="T6" fmla="*/ 319 w 638"/>
                <a:gd name="T7" fmla="*/ 568 h 568"/>
                <a:gd name="T8" fmla="*/ 479 w 638"/>
                <a:gd name="T9" fmla="*/ 484 h 568"/>
                <a:gd name="T10" fmla="*/ 638 w 638"/>
                <a:gd name="T11" fmla="*/ 567 h 568"/>
                <a:gd name="T12" fmla="*/ 0 w 638"/>
                <a:gd name="T13" fmla="*/ 0 h 568"/>
              </a:gdLst>
              <a:ahLst/>
              <a:cxnLst>
                <a:cxn ang="0">
                  <a:pos x="T0" y="T1"/>
                </a:cxn>
                <a:cxn ang="0">
                  <a:pos x="T2" y="T3"/>
                </a:cxn>
                <a:cxn ang="0">
                  <a:pos x="T4" y="T5"/>
                </a:cxn>
                <a:cxn ang="0">
                  <a:pos x="T6" y="T7"/>
                </a:cxn>
                <a:cxn ang="0">
                  <a:pos x="T8" y="T9"/>
                </a:cxn>
                <a:cxn ang="0">
                  <a:pos x="T10" y="T11"/>
                </a:cxn>
                <a:cxn ang="0">
                  <a:pos x="T12" y="T13"/>
                </a:cxn>
              </a:cxnLst>
              <a:rect l="0" t="0" r="r" b="b"/>
              <a:pathLst>
                <a:path w="638" h="568">
                  <a:moveTo>
                    <a:pt x="0" y="0"/>
                  </a:moveTo>
                  <a:cubicBezTo>
                    <a:pt x="0" y="568"/>
                    <a:pt x="0" y="568"/>
                    <a:pt x="0" y="568"/>
                  </a:cubicBezTo>
                  <a:cubicBezTo>
                    <a:pt x="35" y="517"/>
                    <a:pt x="93" y="484"/>
                    <a:pt x="159" y="484"/>
                  </a:cubicBezTo>
                  <a:cubicBezTo>
                    <a:pt x="226" y="484"/>
                    <a:pt x="284" y="517"/>
                    <a:pt x="319" y="568"/>
                  </a:cubicBezTo>
                  <a:cubicBezTo>
                    <a:pt x="354" y="517"/>
                    <a:pt x="412" y="484"/>
                    <a:pt x="479" y="484"/>
                  </a:cubicBezTo>
                  <a:cubicBezTo>
                    <a:pt x="545" y="484"/>
                    <a:pt x="603" y="517"/>
                    <a:pt x="638" y="567"/>
                  </a:cubicBezTo>
                  <a:cubicBezTo>
                    <a:pt x="601" y="248"/>
                    <a:pt x="329" y="0"/>
                    <a:pt x="0" y="0"/>
                  </a:cubicBezTo>
                  <a:close/>
                </a:path>
              </a:pathLst>
            </a:custGeom>
            <a:solidFill>
              <a:srgbClr val="0070C0"/>
            </a:solidFill>
            <a:ln>
              <a:noFill/>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107" name="Freeform 7"/>
            <p:cNvSpPr/>
            <p:nvPr/>
          </p:nvSpPr>
          <p:spPr bwMode="auto">
            <a:xfrm>
              <a:off x="2329" y="786"/>
              <a:ext cx="1512" cy="1346"/>
            </a:xfrm>
            <a:custGeom>
              <a:avLst/>
              <a:gdLst>
                <a:gd name="T0" fmla="*/ 639 w 639"/>
                <a:gd name="T1" fmla="*/ 0 h 568"/>
                <a:gd name="T2" fmla="*/ 639 w 639"/>
                <a:gd name="T3" fmla="*/ 0 h 568"/>
                <a:gd name="T4" fmla="*/ 0 w 639"/>
                <a:gd name="T5" fmla="*/ 568 h 568"/>
                <a:gd name="T6" fmla="*/ 160 w 639"/>
                <a:gd name="T7" fmla="*/ 484 h 568"/>
                <a:gd name="T8" fmla="*/ 320 w 639"/>
                <a:gd name="T9" fmla="*/ 568 h 568"/>
                <a:gd name="T10" fmla="*/ 479 w 639"/>
                <a:gd name="T11" fmla="*/ 484 h 568"/>
                <a:gd name="T12" fmla="*/ 639 w 639"/>
                <a:gd name="T13" fmla="*/ 568 h 568"/>
                <a:gd name="T14" fmla="*/ 639 w 639"/>
                <a:gd name="T15" fmla="*/ 0 h 5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568">
                  <a:moveTo>
                    <a:pt x="639" y="0"/>
                  </a:moveTo>
                  <a:cubicBezTo>
                    <a:pt x="639" y="0"/>
                    <a:pt x="639" y="0"/>
                    <a:pt x="639" y="0"/>
                  </a:cubicBezTo>
                  <a:cubicBezTo>
                    <a:pt x="309" y="0"/>
                    <a:pt x="37" y="248"/>
                    <a:pt x="0" y="568"/>
                  </a:cubicBezTo>
                  <a:cubicBezTo>
                    <a:pt x="35" y="517"/>
                    <a:pt x="94" y="484"/>
                    <a:pt x="160" y="484"/>
                  </a:cubicBezTo>
                  <a:cubicBezTo>
                    <a:pt x="226" y="484"/>
                    <a:pt x="285" y="517"/>
                    <a:pt x="320" y="568"/>
                  </a:cubicBezTo>
                  <a:cubicBezTo>
                    <a:pt x="355" y="517"/>
                    <a:pt x="413" y="484"/>
                    <a:pt x="479" y="484"/>
                  </a:cubicBezTo>
                  <a:cubicBezTo>
                    <a:pt x="545" y="484"/>
                    <a:pt x="604" y="517"/>
                    <a:pt x="639" y="568"/>
                  </a:cubicBezTo>
                  <a:lnTo>
                    <a:pt x="639" y="0"/>
                  </a:lnTo>
                  <a:close/>
                </a:path>
              </a:pathLst>
            </a:custGeom>
            <a:solidFill>
              <a:srgbClr val="00AEEF"/>
            </a:solidFill>
            <a:ln>
              <a:noFill/>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108" name="Freeform 8"/>
            <p:cNvSpPr/>
            <p:nvPr/>
          </p:nvSpPr>
          <p:spPr bwMode="auto">
            <a:xfrm>
              <a:off x="3083" y="786"/>
              <a:ext cx="755" cy="1341"/>
            </a:xfrm>
            <a:custGeom>
              <a:avLst/>
              <a:gdLst>
                <a:gd name="T0" fmla="*/ 161 w 319"/>
                <a:gd name="T1" fmla="*/ 484 h 566"/>
                <a:gd name="T2" fmla="*/ 319 w 319"/>
                <a:gd name="T3" fmla="*/ 565 h 566"/>
                <a:gd name="T4" fmla="*/ 319 w 319"/>
                <a:gd name="T5" fmla="*/ 0 h 566"/>
                <a:gd name="T6" fmla="*/ 317 w 319"/>
                <a:gd name="T7" fmla="*/ 0 h 566"/>
                <a:gd name="T8" fmla="*/ 0 w 319"/>
                <a:gd name="T9" fmla="*/ 565 h 566"/>
                <a:gd name="T10" fmla="*/ 0 w 319"/>
                <a:gd name="T11" fmla="*/ 566 h 566"/>
                <a:gd name="T12" fmla="*/ 5 w 319"/>
                <a:gd name="T13" fmla="*/ 564 h 566"/>
                <a:gd name="T14" fmla="*/ 161 w 319"/>
                <a:gd name="T15" fmla="*/ 484 h 5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 h="566">
                  <a:moveTo>
                    <a:pt x="161" y="484"/>
                  </a:moveTo>
                  <a:cubicBezTo>
                    <a:pt x="226" y="484"/>
                    <a:pt x="284" y="516"/>
                    <a:pt x="319" y="565"/>
                  </a:cubicBezTo>
                  <a:cubicBezTo>
                    <a:pt x="319" y="0"/>
                    <a:pt x="319" y="0"/>
                    <a:pt x="319" y="0"/>
                  </a:cubicBezTo>
                  <a:cubicBezTo>
                    <a:pt x="318" y="0"/>
                    <a:pt x="318" y="0"/>
                    <a:pt x="317" y="0"/>
                  </a:cubicBezTo>
                  <a:cubicBezTo>
                    <a:pt x="153" y="2"/>
                    <a:pt x="19" y="248"/>
                    <a:pt x="0" y="565"/>
                  </a:cubicBezTo>
                  <a:cubicBezTo>
                    <a:pt x="0" y="566"/>
                    <a:pt x="0" y="566"/>
                    <a:pt x="0" y="566"/>
                  </a:cubicBezTo>
                  <a:cubicBezTo>
                    <a:pt x="2" y="563"/>
                    <a:pt x="3" y="563"/>
                    <a:pt x="5" y="564"/>
                  </a:cubicBezTo>
                  <a:cubicBezTo>
                    <a:pt x="40" y="515"/>
                    <a:pt x="97" y="484"/>
                    <a:pt x="161" y="484"/>
                  </a:cubicBezTo>
                  <a:close/>
                </a:path>
              </a:pathLst>
            </a:custGeom>
            <a:solidFill>
              <a:srgbClr val="0070C0"/>
            </a:solidFill>
            <a:ln>
              <a:noFill/>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109" name="Freeform 9"/>
            <p:cNvSpPr/>
            <p:nvPr/>
          </p:nvSpPr>
          <p:spPr bwMode="auto">
            <a:xfrm>
              <a:off x="3838" y="786"/>
              <a:ext cx="755" cy="1346"/>
            </a:xfrm>
            <a:custGeom>
              <a:avLst/>
              <a:gdLst>
                <a:gd name="T0" fmla="*/ 0 w 319"/>
                <a:gd name="T1" fmla="*/ 568 h 568"/>
                <a:gd name="T2" fmla="*/ 5 w 319"/>
                <a:gd name="T3" fmla="*/ 561 h 568"/>
                <a:gd name="T4" fmla="*/ 159 w 319"/>
                <a:gd name="T5" fmla="*/ 484 h 568"/>
                <a:gd name="T6" fmla="*/ 316 w 319"/>
                <a:gd name="T7" fmla="*/ 563 h 568"/>
                <a:gd name="T8" fmla="*/ 319 w 319"/>
                <a:gd name="T9" fmla="*/ 568 h 568"/>
                <a:gd name="T10" fmla="*/ 319 w 319"/>
                <a:gd name="T11" fmla="*/ 568 h 568"/>
                <a:gd name="T12" fmla="*/ 0 w 319"/>
                <a:gd name="T13" fmla="*/ 0 h 568"/>
                <a:gd name="T14" fmla="*/ 0 w 319"/>
                <a:gd name="T15" fmla="*/ 0 h 568"/>
                <a:gd name="T16" fmla="*/ 0 w 319"/>
                <a:gd name="T17" fmla="*/ 56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9" h="568">
                  <a:moveTo>
                    <a:pt x="0" y="568"/>
                  </a:moveTo>
                  <a:cubicBezTo>
                    <a:pt x="1" y="563"/>
                    <a:pt x="3" y="561"/>
                    <a:pt x="5" y="561"/>
                  </a:cubicBezTo>
                  <a:cubicBezTo>
                    <a:pt x="40" y="514"/>
                    <a:pt x="96" y="484"/>
                    <a:pt x="159" y="484"/>
                  </a:cubicBezTo>
                  <a:cubicBezTo>
                    <a:pt x="224" y="484"/>
                    <a:pt x="280" y="515"/>
                    <a:pt x="316" y="563"/>
                  </a:cubicBezTo>
                  <a:cubicBezTo>
                    <a:pt x="317" y="564"/>
                    <a:pt x="318" y="565"/>
                    <a:pt x="319" y="568"/>
                  </a:cubicBezTo>
                  <a:cubicBezTo>
                    <a:pt x="319" y="568"/>
                    <a:pt x="319" y="568"/>
                    <a:pt x="319" y="568"/>
                  </a:cubicBezTo>
                  <a:cubicBezTo>
                    <a:pt x="300" y="248"/>
                    <a:pt x="165" y="0"/>
                    <a:pt x="0" y="0"/>
                  </a:cubicBezTo>
                  <a:cubicBezTo>
                    <a:pt x="0" y="0"/>
                    <a:pt x="0" y="0"/>
                    <a:pt x="0" y="0"/>
                  </a:cubicBezTo>
                  <a:lnTo>
                    <a:pt x="0" y="568"/>
                  </a:lnTo>
                  <a:close/>
                </a:path>
              </a:pathLst>
            </a:custGeom>
            <a:solidFill>
              <a:srgbClr val="00AEEF"/>
            </a:solidFill>
            <a:ln>
              <a:noFill/>
            </a:ln>
          </p:spPr>
          <p:txBody>
            <a:bodyPr lIns="36159" tIns="18080" rIns="36159" bIns="18080"/>
            <a:lstStyle/>
            <a:p>
              <a:pPr eaLnBrk="1" hangingPunct="1">
                <a:lnSpc>
                  <a:spcPct val="120000"/>
                </a:lnSpc>
                <a:defRPr/>
              </a:pPr>
              <a:endParaRPr lang="en-US" sz="1100" noProof="1">
                <a:latin typeface="Arial" panose="020B0604020202020204" pitchFamily="34" charset="0"/>
                <a:ea typeface="微软雅黑" panose="020B0503020204020204" pitchFamily="34" charset="-122"/>
                <a:sym typeface="Arial" panose="020B0604020202020204" pitchFamily="34" charset="0"/>
              </a:endParaRPr>
            </a:p>
          </p:txBody>
        </p:sp>
      </p:grpSp>
      <p:sp>
        <p:nvSpPr>
          <p:cNvPr id="110" name="Text Placeholder 7"/>
          <p:cNvSpPr txBox="1">
            <a:spLocks noChangeArrowheads="1"/>
          </p:cNvSpPr>
          <p:nvPr/>
        </p:nvSpPr>
        <p:spPr bwMode="auto">
          <a:xfrm>
            <a:off x="1973580" y="1385091"/>
            <a:ext cx="957898" cy="248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94" rIns="0" bIns="72594"/>
          <a:lstStyle/>
          <a:p>
            <a:pPr algn="r" eaLnBrk="1" hangingPunct="1">
              <a:lnSpc>
                <a:spcPct val="120000"/>
              </a:lnSpc>
              <a:buFont typeface="Arial" panose="020B0604020202020204" pitchFamily="34" charset="0"/>
              <a:buNone/>
            </a:pPr>
            <a:r>
              <a:rPr lang="zh-CN" altLang="en-US" sz="1000" b="1" dirty="0">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_tradnl" altLang="en-US" sz="1000" b="1" dirty="0">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11" name="Text Placeholder 2"/>
          <p:cNvSpPr txBox="1">
            <a:spLocks noChangeArrowheads="1"/>
          </p:cNvSpPr>
          <p:nvPr/>
        </p:nvSpPr>
        <p:spPr bwMode="auto">
          <a:xfrm>
            <a:off x="1267937" y="1702599"/>
            <a:ext cx="1663541" cy="438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eaLnBrk="1" hangingPunct="1">
              <a:lnSpc>
                <a:spcPct val="120000"/>
              </a:lnSpc>
              <a:buFont typeface="Arial" panose="020B0604020202020204"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12" name="Rounded Rectangle 11"/>
          <p:cNvSpPr>
            <a:spLocks noChangeAspect="1"/>
          </p:cNvSpPr>
          <p:nvPr/>
        </p:nvSpPr>
        <p:spPr>
          <a:xfrm>
            <a:off x="3072607" y="1497934"/>
            <a:ext cx="531178" cy="529919"/>
          </a:xfrm>
          <a:prstGeom prst="roundRect">
            <a:avLst>
              <a:gd name="adj" fmla="val 0"/>
            </a:avLst>
          </a:prstGeom>
          <a:solidFill>
            <a:srgbClr val="00AE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20000"/>
              </a:lnSpc>
              <a:defRPr/>
            </a:pPr>
            <a:endParaRPr lang="en-US" sz="700" noProof="1">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113" name="Text Placeholder 7"/>
          <p:cNvSpPr txBox="1"/>
          <p:nvPr/>
        </p:nvSpPr>
        <p:spPr>
          <a:xfrm>
            <a:off x="3114834" y="1565418"/>
            <a:ext cx="430053" cy="352910"/>
          </a:xfrm>
          <a:prstGeom prst="rect">
            <a:avLst/>
          </a:prstGeom>
        </p:spPr>
        <p:txBody>
          <a:bodyPr lIns="0" tIns="72594" rIns="0" bIns="72594" anchor="ctr"/>
          <a:lstStyle>
            <a:lvl1pPr marL="0" indent="0" algn="ctr" defTabSz="914400" rtl="0" eaLnBrk="1" latinLnBrk="0" hangingPunct="1">
              <a:lnSpc>
                <a:spcPct val="100000"/>
              </a:lnSpc>
              <a:spcBef>
                <a:spcPts val="0"/>
              </a:spcBef>
              <a:buFont typeface="Arial" panose="020B0604020202020204" pitchFamily="34" charset="0"/>
              <a:buNone/>
              <a:defRPr sz="1580" b="1" kern="1200">
                <a:solidFill>
                  <a:schemeClr val="bg1"/>
                </a:solidFill>
                <a:latin typeface="FontAwesome"/>
                <a:ea typeface="+mn-ea"/>
                <a:cs typeface="FontAwesome"/>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8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20000"/>
              </a:lnSpc>
              <a:spcAft>
                <a:spcPts val="0"/>
              </a:spcAft>
              <a:defRPr/>
            </a:pPr>
            <a:r>
              <a:rPr lang="es-ES_tradnl" noProof="1">
                <a:latin typeface="Arial" panose="020B0604020202020204" pitchFamily="34" charset="0"/>
                <a:ea typeface="微软雅黑" panose="020B0503020204020204" pitchFamily="34" charset="-122"/>
                <a:sym typeface="Arial" panose="020B0604020202020204" pitchFamily="34" charset="0"/>
              </a:rPr>
              <a:t>01</a:t>
            </a:r>
          </a:p>
        </p:txBody>
      </p:sp>
      <p:sp>
        <p:nvSpPr>
          <p:cNvPr id="114" name="Text Placeholder 7"/>
          <p:cNvSpPr txBox="1">
            <a:spLocks noChangeArrowheads="1"/>
          </p:cNvSpPr>
          <p:nvPr/>
        </p:nvSpPr>
        <p:spPr bwMode="auto">
          <a:xfrm>
            <a:off x="6212999" y="1385091"/>
            <a:ext cx="1127918" cy="248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94" rIns="0" bIns="72594"/>
          <a:lstStyle/>
          <a:p>
            <a:pPr eaLnBrk="1" hangingPunct="1">
              <a:lnSpc>
                <a:spcPct val="120000"/>
              </a:lnSpc>
              <a:buFont typeface="Arial" panose="020B0604020202020204" pitchFamily="34" charset="0"/>
              <a:buNone/>
            </a:pPr>
            <a:r>
              <a:rPr lang="zh-CN" altLang="en-US" sz="1000">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_tradnl" altLang="en-US" sz="1000">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15" name="Text Placeholder 2"/>
          <p:cNvSpPr txBox="1">
            <a:spLocks noChangeArrowheads="1"/>
          </p:cNvSpPr>
          <p:nvPr/>
        </p:nvSpPr>
        <p:spPr bwMode="auto">
          <a:xfrm>
            <a:off x="6212999" y="1702599"/>
            <a:ext cx="1685766" cy="428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1" hangingPunct="1">
              <a:lnSpc>
                <a:spcPct val="120000"/>
              </a:lnSpc>
              <a:buFont typeface="Arial" panose="020B0604020202020204"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16" name="Rounded Rectangle 23"/>
          <p:cNvSpPr>
            <a:spLocks noChangeAspect="1"/>
          </p:cNvSpPr>
          <p:nvPr/>
        </p:nvSpPr>
        <p:spPr>
          <a:xfrm>
            <a:off x="5581809" y="1497934"/>
            <a:ext cx="531178" cy="529919"/>
          </a:xfrm>
          <a:prstGeom prst="roundRect">
            <a:avLst>
              <a:gd name="adj" fmla="val 0"/>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20000"/>
              </a:lnSpc>
              <a:defRPr/>
            </a:pPr>
            <a:endParaRPr lang="en-US" sz="700" noProof="1">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117" name="Text Placeholder 7"/>
          <p:cNvSpPr txBox="1"/>
          <p:nvPr/>
        </p:nvSpPr>
        <p:spPr>
          <a:xfrm>
            <a:off x="5624037" y="1565418"/>
            <a:ext cx="430053" cy="352910"/>
          </a:xfrm>
          <a:prstGeom prst="rect">
            <a:avLst/>
          </a:prstGeom>
        </p:spPr>
        <p:txBody>
          <a:bodyPr lIns="0" tIns="72594" rIns="0" bIns="72594" anchor="ctr"/>
          <a:lstStyle>
            <a:lvl1pPr marL="0" indent="0" algn="ctr" defTabSz="914400" rtl="0" eaLnBrk="1" latinLnBrk="0" hangingPunct="1">
              <a:lnSpc>
                <a:spcPct val="100000"/>
              </a:lnSpc>
              <a:spcBef>
                <a:spcPts val="0"/>
              </a:spcBef>
              <a:buFont typeface="Arial" panose="020B0604020202020204" pitchFamily="34" charset="0"/>
              <a:buNone/>
              <a:defRPr sz="1580" b="1" kern="1200">
                <a:solidFill>
                  <a:schemeClr val="bg1"/>
                </a:solidFill>
                <a:latin typeface="FontAwesome"/>
                <a:ea typeface="+mn-ea"/>
                <a:cs typeface="FontAwesome"/>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8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20000"/>
              </a:lnSpc>
              <a:spcAft>
                <a:spcPts val="0"/>
              </a:spcAft>
              <a:defRPr/>
            </a:pPr>
            <a:r>
              <a:rPr lang="es-ES_tradnl" noProof="1">
                <a:latin typeface="Arial" panose="020B0604020202020204" pitchFamily="34" charset="0"/>
                <a:ea typeface="微软雅黑" panose="020B0503020204020204" pitchFamily="34" charset="-122"/>
                <a:sym typeface="Arial" panose="020B0604020202020204" pitchFamily="34" charset="0"/>
              </a:rPr>
              <a:t>02</a:t>
            </a:r>
          </a:p>
        </p:txBody>
      </p:sp>
      <p:sp>
        <p:nvSpPr>
          <p:cNvPr id="118" name="Text Placeholder 7"/>
          <p:cNvSpPr txBox="1">
            <a:spLocks noChangeArrowheads="1"/>
          </p:cNvSpPr>
          <p:nvPr/>
        </p:nvSpPr>
        <p:spPr bwMode="auto">
          <a:xfrm>
            <a:off x="1973580" y="3441707"/>
            <a:ext cx="957898" cy="248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94" rIns="0" bIns="72594"/>
          <a:lstStyle/>
          <a:p>
            <a:pPr algn="r" eaLnBrk="1" hangingPunct="1">
              <a:lnSpc>
                <a:spcPct val="120000"/>
              </a:lnSpc>
              <a:buFont typeface="Arial" panose="020B0604020202020204" pitchFamily="34" charset="0"/>
              <a:buNone/>
            </a:pPr>
            <a:r>
              <a:rPr lang="zh-CN" altLang="en-US" sz="1000" b="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_tradnl" altLang="en-US" sz="1000" b="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19" name="Text Placeholder 2"/>
          <p:cNvSpPr txBox="1">
            <a:spLocks noChangeArrowheads="1"/>
          </p:cNvSpPr>
          <p:nvPr/>
        </p:nvSpPr>
        <p:spPr bwMode="auto">
          <a:xfrm>
            <a:off x="1267937" y="3759215"/>
            <a:ext cx="1663541" cy="438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eaLnBrk="1" hangingPunct="1">
              <a:lnSpc>
                <a:spcPct val="120000"/>
              </a:lnSpc>
              <a:buFont typeface="Arial" panose="020B0604020202020204"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20" name="Rounded Rectangle 27"/>
          <p:cNvSpPr>
            <a:spLocks noChangeAspect="1"/>
          </p:cNvSpPr>
          <p:nvPr/>
        </p:nvSpPr>
        <p:spPr>
          <a:xfrm>
            <a:off x="3035935" y="3554550"/>
            <a:ext cx="531178" cy="529918"/>
          </a:xfrm>
          <a:prstGeom prst="roundRect">
            <a:avLst>
              <a:gd name="adj" fmla="val 0"/>
            </a:avLst>
          </a:prstGeom>
          <a:solidFill>
            <a:srgbClr val="00AE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20000"/>
              </a:lnSpc>
              <a:defRPr/>
            </a:pPr>
            <a:endParaRPr lang="en-US" sz="700" noProof="1">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121" name="Text Placeholder 7"/>
          <p:cNvSpPr txBox="1"/>
          <p:nvPr/>
        </p:nvSpPr>
        <p:spPr>
          <a:xfrm>
            <a:off x="3079274" y="3622034"/>
            <a:ext cx="430053" cy="352911"/>
          </a:xfrm>
          <a:prstGeom prst="rect">
            <a:avLst/>
          </a:prstGeom>
          <a:solidFill>
            <a:srgbClr val="00AEEF"/>
          </a:solidFill>
        </p:spPr>
        <p:txBody>
          <a:bodyPr lIns="0" tIns="72594" rIns="0" bIns="72594" anchor="ctr"/>
          <a:lstStyle>
            <a:lvl1pPr marL="0" indent="0" algn="ctr" defTabSz="914400" rtl="0" eaLnBrk="1" latinLnBrk="0" hangingPunct="1">
              <a:lnSpc>
                <a:spcPct val="100000"/>
              </a:lnSpc>
              <a:spcBef>
                <a:spcPts val="0"/>
              </a:spcBef>
              <a:buFont typeface="Arial" panose="020B0604020202020204" pitchFamily="34" charset="0"/>
              <a:buNone/>
              <a:defRPr sz="1580" b="1" kern="1200">
                <a:solidFill>
                  <a:schemeClr val="bg1"/>
                </a:solidFill>
                <a:latin typeface="FontAwesome"/>
                <a:ea typeface="+mn-ea"/>
                <a:cs typeface="FontAwesome"/>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8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20000"/>
              </a:lnSpc>
              <a:spcAft>
                <a:spcPts val="0"/>
              </a:spcAft>
              <a:defRPr/>
            </a:pPr>
            <a:r>
              <a:rPr lang="es-ES_tradnl" noProof="1">
                <a:latin typeface="Arial" panose="020B0604020202020204" pitchFamily="34" charset="0"/>
                <a:ea typeface="微软雅黑" panose="020B0503020204020204" pitchFamily="34" charset="-122"/>
                <a:sym typeface="Arial" panose="020B0604020202020204" pitchFamily="34" charset="0"/>
              </a:rPr>
              <a:t>03</a:t>
            </a:r>
          </a:p>
        </p:txBody>
      </p:sp>
      <p:sp>
        <p:nvSpPr>
          <p:cNvPr id="122" name="Text Placeholder 7"/>
          <p:cNvSpPr txBox="1">
            <a:spLocks noChangeArrowheads="1"/>
          </p:cNvSpPr>
          <p:nvPr/>
        </p:nvSpPr>
        <p:spPr bwMode="auto">
          <a:xfrm>
            <a:off x="6208554" y="3441707"/>
            <a:ext cx="1127918" cy="248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72594" rIns="0" bIns="72594"/>
          <a:lstStyle/>
          <a:p>
            <a:pPr eaLnBrk="1" hangingPunct="1">
              <a:lnSpc>
                <a:spcPct val="120000"/>
              </a:lnSpc>
              <a:buFont typeface="Arial" panose="020B0604020202020204" pitchFamily="34" charset="0"/>
              <a:buNone/>
            </a:pPr>
            <a:r>
              <a:rPr lang="zh-CN" altLang="en-US" sz="1000">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_tradnl" altLang="en-US" sz="1000">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23" name="Text Placeholder 2"/>
          <p:cNvSpPr txBox="1">
            <a:spLocks noChangeArrowheads="1"/>
          </p:cNvSpPr>
          <p:nvPr/>
        </p:nvSpPr>
        <p:spPr bwMode="auto">
          <a:xfrm>
            <a:off x="6208554" y="3759216"/>
            <a:ext cx="1686878" cy="428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1" hangingPunct="1">
              <a:lnSpc>
                <a:spcPct val="120000"/>
              </a:lnSpc>
              <a:buFont typeface="Arial" panose="020B0604020202020204" pitchFamily="34" charset="0"/>
              <a:buNone/>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zh-CN"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24" name="Rounded Rectangle 16"/>
          <p:cNvSpPr>
            <a:spLocks noChangeAspect="1"/>
          </p:cNvSpPr>
          <p:nvPr/>
        </p:nvSpPr>
        <p:spPr>
          <a:xfrm>
            <a:off x="5581809" y="3554550"/>
            <a:ext cx="531178" cy="529918"/>
          </a:xfrm>
          <a:prstGeom prst="roundRect">
            <a:avLst>
              <a:gd name="adj" fmla="val 0"/>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3898" tIns="31949" rIns="63898" bIns="31949" anchor="ctr"/>
          <a:lstStyle/>
          <a:p>
            <a:pPr algn="ctr" eaLnBrk="1" hangingPunct="1">
              <a:lnSpc>
                <a:spcPct val="120000"/>
              </a:lnSpc>
              <a:defRPr/>
            </a:pPr>
            <a:endParaRPr lang="en-US" sz="700" noProof="1">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125" name="Text Placeholder 7"/>
          <p:cNvSpPr txBox="1"/>
          <p:nvPr/>
        </p:nvSpPr>
        <p:spPr>
          <a:xfrm>
            <a:off x="5624037" y="3622034"/>
            <a:ext cx="430053" cy="352911"/>
          </a:xfrm>
          <a:prstGeom prst="rect">
            <a:avLst/>
          </a:prstGeom>
        </p:spPr>
        <p:txBody>
          <a:bodyPr lIns="0" tIns="72594" rIns="0" bIns="72594" anchor="ctr"/>
          <a:lstStyle>
            <a:lvl1pPr marL="0" indent="0" algn="ctr" defTabSz="914400" rtl="0" eaLnBrk="1" latinLnBrk="0" hangingPunct="1">
              <a:lnSpc>
                <a:spcPct val="100000"/>
              </a:lnSpc>
              <a:spcBef>
                <a:spcPts val="0"/>
              </a:spcBef>
              <a:buFont typeface="Arial" panose="020B0604020202020204" pitchFamily="34" charset="0"/>
              <a:buNone/>
              <a:defRPr sz="1580" b="1" kern="1200">
                <a:solidFill>
                  <a:schemeClr val="bg1"/>
                </a:solidFill>
                <a:latin typeface="FontAwesome"/>
                <a:ea typeface="+mn-ea"/>
                <a:cs typeface="FontAwesome"/>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8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20000"/>
              </a:lnSpc>
              <a:spcAft>
                <a:spcPts val="0"/>
              </a:spcAft>
              <a:defRPr/>
            </a:pPr>
            <a:r>
              <a:rPr lang="es-ES_tradnl" noProof="1">
                <a:latin typeface="Arial" panose="020B0604020202020204" pitchFamily="34" charset="0"/>
                <a:ea typeface="微软雅黑" panose="020B0503020204020204" pitchFamily="34" charset="-122"/>
                <a:sym typeface="Arial" panose="020B0604020202020204" pitchFamily="34" charset="0"/>
              </a:rPr>
              <a:t>04</a:t>
            </a:r>
          </a:p>
        </p:txBody>
      </p:sp>
      <p:sp>
        <p:nvSpPr>
          <p:cNvPr id="24" name="平行四边形 23"/>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平行四边形 24"/>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平行四边形 25"/>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平行四边形 26"/>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8" name="直接连接符 27"/>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9"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30" name="Group 7"/>
          <p:cNvGrpSpPr/>
          <p:nvPr/>
        </p:nvGrpSpPr>
        <p:grpSpPr bwMode="auto">
          <a:xfrm>
            <a:off x="180202" y="181952"/>
            <a:ext cx="216018" cy="113981"/>
            <a:chOff x="0" y="0"/>
            <a:chExt cx="1041399" cy="549275"/>
          </a:xfrm>
          <a:solidFill>
            <a:srgbClr val="133E73"/>
          </a:solidFill>
        </p:grpSpPr>
        <p:sp>
          <p:nvSpPr>
            <p:cNvPr id="31"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2"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33"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spTree>
    <p:custDataLst>
      <p:tags r:id="rId1"/>
    </p:custData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additive="base">
                                        <p:cTn id="7" dur="500" fill="hold"/>
                                        <p:tgtEl>
                                          <p:spTgt spid="30"/>
                                        </p:tgtEl>
                                        <p:attrNameLst>
                                          <p:attrName>ppt_x</p:attrName>
                                        </p:attrNameLst>
                                      </p:cBhvr>
                                      <p:tavLst>
                                        <p:tav tm="0">
                                          <p:val>
                                            <p:strVal val="0-#ppt_w/2"/>
                                          </p:val>
                                        </p:tav>
                                        <p:tav tm="100000">
                                          <p:val>
                                            <p:strVal val="#ppt_x"/>
                                          </p:val>
                                        </p:tav>
                                      </p:tavLst>
                                    </p:anim>
                                    <p:anim calcmode="lin" valueType="num">
                                      <p:cBhvr additive="base">
                                        <p:cTn id="8" dur="500" fill="hold"/>
                                        <p:tgtEl>
                                          <p:spTgt spid="3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29"/>
                                        </p:tgtEl>
                                        <p:attrNameLst>
                                          <p:attrName>style.visibility</p:attrName>
                                        </p:attrNameLst>
                                      </p:cBhvr>
                                      <p:to>
                                        <p:strVal val="visible"/>
                                      </p:to>
                                    </p:set>
                                    <p:anim calcmode="lin" valueType="num">
                                      <p:cBhvr>
                                        <p:cTn id="12" dur="500" fill="hold"/>
                                        <p:tgtEl>
                                          <p:spTgt spid="29"/>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29"/>
                                        </p:tgtEl>
                                        <p:attrNameLst>
                                          <p:attrName>ppt_y</p:attrName>
                                        </p:attrNameLst>
                                      </p:cBhvr>
                                      <p:tavLst>
                                        <p:tav tm="0">
                                          <p:val>
                                            <p:strVal val="#ppt_y"/>
                                          </p:val>
                                        </p:tav>
                                        <p:tav tm="100000">
                                          <p:val>
                                            <p:strVal val="#ppt_y"/>
                                          </p:val>
                                        </p:tav>
                                      </p:tavLst>
                                    </p:anim>
                                    <p:anim calcmode="lin" valueType="num">
                                      <p:cBhvr>
                                        <p:cTn id="14" dur="500" fill="hold"/>
                                        <p:tgtEl>
                                          <p:spTgt spid="29"/>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29"/>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29"/>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26"/>
                                        </p:tgtEl>
                                        <p:attrNameLst>
                                          <p:attrName>fillcolor</p:attrName>
                                        </p:attrNameLst>
                                      </p:cBhvr>
                                      <p:to>
                                        <a:srgbClr val="00AEEF"/>
                                      </p:to>
                                    </p:animClr>
                                    <p:set>
                                      <p:cBhvr>
                                        <p:cTn id="20" dur="300" fill="hold"/>
                                        <p:tgtEl>
                                          <p:spTgt spid="26"/>
                                        </p:tgtEl>
                                        <p:attrNameLst>
                                          <p:attrName>fill.type</p:attrName>
                                        </p:attrNameLst>
                                      </p:cBhvr>
                                      <p:to>
                                        <p:strVal val="solid"/>
                                      </p:to>
                                    </p:set>
                                    <p:set>
                                      <p:cBhvr>
                                        <p:cTn id="21" dur="300" fill="hold"/>
                                        <p:tgtEl>
                                          <p:spTgt spid="26"/>
                                        </p:tgtEl>
                                        <p:attrNameLst>
                                          <p:attrName>fill.on</p:attrName>
                                        </p:attrNameLst>
                                      </p:cBhvr>
                                      <p:to>
                                        <p:strVal val="true"/>
                                      </p:to>
                                    </p:se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nodeType="clickEffect">
                                  <p:stCondLst>
                                    <p:cond delay="0"/>
                                  </p:stCondLst>
                                  <p:childTnLst>
                                    <p:set>
                                      <p:cBhvr>
                                        <p:cTn id="25" dur="1" fill="hold">
                                          <p:stCondLst>
                                            <p:cond delay="0"/>
                                          </p:stCondLst>
                                        </p:cTn>
                                        <p:tgtEl>
                                          <p:spTgt spid="104"/>
                                        </p:tgtEl>
                                        <p:attrNameLst>
                                          <p:attrName>style.visibility</p:attrName>
                                        </p:attrNameLst>
                                      </p:cBhvr>
                                      <p:to>
                                        <p:strVal val="visible"/>
                                      </p:to>
                                    </p:set>
                                    <p:animEffect transition="in" filter="wipe(down)">
                                      <p:cBhvr>
                                        <p:cTn id="26" dur="500"/>
                                        <p:tgtEl>
                                          <p:spTgt spid="104"/>
                                        </p:tgtEl>
                                      </p:cBhvr>
                                    </p:animEffect>
                                  </p:childTnLst>
                                </p:cTn>
                              </p:par>
                              <p:par>
                                <p:cTn id="27" presetID="53" presetClass="entr" presetSubtype="16" fill="hold" grpId="0" nodeType="withEffect">
                                  <p:stCondLst>
                                    <p:cond delay="200"/>
                                  </p:stCondLst>
                                  <p:childTnLst>
                                    <p:set>
                                      <p:cBhvr>
                                        <p:cTn id="28" dur="1" fill="hold">
                                          <p:stCondLst>
                                            <p:cond delay="0"/>
                                          </p:stCondLst>
                                        </p:cTn>
                                        <p:tgtEl>
                                          <p:spTgt spid="110">
                                            <p:txEl>
                                              <p:pRg st="0" end="0"/>
                                            </p:txEl>
                                          </p:spTgt>
                                        </p:tgtEl>
                                        <p:attrNameLst>
                                          <p:attrName>style.visibility</p:attrName>
                                        </p:attrNameLst>
                                      </p:cBhvr>
                                      <p:to>
                                        <p:strVal val="visible"/>
                                      </p:to>
                                    </p:set>
                                    <p:anim calcmode="lin" valueType="num">
                                      <p:cBhvr>
                                        <p:cTn id="29" dur="500" fill="hold"/>
                                        <p:tgtEl>
                                          <p:spTgt spid="110">
                                            <p:txEl>
                                              <p:pRg st="0" end="0"/>
                                            </p:txEl>
                                          </p:spTgt>
                                        </p:tgtEl>
                                        <p:attrNameLst>
                                          <p:attrName>ppt_w</p:attrName>
                                        </p:attrNameLst>
                                      </p:cBhvr>
                                      <p:tavLst>
                                        <p:tav tm="0">
                                          <p:val>
                                            <p:fltVal val="0"/>
                                          </p:val>
                                        </p:tav>
                                        <p:tav tm="100000">
                                          <p:val>
                                            <p:strVal val="#ppt_w"/>
                                          </p:val>
                                        </p:tav>
                                      </p:tavLst>
                                    </p:anim>
                                    <p:anim calcmode="lin" valueType="num">
                                      <p:cBhvr>
                                        <p:cTn id="30" dur="500" fill="hold"/>
                                        <p:tgtEl>
                                          <p:spTgt spid="110">
                                            <p:txEl>
                                              <p:pRg st="0" end="0"/>
                                            </p:txEl>
                                          </p:spTgt>
                                        </p:tgtEl>
                                        <p:attrNameLst>
                                          <p:attrName>ppt_h</p:attrName>
                                        </p:attrNameLst>
                                      </p:cBhvr>
                                      <p:tavLst>
                                        <p:tav tm="0">
                                          <p:val>
                                            <p:fltVal val="0"/>
                                          </p:val>
                                        </p:tav>
                                        <p:tav tm="100000">
                                          <p:val>
                                            <p:strVal val="#ppt_h"/>
                                          </p:val>
                                        </p:tav>
                                      </p:tavLst>
                                    </p:anim>
                                    <p:animEffect transition="in" filter="fade">
                                      <p:cBhvr>
                                        <p:cTn id="31" dur="500"/>
                                        <p:tgtEl>
                                          <p:spTgt spid="110">
                                            <p:txEl>
                                              <p:pRg st="0" end="0"/>
                                            </p:txEl>
                                          </p:spTgt>
                                        </p:tgtEl>
                                      </p:cBhvr>
                                    </p:animEffect>
                                  </p:childTnLst>
                                </p:cTn>
                              </p:par>
                              <p:par>
                                <p:cTn id="32" presetID="23" presetClass="entr" presetSubtype="16" fill="hold" grpId="0" nodeType="withEffect">
                                  <p:stCondLst>
                                    <p:cond delay="200"/>
                                  </p:stCondLst>
                                  <p:childTnLst>
                                    <p:set>
                                      <p:cBhvr>
                                        <p:cTn id="33" dur="1" fill="hold">
                                          <p:stCondLst>
                                            <p:cond delay="0"/>
                                          </p:stCondLst>
                                        </p:cTn>
                                        <p:tgtEl>
                                          <p:spTgt spid="111">
                                            <p:txEl>
                                              <p:pRg st="0" end="0"/>
                                            </p:txEl>
                                          </p:spTgt>
                                        </p:tgtEl>
                                        <p:attrNameLst>
                                          <p:attrName>style.visibility</p:attrName>
                                        </p:attrNameLst>
                                      </p:cBhvr>
                                      <p:to>
                                        <p:strVal val="visible"/>
                                      </p:to>
                                    </p:set>
                                    <p:anim calcmode="lin" valueType="num">
                                      <p:cBhvr>
                                        <p:cTn id="34" dur="500" fill="hold"/>
                                        <p:tgtEl>
                                          <p:spTgt spid="111">
                                            <p:txEl>
                                              <p:pRg st="0" end="0"/>
                                            </p:txEl>
                                          </p:spTgt>
                                        </p:tgtEl>
                                        <p:attrNameLst>
                                          <p:attrName>ppt_w</p:attrName>
                                        </p:attrNameLst>
                                      </p:cBhvr>
                                      <p:tavLst>
                                        <p:tav tm="0">
                                          <p:val>
                                            <p:fltVal val="0"/>
                                          </p:val>
                                        </p:tav>
                                        <p:tav tm="100000">
                                          <p:val>
                                            <p:strVal val="#ppt_w"/>
                                          </p:val>
                                        </p:tav>
                                      </p:tavLst>
                                    </p:anim>
                                    <p:anim calcmode="lin" valueType="num">
                                      <p:cBhvr>
                                        <p:cTn id="35" dur="500" fill="hold"/>
                                        <p:tgtEl>
                                          <p:spTgt spid="111">
                                            <p:txEl>
                                              <p:pRg st="0" end="0"/>
                                            </p:txEl>
                                          </p:spTgt>
                                        </p:tgtEl>
                                        <p:attrNameLst>
                                          <p:attrName>ppt_h</p:attrName>
                                        </p:attrNameLst>
                                      </p:cBhvr>
                                      <p:tavLst>
                                        <p:tav tm="0">
                                          <p:val>
                                            <p:fltVal val="0"/>
                                          </p:val>
                                        </p:tav>
                                        <p:tav tm="100000">
                                          <p:val>
                                            <p:strVal val="#ppt_h"/>
                                          </p:val>
                                        </p:tav>
                                      </p:tavLst>
                                    </p:anim>
                                  </p:childTnLst>
                                </p:cTn>
                              </p:par>
                              <p:par>
                                <p:cTn id="36" presetID="53" presetClass="entr" presetSubtype="16" fill="hold" grpId="0" nodeType="withEffect">
                                  <p:stCondLst>
                                    <p:cond delay="200"/>
                                  </p:stCondLst>
                                  <p:childTnLst>
                                    <p:set>
                                      <p:cBhvr>
                                        <p:cTn id="37" dur="1" fill="hold">
                                          <p:stCondLst>
                                            <p:cond delay="0"/>
                                          </p:stCondLst>
                                        </p:cTn>
                                        <p:tgtEl>
                                          <p:spTgt spid="112"/>
                                        </p:tgtEl>
                                        <p:attrNameLst>
                                          <p:attrName>style.visibility</p:attrName>
                                        </p:attrNameLst>
                                      </p:cBhvr>
                                      <p:to>
                                        <p:strVal val="visible"/>
                                      </p:to>
                                    </p:set>
                                    <p:anim calcmode="lin" valueType="num">
                                      <p:cBhvr>
                                        <p:cTn id="38" dur="500" fill="hold"/>
                                        <p:tgtEl>
                                          <p:spTgt spid="112"/>
                                        </p:tgtEl>
                                        <p:attrNameLst>
                                          <p:attrName>ppt_w</p:attrName>
                                        </p:attrNameLst>
                                      </p:cBhvr>
                                      <p:tavLst>
                                        <p:tav tm="0">
                                          <p:val>
                                            <p:fltVal val="0"/>
                                          </p:val>
                                        </p:tav>
                                        <p:tav tm="100000">
                                          <p:val>
                                            <p:strVal val="#ppt_w"/>
                                          </p:val>
                                        </p:tav>
                                      </p:tavLst>
                                    </p:anim>
                                    <p:anim calcmode="lin" valueType="num">
                                      <p:cBhvr>
                                        <p:cTn id="39" dur="500" fill="hold"/>
                                        <p:tgtEl>
                                          <p:spTgt spid="112"/>
                                        </p:tgtEl>
                                        <p:attrNameLst>
                                          <p:attrName>ppt_h</p:attrName>
                                        </p:attrNameLst>
                                      </p:cBhvr>
                                      <p:tavLst>
                                        <p:tav tm="0">
                                          <p:val>
                                            <p:fltVal val="0"/>
                                          </p:val>
                                        </p:tav>
                                        <p:tav tm="100000">
                                          <p:val>
                                            <p:strVal val="#ppt_h"/>
                                          </p:val>
                                        </p:tav>
                                      </p:tavLst>
                                    </p:anim>
                                    <p:animEffect transition="in" filter="fade">
                                      <p:cBhvr>
                                        <p:cTn id="40" dur="500"/>
                                        <p:tgtEl>
                                          <p:spTgt spid="112"/>
                                        </p:tgtEl>
                                      </p:cBhvr>
                                    </p:animEffect>
                                  </p:childTnLst>
                                </p:cTn>
                              </p:par>
                              <p:par>
                                <p:cTn id="41" presetID="53" presetClass="entr" presetSubtype="16" fill="hold" grpId="0" nodeType="withEffect">
                                  <p:stCondLst>
                                    <p:cond delay="200"/>
                                  </p:stCondLst>
                                  <p:childTnLst>
                                    <p:set>
                                      <p:cBhvr>
                                        <p:cTn id="42" dur="1" fill="hold">
                                          <p:stCondLst>
                                            <p:cond delay="0"/>
                                          </p:stCondLst>
                                        </p:cTn>
                                        <p:tgtEl>
                                          <p:spTgt spid="113">
                                            <p:txEl>
                                              <p:pRg st="0" end="0"/>
                                            </p:txEl>
                                          </p:spTgt>
                                        </p:tgtEl>
                                        <p:attrNameLst>
                                          <p:attrName>style.visibility</p:attrName>
                                        </p:attrNameLst>
                                      </p:cBhvr>
                                      <p:to>
                                        <p:strVal val="visible"/>
                                      </p:to>
                                    </p:set>
                                    <p:anim calcmode="lin" valueType="num">
                                      <p:cBhvr>
                                        <p:cTn id="43" dur="500" fill="hold"/>
                                        <p:tgtEl>
                                          <p:spTgt spid="113">
                                            <p:txEl>
                                              <p:pRg st="0" end="0"/>
                                            </p:txEl>
                                          </p:spTgt>
                                        </p:tgtEl>
                                        <p:attrNameLst>
                                          <p:attrName>ppt_w</p:attrName>
                                        </p:attrNameLst>
                                      </p:cBhvr>
                                      <p:tavLst>
                                        <p:tav tm="0">
                                          <p:val>
                                            <p:fltVal val="0"/>
                                          </p:val>
                                        </p:tav>
                                        <p:tav tm="100000">
                                          <p:val>
                                            <p:strVal val="#ppt_w"/>
                                          </p:val>
                                        </p:tav>
                                      </p:tavLst>
                                    </p:anim>
                                    <p:anim calcmode="lin" valueType="num">
                                      <p:cBhvr>
                                        <p:cTn id="44" dur="500" fill="hold"/>
                                        <p:tgtEl>
                                          <p:spTgt spid="113">
                                            <p:txEl>
                                              <p:pRg st="0" end="0"/>
                                            </p:txEl>
                                          </p:spTgt>
                                        </p:tgtEl>
                                        <p:attrNameLst>
                                          <p:attrName>ppt_h</p:attrName>
                                        </p:attrNameLst>
                                      </p:cBhvr>
                                      <p:tavLst>
                                        <p:tav tm="0">
                                          <p:val>
                                            <p:fltVal val="0"/>
                                          </p:val>
                                        </p:tav>
                                        <p:tav tm="100000">
                                          <p:val>
                                            <p:strVal val="#ppt_h"/>
                                          </p:val>
                                        </p:tav>
                                      </p:tavLst>
                                    </p:anim>
                                    <p:animEffect transition="in" filter="fade">
                                      <p:cBhvr>
                                        <p:cTn id="45" dur="500"/>
                                        <p:tgtEl>
                                          <p:spTgt spid="113">
                                            <p:txEl>
                                              <p:pRg st="0" end="0"/>
                                            </p:txEl>
                                          </p:spTgt>
                                        </p:tgtEl>
                                      </p:cBhvr>
                                    </p:animEffect>
                                  </p:childTnLst>
                                </p:cTn>
                              </p:par>
                              <p:par>
                                <p:cTn id="46" presetID="53" presetClass="entr" presetSubtype="16" fill="hold" grpId="0" nodeType="withEffect">
                                  <p:stCondLst>
                                    <p:cond delay="200"/>
                                  </p:stCondLst>
                                  <p:childTnLst>
                                    <p:set>
                                      <p:cBhvr>
                                        <p:cTn id="47" dur="1" fill="hold">
                                          <p:stCondLst>
                                            <p:cond delay="0"/>
                                          </p:stCondLst>
                                        </p:cTn>
                                        <p:tgtEl>
                                          <p:spTgt spid="114">
                                            <p:txEl>
                                              <p:pRg st="0" end="0"/>
                                            </p:txEl>
                                          </p:spTgt>
                                        </p:tgtEl>
                                        <p:attrNameLst>
                                          <p:attrName>style.visibility</p:attrName>
                                        </p:attrNameLst>
                                      </p:cBhvr>
                                      <p:to>
                                        <p:strVal val="visible"/>
                                      </p:to>
                                    </p:set>
                                    <p:anim calcmode="lin" valueType="num">
                                      <p:cBhvr>
                                        <p:cTn id="48" dur="500" fill="hold"/>
                                        <p:tgtEl>
                                          <p:spTgt spid="114">
                                            <p:txEl>
                                              <p:pRg st="0" end="0"/>
                                            </p:txEl>
                                          </p:spTgt>
                                        </p:tgtEl>
                                        <p:attrNameLst>
                                          <p:attrName>ppt_w</p:attrName>
                                        </p:attrNameLst>
                                      </p:cBhvr>
                                      <p:tavLst>
                                        <p:tav tm="0">
                                          <p:val>
                                            <p:fltVal val="0"/>
                                          </p:val>
                                        </p:tav>
                                        <p:tav tm="100000">
                                          <p:val>
                                            <p:strVal val="#ppt_w"/>
                                          </p:val>
                                        </p:tav>
                                      </p:tavLst>
                                    </p:anim>
                                    <p:anim calcmode="lin" valueType="num">
                                      <p:cBhvr>
                                        <p:cTn id="49" dur="500" fill="hold"/>
                                        <p:tgtEl>
                                          <p:spTgt spid="114">
                                            <p:txEl>
                                              <p:pRg st="0" end="0"/>
                                            </p:txEl>
                                          </p:spTgt>
                                        </p:tgtEl>
                                        <p:attrNameLst>
                                          <p:attrName>ppt_h</p:attrName>
                                        </p:attrNameLst>
                                      </p:cBhvr>
                                      <p:tavLst>
                                        <p:tav tm="0">
                                          <p:val>
                                            <p:fltVal val="0"/>
                                          </p:val>
                                        </p:tav>
                                        <p:tav tm="100000">
                                          <p:val>
                                            <p:strVal val="#ppt_h"/>
                                          </p:val>
                                        </p:tav>
                                      </p:tavLst>
                                    </p:anim>
                                    <p:animEffect transition="in" filter="fade">
                                      <p:cBhvr>
                                        <p:cTn id="50" dur="500"/>
                                        <p:tgtEl>
                                          <p:spTgt spid="114">
                                            <p:txEl>
                                              <p:pRg st="0" end="0"/>
                                            </p:txEl>
                                          </p:spTgt>
                                        </p:tgtEl>
                                      </p:cBhvr>
                                    </p:animEffect>
                                  </p:childTnLst>
                                </p:cTn>
                              </p:par>
                              <p:par>
                                <p:cTn id="51" presetID="23" presetClass="entr" presetSubtype="16" fill="hold" grpId="0" nodeType="withEffect">
                                  <p:stCondLst>
                                    <p:cond delay="200"/>
                                  </p:stCondLst>
                                  <p:childTnLst>
                                    <p:set>
                                      <p:cBhvr>
                                        <p:cTn id="52" dur="1" fill="hold">
                                          <p:stCondLst>
                                            <p:cond delay="0"/>
                                          </p:stCondLst>
                                        </p:cTn>
                                        <p:tgtEl>
                                          <p:spTgt spid="115">
                                            <p:txEl>
                                              <p:pRg st="0" end="0"/>
                                            </p:txEl>
                                          </p:spTgt>
                                        </p:tgtEl>
                                        <p:attrNameLst>
                                          <p:attrName>style.visibility</p:attrName>
                                        </p:attrNameLst>
                                      </p:cBhvr>
                                      <p:to>
                                        <p:strVal val="visible"/>
                                      </p:to>
                                    </p:set>
                                    <p:anim calcmode="lin" valueType="num">
                                      <p:cBhvr>
                                        <p:cTn id="53" dur="500" fill="hold"/>
                                        <p:tgtEl>
                                          <p:spTgt spid="115">
                                            <p:txEl>
                                              <p:pRg st="0" end="0"/>
                                            </p:txEl>
                                          </p:spTgt>
                                        </p:tgtEl>
                                        <p:attrNameLst>
                                          <p:attrName>ppt_w</p:attrName>
                                        </p:attrNameLst>
                                      </p:cBhvr>
                                      <p:tavLst>
                                        <p:tav tm="0">
                                          <p:val>
                                            <p:fltVal val="0"/>
                                          </p:val>
                                        </p:tav>
                                        <p:tav tm="100000">
                                          <p:val>
                                            <p:strVal val="#ppt_w"/>
                                          </p:val>
                                        </p:tav>
                                      </p:tavLst>
                                    </p:anim>
                                    <p:anim calcmode="lin" valueType="num">
                                      <p:cBhvr>
                                        <p:cTn id="54" dur="500" fill="hold"/>
                                        <p:tgtEl>
                                          <p:spTgt spid="115">
                                            <p:txEl>
                                              <p:pRg st="0" end="0"/>
                                            </p:txEl>
                                          </p:spTgt>
                                        </p:tgtEl>
                                        <p:attrNameLst>
                                          <p:attrName>ppt_h</p:attrName>
                                        </p:attrNameLst>
                                      </p:cBhvr>
                                      <p:tavLst>
                                        <p:tav tm="0">
                                          <p:val>
                                            <p:fltVal val="0"/>
                                          </p:val>
                                        </p:tav>
                                        <p:tav tm="100000">
                                          <p:val>
                                            <p:strVal val="#ppt_h"/>
                                          </p:val>
                                        </p:tav>
                                      </p:tavLst>
                                    </p:anim>
                                  </p:childTnLst>
                                </p:cTn>
                              </p:par>
                              <p:par>
                                <p:cTn id="55" presetID="53" presetClass="entr" presetSubtype="16" fill="hold" grpId="0" nodeType="withEffect">
                                  <p:stCondLst>
                                    <p:cond delay="200"/>
                                  </p:stCondLst>
                                  <p:childTnLst>
                                    <p:set>
                                      <p:cBhvr>
                                        <p:cTn id="56" dur="1" fill="hold">
                                          <p:stCondLst>
                                            <p:cond delay="0"/>
                                          </p:stCondLst>
                                        </p:cTn>
                                        <p:tgtEl>
                                          <p:spTgt spid="116"/>
                                        </p:tgtEl>
                                        <p:attrNameLst>
                                          <p:attrName>style.visibility</p:attrName>
                                        </p:attrNameLst>
                                      </p:cBhvr>
                                      <p:to>
                                        <p:strVal val="visible"/>
                                      </p:to>
                                    </p:set>
                                    <p:anim calcmode="lin" valueType="num">
                                      <p:cBhvr>
                                        <p:cTn id="57" dur="500" fill="hold"/>
                                        <p:tgtEl>
                                          <p:spTgt spid="116"/>
                                        </p:tgtEl>
                                        <p:attrNameLst>
                                          <p:attrName>ppt_w</p:attrName>
                                        </p:attrNameLst>
                                      </p:cBhvr>
                                      <p:tavLst>
                                        <p:tav tm="0">
                                          <p:val>
                                            <p:fltVal val="0"/>
                                          </p:val>
                                        </p:tav>
                                        <p:tav tm="100000">
                                          <p:val>
                                            <p:strVal val="#ppt_w"/>
                                          </p:val>
                                        </p:tav>
                                      </p:tavLst>
                                    </p:anim>
                                    <p:anim calcmode="lin" valueType="num">
                                      <p:cBhvr>
                                        <p:cTn id="58" dur="500" fill="hold"/>
                                        <p:tgtEl>
                                          <p:spTgt spid="116"/>
                                        </p:tgtEl>
                                        <p:attrNameLst>
                                          <p:attrName>ppt_h</p:attrName>
                                        </p:attrNameLst>
                                      </p:cBhvr>
                                      <p:tavLst>
                                        <p:tav tm="0">
                                          <p:val>
                                            <p:fltVal val="0"/>
                                          </p:val>
                                        </p:tav>
                                        <p:tav tm="100000">
                                          <p:val>
                                            <p:strVal val="#ppt_h"/>
                                          </p:val>
                                        </p:tav>
                                      </p:tavLst>
                                    </p:anim>
                                    <p:animEffect transition="in" filter="fade">
                                      <p:cBhvr>
                                        <p:cTn id="59" dur="500"/>
                                        <p:tgtEl>
                                          <p:spTgt spid="116"/>
                                        </p:tgtEl>
                                      </p:cBhvr>
                                    </p:animEffect>
                                  </p:childTnLst>
                                </p:cTn>
                              </p:par>
                              <p:par>
                                <p:cTn id="60" presetID="53" presetClass="entr" presetSubtype="16" fill="hold" grpId="0" nodeType="withEffect">
                                  <p:stCondLst>
                                    <p:cond delay="200"/>
                                  </p:stCondLst>
                                  <p:childTnLst>
                                    <p:set>
                                      <p:cBhvr>
                                        <p:cTn id="61" dur="1" fill="hold">
                                          <p:stCondLst>
                                            <p:cond delay="0"/>
                                          </p:stCondLst>
                                        </p:cTn>
                                        <p:tgtEl>
                                          <p:spTgt spid="117">
                                            <p:txEl>
                                              <p:pRg st="0" end="0"/>
                                            </p:txEl>
                                          </p:spTgt>
                                        </p:tgtEl>
                                        <p:attrNameLst>
                                          <p:attrName>style.visibility</p:attrName>
                                        </p:attrNameLst>
                                      </p:cBhvr>
                                      <p:to>
                                        <p:strVal val="visible"/>
                                      </p:to>
                                    </p:set>
                                    <p:anim calcmode="lin" valueType="num">
                                      <p:cBhvr>
                                        <p:cTn id="62" dur="500" fill="hold"/>
                                        <p:tgtEl>
                                          <p:spTgt spid="117">
                                            <p:txEl>
                                              <p:pRg st="0" end="0"/>
                                            </p:txEl>
                                          </p:spTgt>
                                        </p:tgtEl>
                                        <p:attrNameLst>
                                          <p:attrName>ppt_w</p:attrName>
                                        </p:attrNameLst>
                                      </p:cBhvr>
                                      <p:tavLst>
                                        <p:tav tm="0">
                                          <p:val>
                                            <p:fltVal val="0"/>
                                          </p:val>
                                        </p:tav>
                                        <p:tav tm="100000">
                                          <p:val>
                                            <p:strVal val="#ppt_w"/>
                                          </p:val>
                                        </p:tav>
                                      </p:tavLst>
                                    </p:anim>
                                    <p:anim calcmode="lin" valueType="num">
                                      <p:cBhvr>
                                        <p:cTn id="63" dur="500" fill="hold"/>
                                        <p:tgtEl>
                                          <p:spTgt spid="117">
                                            <p:txEl>
                                              <p:pRg st="0" end="0"/>
                                            </p:txEl>
                                          </p:spTgt>
                                        </p:tgtEl>
                                        <p:attrNameLst>
                                          <p:attrName>ppt_h</p:attrName>
                                        </p:attrNameLst>
                                      </p:cBhvr>
                                      <p:tavLst>
                                        <p:tav tm="0">
                                          <p:val>
                                            <p:fltVal val="0"/>
                                          </p:val>
                                        </p:tav>
                                        <p:tav tm="100000">
                                          <p:val>
                                            <p:strVal val="#ppt_h"/>
                                          </p:val>
                                        </p:tav>
                                      </p:tavLst>
                                    </p:anim>
                                    <p:animEffect transition="in" filter="fade">
                                      <p:cBhvr>
                                        <p:cTn id="64" dur="500"/>
                                        <p:tgtEl>
                                          <p:spTgt spid="117">
                                            <p:txEl>
                                              <p:pRg st="0" end="0"/>
                                            </p:txEl>
                                          </p:spTgt>
                                        </p:tgtEl>
                                      </p:cBhvr>
                                    </p:animEffect>
                                  </p:childTnLst>
                                </p:cTn>
                              </p:par>
                              <p:par>
                                <p:cTn id="65" presetID="53" presetClass="entr" presetSubtype="16" fill="hold" grpId="0" nodeType="withEffect">
                                  <p:stCondLst>
                                    <p:cond delay="200"/>
                                  </p:stCondLst>
                                  <p:childTnLst>
                                    <p:set>
                                      <p:cBhvr>
                                        <p:cTn id="66" dur="1" fill="hold">
                                          <p:stCondLst>
                                            <p:cond delay="0"/>
                                          </p:stCondLst>
                                        </p:cTn>
                                        <p:tgtEl>
                                          <p:spTgt spid="118">
                                            <p:txEl>
                                              <p:pRg st="0" end="0"/>
                                            </p:txEl>
                                          </p:spTgt>
                                        </p:tgtEl>
                                        <p:attrNameLst>
                                          <p:attrName>style.visibility</p:attrName>
                                        </p:attrNameLst>
                                      </p:cBhvr>
                                      <p:to>
                                        <p:strVal val="visible"/>
                                      </p:to>
                                    </p:set>
                                    <p:anim calcmode="lin" valueType="num">
                                      <p:cBhvr>
                                        <p:cTn id="67" dur="500" fill="hold"/>
                                        <p:tgtEl>
                                          <p:spTgt spid="118">
                                            <p:txEl>
                                              <p:pRg st="0" end="0"/>
                                            </p:txEl>
                                          </p:spTgt>
                                        </p:tgtEl>
                                        <p:attrNameLst>
                                          <p:attrName>ppt_w</p:attrName>
                                        </p:attrNameLst>
                                      </p:cBhvr>
                                      <p:tavLst>
                                        <p:tav tm="0">
                                          <p:val>
                                            <p:fltVal val="0"/>
                                          </p:val>
                                        </p:tav>
                                        <p:tav tm="100000">
                                          <p:val>
                                            <p:strVal val="#ppt_w"/>
                                          </p:val>
                                        </p:tav>
                                      </p:tavLst>
                                    </p:anim>
                                    <p:anim calcmode="lin" valueType="num">
                                      <p:cBhvr>
                                        <p:cTn id="68" dur="500" fill="hold"/>
                                        <p:tgtEl>
                                          <p:spTgt spid="118">
                                            <p:txEl>
                                              <p:pRg st="0" end="0"/>
                                            </p:txEl>
                                          </p:spTgt>
                                        </p:tgtEl>
                                        <p:attrNameLst>
                                          <p:attrName>ppt_h</p:attrName>
                                        </p:attrNameLst>
                                      </p:cBhvr>
                                      <p:tavLst>
                                        <p:tav tm="0">
                                          <p:val>
                                            <p:fltVal val="0"/>
                                          </p:val>
                                        </p:tav>
                                        <p:tav tm="100000">
                                          <p:val>
                                            <p:strVal val="#ppt_h"/>
                                          </p:val>
                                        </p:tav>
                                      </p:tavLst>
                                    </p:anim>
                                    <p:animEffect transition="in" filter="fade">
                                      <p:cBhvr>
                                        <p:cTn id="69" dur="500"/>
                                        <p:tgtEl>
                                          <p:spTgt spid="118">
                                            <p:txEl>
                                              <p:pRg st="0" end="0"/>
                                            </p:txEl>
                                          </p:spTgt>
                                        </p:tgtEl>
                                      </p:cBhvr>
                                    </p:animEffect>
                                  </p:childTnLst>
                                </p:cTn>
                              </p:par>
                              <p:par>
                                <p:cTn id="70" presetID="23" presetClass="entr" presetSubtype="16" fill="hold" grpId="0" nodeType="withEffect">
                                  <p:stCondLst>
                                    <p:cond delay="200"/>
                                  </p:stCondLst>
                                  <p:childTnLst>
                                    <p:set>
                                      <p:cBhvr>
                                        <p:cTn id="71" dur="1" fill="hold">
                                          <p:stCondLst>
                                            <p:cond delay="0"/>
                                          </p:stCondLst>
                                        </p:cTn>
                                        <p:tgtEl>
                                          <p:spTgt spid="119">
                                            <p:txEl>
                                              <p:pRg st="0" end="0"/>
                                            </p:txEl>
                                          </p:spTgt>
                                        </p:tgtEl>
                                        <p:attrNameLst>
                                          <p:attrName>style.visibility</p:attrName>
                                        </p:attrNameLst>
                                      </p:cBhvr>
                                      <p:to>
                                        <p:strVal val="visible"/>
                                      </p:to>
                                    </p:set>
                                    <p:anim calcmode="lin" valueType="num">
                                      <p:cBhvr>
                                        <p:cTn id="72" dur="500" fill="hold"/>
                                        <p:tgtEl>
                                          <p:spTgt spid="119">
                                            <p:txEl>
                                              <p:pRg st="0" end="0"/>
                                            </p:txEl>
                                          </p:spTgt>
                                        </p:tgtEl>
                                        <p:attrNameLst>
                                          <p:attrName>ppt_w</p:attrName>
                                        </p:attrNameLst>
                                      </p:cBhvr>
                                      <p:tavLst>
                                        <p:tav tm="0">
                                          <p:val>
                                            <p:fltVal val="0"/>
                                          </p:val>
                                        </p:tav>
                                        <p:tav tm="100000">
                                          <p:val>
                                            <p:strVal val="#ppt_w"/>
                                          </p:val>
                                        </p:tav>
                                      </p:tavLst>
                                    </p:anim>
                                    <p:anim calcmode="lin" valueType="num">
                                      <p:cBhvr>
                                        <p:cTn id="73" dur="500" fill="hold"/>
                                        <p:tgtEl>
                                          <p:spTgt spid="119">
                                            <p:txEl>
                                              <p:pRg st="0" end="0"/>
                                            </p:txEl>
                                          </p:spTgt>
                                        </p:tgtEl>
                                        <p:attrNameLst>
                                          <p:attrName>ppt_h</p:attrName>
                                        </p:attrNameLst>
                                      </p:cBhvr>
                                      <p:tavLst>
                                        <p:tav tm="0">
                                          <p:val>
                                            <p:fltVal val="0"/>
                                          </p:val>
                                        </p:tav>
                                        <p:tav tm="100000">
                                          <p:val>
                                            <p:strVal val="#ppt_h"/>
                                          </p:val>
                                        </p:tav>
                                      </p:tavLst>
                                    </p:anim>
                                  </p:childTnLst>
                                </p:cTn>
                              </p:par>
                              <p:par>
                                <p:cTn id="74" presetID="53" presetClass="entr" presetSubtype="16" fill="hold" grpId="0" nodeType="withEffect">
                                  <p:stCondLst>
                                    <p:cond delay="200"/>
                                  </p:stCondLst>
                                  <p:childTnLst>
                                    <p:set>
                                      <p:cBhvr>
                                        <p:cTn id="75" dur="1" fill="hold">
                                          <p:stCondLst>
                                            <p:cond delay="0"/>
                                          </p:stCondLst>
                                        </p:cTn>
                                        <p:tgtEl>
                                          <p:spTgt spid="120"/>
                                        </p:tgtEl>
                                        <p:attrNameLst>
                                          <p:attrName>style.visibility</p:attrName>
                                        </p:attrNameLst>
                                      </p:cBhvr>
                                      <p:to>
                                        <p:strVal val="visible"/>
                                      </p:to>
                                    </p:set>
                                    <p:anim calcmode="lin" valueType="num">
                                      <p:cBhvr>
                                        <p:cTn id="76" dur="500" fill="hold"/>
                                        <p:tgtEl>
                                          <p:spTgt spid="120"/>
                                        </p:tgtEl>
                                        <p:attrNameLst>
                                          <p:attrName>ppt_w</p:attrName>
                                        </p:attrNameLst>
                                      </p:cBhvr>
                                      <p:tavLst>
                                        <p:tav tm="0">
                                          <p:val>
                                            <p:fltVal val="0"/>
                                          </p:val>
                                        </p:tav>
                                        <p:tav tm="100000">
                                          <p:val>
                                            <p:strVal val="#ppt_w"/>
                                          </p:val>
                                        </p:tav>
                                      </p:tavLst>
                                    </p:anim>
                                    <p:anim calcmode="lin" valueType="num">
                                      <p:cBhvr>
                                        <p:cTn id="77" dur="500" fill="hold"/>
                                        <p:tgtEl>
                                          <p:spTgt spid="120"/>
                                        </p:tgtEl>
                                        <p:attrNameLst>
                                          <p:attrName>ppt_h</p:attrName>
                                        </p:attrNameLst>
                                      </p:cBhvr>
                                      <p:tavLst>
                                        <p:tav tm="0">
                                          <p:val>
                                            <p:fltVal val="0"/>
                                          </p:val>
                                        </p:tav>
                                        <p:tav tm="100000">
                                          <p:val>
                                            <p:strVal val="#ppt_h"/>
                                          </p:val>
                                        </p:tav>
                                      </p:tavLst>
                                    </p:anim>
                                    <p:animEffect transition="in" filter="fade">
                                      <p:cBhvr>
                                        <p:cTn id="78" dur="500"/>
                                        <p:tgtEl>
                                          <p:spTgt spid="120"/>
                                        </p:tgtEl>
                                      </p:cBhvr>
                                    </p:animEffect>
                                  </p:childTnLst>
                                </p:cTn>
                              </p:par>
                              <p:par>
                                <p:cTn id="79" presetID="53" presetClass="entr" presetSubtype="16" fill="hold" grpId="0" nodeType="withEffect">
                                  <p:stCondLst>
                                    <p:cond delay="200"/>
                                  </p:stCondLst>
                                  <p:childTnLst>
                                    <p:set>
                                      <p:cBhvr>
                                        <p:cTn id="80" dur="1" fill="hold">
                                          <p:stCondLst>
                                            <p:cond delay="0"/>
                                          </p:stCondLst>
                                        </p:cTn>
                                        <p:tgtEl>
                                          <p:spTgt spid="121">
                                            <p:bg/>
                                          </p:spTgt>
                                        </p:tgtEl>
                                        <p:attrNameLst>
                                          <p:attrName>style.visibility</p:attrName>
                                        </p:attrNameLst>
                                      </p:cBhvr>
                                      <p:to>
                                        <p:strVal val="visible"/>
                                      </p:to>
                                    </p:set>
                                    <p:anim calcmode="lin" valueType="num">
                                      <p:cBhvr>
                                        <p:cTn id="81" dur="500" fill="hold"/>
                                        <p:tgtEl>
                                          <p:spTgt spid="121">
                                            <p:bg/>
                                          </p:spTgt>
                                        </p:tgtEl>
                                        <p:attrNameLst>
                                          <p:attrName>ppt_w</p:attrName>
                                        </p:attrNameLst>
                                      </p:cBhvr>
                                      <p:tavLst>
                                        <p:tav tm="0">
                                          <p:val>
                                            <p:fltVal val="0"/>
                                          </p:val>
                                        </p:tav>
                                        <p:tav tm="100000">
                                          <p:val>
                                            <p:strVal val="#ppt_w"/>
                                          </p:val>
                                        </p:tav>
                                      </p:tavLst>
                                    </p:anim>
                                    <p:anim calcmode="lin" valueType="num">
                                      <p:cBhvr>
                                        <p:cTn id="82" dur="500" fill="hold"/>
                                        <p:tgtEl>
                                          <p:spTgt spid="121">
                                            <p:bg/>
                                          </p:spTgt>
                                        </p:tgtEl>
                                        <p:attrNameLst>
                                          <p:attrName>ppt_h</p:attrName>
                                        </p:attrNameLst>
                                      </p:cBhvr>
                                      <p:tavLst>
                                        <p:tav tm="0">
                                          <p:val>
                                            <p:fltVal val="0"/>
                                          </p:val>
                                        </p:tav>
                                        <p:tav tm="100000">
                                          <p:val>
                                            <p:strVal val="#ppt_h"/>
                                          </p:val>
                                        </p:tav>
                                      </p:tavLst>
                                    </p:anim>
                                    <p:animEffect transition="in" filter="fade">
                                      <p:cBhvr>
                                        <p:cTn id="83" dur="500"/>
                                        <p:tgtEl>
                                          <p:spTgt spid="121">
                                            <p:bg/>
                                          </p:spTgt>
                                        </p:tgtEl>
                                      </p:cBhvr>
                                    </p:animEffect>
                                  </p:childTnLst>
                                </p:cTn>
                              </p:par>
                              <p:par>
                                <p:cTn id="84" presetID="53" presetClass="entr" presetSubtype="16" fill="hold" grpId="0" nodeType="withEffect">
                                  <p:stCondLst>
                                    <p:cond delay="200"/>
                                  </p:stCondLst>
                                  <p:childTnLst>
                                    <p:set>
                                      <p:cBhvr>
                                        <p:cTn id="85" dur="1" fill="hold">
                                          <p:stCondLst>
                                            <p:cond delay="0"/>
                                          </p:stCondLst>
                                        </p:cTn>
                                        <p:tgtEl>
                                          <p:spTgt spid="121">
                                            <p:txEl>
                                              <p:pRg st="0" end="0"/>
                                            </p:txEl>
                                          </p:spTgt>
                                        </p:tgtEl>
                                        <p:attrNameLst>
                                          <p:attrName>style.visibility</p:attrName>
                                        </p:attrNameLst>
                                      </p:cBhvr>
                                      <p:to>
                                        <p:strVal val="visible"/>
                                      </p:to>
                                    </p:set>
                                    <p:anim calcmode="lin" valueType="num">
                                      <p:cBhvr>
                                        <p:cTn id="86" dur="500" fill="hold"/>
                                        <p:tgtEl>
                                          <p:spTgt spid="121">
                                            <p:txEl>
                                              <p:pRg st="0" end="0"/>
                                            </p:txEl>
                                          </p:spTgt>
                                        </p:tgtEl>
                                        <p:attrNameLst>
                                          <p:attrName>ppt_w</p:attrName>
                                        </p:attrNameLst>
                                      </p:cBhvr>
                                      <p:tavLst>
                                        <p:tav tm="0">
                                          <p:val>
                                            <p:fltVal val="0"/>
                                          </p:val>
                                        </p:tav>
                                        <p:tav tm="100000">
                                          <p:val>
                                            <p:strVal val="#ppt_w"/>
                                          </p:val>
                                        </p:tav>
                                      </p:tavLst>
                                    </p:anim>
                                    <p:anim calcmode="lin" valueType="num">
                                      <p:cBhvr>
                                        <p:cTn id="87" dur="500" fill="hold"/>
                                        <p:tgtEl>
                                          <p:spTgt spid="121">
                                            <p:txEl>
                                              <p:pRg st="0" end="0"/>
                                            </p:txEl>
                                          </p:spTgt>
                                        </p:tgtEl>
                                        <p:attrNameLst>
                                          <p:attrName>ppt_h</p:attrName>
                                        </p:attrNameLst>
                                      </p:cBhvr>
                                      <p:tavLst>
                                        <p:tav tm="0">
                                          <p:val>
                                            <p:fltVal val="0"/>
                                          </p:val>
                                        </p:tav>
                                        <p:tav tm="100000">
                                          <p:val>
                                            <p:strVal val="#ppt_h"/>
                                          </p:val>
                                        </p:tav>
                                      </p:tavLst>
                                    </p:anim>
                                    <p:animEffect transition="in" filter="fade">
                                      <p:cBhvr>
                                        <p:cTn id="88" dur="500"/>
                                        <p:tgtEl>
                                          <p:spTgt spid="121">
                                            <p:txEl>
                                              <p:pRg st="0" end="0"/>
                                            </p:txEl>
                                          </p:spTgt>
                                        </p:tgtEl>
                                      </p:cBhvr>
                                    </p:animEffect>
                                  </p:childTnLst>
                                </p:cTn>
                              </p:par>
                              <p:par>
                                <p:cTn id="89" presetID="53" presetClass="entr" presetSubtype="16" fill="hold" grpId="0" nodeType="withEffect">
                                  <p:stCondLst>
                                    <p:cond delay="200"/>
                                  </p:stCondLst>
                                  <p:childTnLst>
                                    <p:set>
                                      <p:cBhvr>
                                        <p:cTn id="90" dur="1" fill="hold">
                                          <p:stCondLst>
                                            <p:cond delay="0"/>
                                          </p:stCondLst>
                                        </p:cTn>
                                        <p:tgtEl>
                                          <p:spTgt spid="122">
                                            <p:txEl>
                                              <p:pRg st="0" end="0"/>
                                            </p:txEl>
                                          </p:spTgt>
                                        </p:tgtEl>
                                        <p:attrNameLst>
                                          <p:attrName>style.visibility</p:attrName>
                                        </p:attrNameLst>
                                      </p:cBhvr>
                                      <p:to>
                                        <p:strVal val="visible"/>
                                      </p:to>
                                    </p:set>
                                    <p:anim calcmode="lin" valueType="num">
                                      <p:cBhvr>
                                        <p:cTn id="91" dur="500" fill="hold"/>
                                        <p:tgtEl>
                                          <p:spTgt spid="122">
                                            <p:txEl>
                                              <p:pRg st="0" end="0"/>
                                            </p:txEl>
                                          </p:spTgt>
                                        </p:tgtEl>
                                        <p:attrNameLst>
                                          <p:attrName>ppt_w</p:attrName>
                                        </p:attrNameLst>
                                      </p:cBhvr>
                                      <p:tavLst>
                                        <p:tav tm="0">
                                          <p:val>
                                            <p:fltVal val="0"/>
                                          </p:val>
                                        </p:tav>
                                        <p:tav tm="100000">
                                          <p:val>
                                            <p:strVal val="#ppt_w"/>
                                          </p:val>
                                        </p:tav>
                                      </p:tavLst>
                                    </p:anim>
                                    <p:anim calcmode="lin" valueType="num">
                                      <p:cBhvr>
                                        <p:cTn id="92" dur="500" fill="hold"/>
                                        <p:tgtEl>
                                          <p:spTgt spid="122">
                                            <p:txEl>
                                              <p:pRg st="0" end="0"/>
                                            </p:txEl>
                                          </p:spTgt>
                                        </p:tgtEl>
                                        <p:attrNameLst>
                                          <p:attrName>ppt_h</p:attrName>
                                        </p:attrNameLst>
                                      </p:cBhvr>
                                      <p:tavLst>
                                        <p:tav tm="0">
                                          <p:val>
                                            <p:fltVal val="0"/>
                                          </p:val>
                                        </p:tav>
                                        <p:tav tm="100000">
                                          <p:val>
                                            <p:strVal val="#ppt_h"/>
                                          </p:val>
                                        </p:tav>
                                      </p:tavLst>
                                    </p:anim>
                                    <p:animEffect transition="in" filter="fade">
                                      <p:cBhvr>
                                        <p:cTn id="93" dur="500"/>
                                        <p:tgtEl>
                                          <p:spTgt spid="122">
                                            <p:txEl>
                                              <p:pRg st="0" end="0"/>
                                            </p:txEl>
                                          </p:spTgt>
                                        </p:tgtEl>
                                      </p:cBhvr>
                                    </p:animEffect>
                                  </p:childTnLst>
                                </p:cTn>
                              </p:par>
                              <p:par>
                                <p:cTn id="94" presetID="23" presetClass="entr" presetSubtype="16" fill="hold" grpId="0" nodeType="withEffect">
                                  <p:stCondLst>
                                    <p:cond delay="200"/>
                                  </p:stCondLst>
                                  <p:childTnLst>
                                    <p:set>
                                      <p:cBhvr>
                                        <p:cTn id="95" dur="1" fill="hold">
                                          <p:stCondLst>
                                            <p:cond delay="0"/>
                                          </p:stCondLst>
                                        </p:cTn>
                                        <p:tgtEl>
                                          <p:spTgt spid="123">
                                            <p:txEl>
                                              <p:pRg st="0" end="0"/>
                                            </p:txEl>
                                          </p:spTgt>
                                        </p:tgtEl>
                                        <p:attrNameLst>
                                          <p:attrName>style.visibility</p:attrName>
                                        </p:attrNameLst>
                                      </p:cBhvr>
                                      <p:to>
                                        <p:strVal val="visible"/>
                                      </p:to>
                                    </p:set>
                                    <p:anim calcmode="lin" valueType="num">
                                      <p:cBhvr>
                                        <p:cTn id="96" dur="500" fill="hold"/>
                                        <p:tgtEl>
                                          <p:spTgt spid="123">
                                            <p:txEl>
                                              <p:pRg st="0" end="0"/>
                                            </p:txEl>
                                          </p:spTgt>
                                        </p:tgtEl>
                                        <p:attrNameLst>
                                          <p:attrName>ppt_w</p:attrName>
                                        </p:attrNameLst>
                                      </p:cBhvr>
                                      <p:tavLst>
                                        <p:tav tm="0">
                                          <p:val>
                                            <p:fltVal val="0"/>
                                          </p:val>
                                        </p:tav>
                                        <p:tav tm="100000">
                                          <p:val>
                                            <p:strVal val="#ppt_w"/>
                                          </p:val>
                                        </p:tav>
                                      </p:tavLst>
                                    </p:anim>
                                    <p:anim calcmode="lin" valueType="num">
                                      <p:cBhvr>
                                        <p:cTn id="97" dur="500" fill="hold"/>
                                        <p:tgtEl>
                                          <p:spTgt spid="123">
                                            <p:txEl>
                                              <p:pRg st="0" end="0"/>
                                            </p:txEl>
                                          </p:spTgt>
                                        </p:tgtEl>
                                        <p:attrNameLst>
                                          <p:attrName>ppt_h</p:attrName>
                                        </p:attrNameLst>
                                      </p:cBhvr>
                                      <p:tavLst>
                                        <p:tav tm="0">
                                          <p:val>
                                            <p:fltVal val="0"/>
                                          </p:val>
                                        </p:tav>
                                        <p:tav tm="100000">
                                          <p:val>
                                            <p:strVal val="#ppt_h"/>
                                          </p:val>
                                        </p:tav>
                                      </p:tavLst>
                                    </p:anim>
                                  </p:childTnLst>
                                </p:cTn>
                              </p:par>
                              <p:par>
                                <p:cTn id="98" presetID="53" presetClass="entr" presetSubtype="16" fill="hold" grpId="0" nodeType="withEffect">
                                  <p:stCondLst>
                                    <p:cond delay="200"/>
                                  </p:stCondLst>
                                  <p:childTnLst>
                                    <p:set>
                                      <p:cBhvr>
                                        <p:cTn id="99" dur="1" fill="hold">
                                          <p:stCondLst>
                                            <p:cond delay="0"/>
                                          </p:stCondLst>
                                        </p:cTn>
                                        <p:tgtEl>
                                          <p:spTgt spid="124"/>
                                        </p:tgtEl>
                                        <p:attrNameLst>
                                          <p:attrName>style.visibility</p:attrName>
                                        </p:attrNameLst>
                                      </p:cBhvr>
                                      <p:to>
                                        <p:strVal val="visible"/>
                                      </p:to>
                                    </p:set>
                                    <p:anim calcmode="lin" valueType="num">
                                      <p:cBhvr>
                                        <p:cTn id="100" dur="500" fill="hold"/>
                                        <p:tgtEl>
                                          <p:spTgt spid="124"/>
                                        </p:tgtEl>
                                        <p:attrNameLst>
                                          <p:attrName>ppt_w</p:attrName>
                                        </p:attrNameLst>
                                      </p:cBhvr>
                                      <p:tavLst>
                                        <p:tav tm="0">
                                          <p:val>
                                            <p:fltVal val="0"/>
                                          </p:val>
                                        </p:tav>
                                        <p:tav tm="100000">
                                          <p:val>
                                            <p:strVal val="#ppt_w"/>
                                          </p:val>
                                        </p:tav>
                                      </p:tavLst>
                                    </p:anim>
                                    <p:anim calcmode="lin" valueType="num">
                                      <p:cBhvr>
                                        <p:cTn id="101" dur="500" fill="hold"/>
                                        <p:tgtEl>
                                          <p:spTgt spid="124"/>
                                        </p:tgtEl>
                                        <p:attrNameLst>
                                          <p:attrName>ppt_h</p:attrName>
                                        </p:attrNameLst>
                                      </p:cBhvr>
                                      <p:tavLst>
                                        <p:tav tm="0">
                                          <p:val>
                                            <p:fltVal val="0"/>
                                          </p:val>
                                        </p:tav>
                                        <p:tav tm="100000">
                                          <p:val>
                                            <p:strVal val="#ppt_h"/>
                                          </p:val>
                                        </p:tav>
                                      </p:tavLst>
                                    </p:anim>
                                    <p:animEffect transition="in" filter="fade">
                                      <p:cBhvr>
                                        <p:cTn id="102" dur="500"/>
                                        <p:tgtEl>
                                          <p:spTgt spid="124"/>
                                        </p:tgtEl>
                                      </p:cBhvr>
                                    </p:animEffect>
                                  </p:childTnLst>
                                </p:cTn>
                              </p:par>
                              <p:par>
                                <p:cTn id="103" presetID="53" presetClass="entr" presetSubtype="16" fill="hold" grpId="0" nodeType="withEffect">
                                  <p:stCondLst>
                                    <p:cond delay="200"/>
                                  </p:stCondLst>
                                  <p:childTnLst>
                                    <p:set>
                                      <p:cBhvr>
                                        <p:cTn id="104" dur="1" fill="hold">
                                          <p:stCondLst>
                                            <p:cond delay="0"/>
                                          </p:stCondLst>
                                        </p:cTn>
                                        <p:tgtEl>
                                          <p:spTgt spid="125">
                                            <p:txEl>
                                              <p:pRg st="0" end="0"/>
                                            </p:txEl>
                                          </p:spTgt>
                                        </p:tgtEl>
                                        <p:attrNameLst>
                                          <p:attrName>style.visibility</p:attrName>
                                        </p:attrNameLst>
                                      </p:cBhvr>
                                      <p:to>
                                        <p:strVal val="visible"/>
                                      </p:to>
                                    </p:set>
                                    <p:anim calcmode="lin" valueType="num">
                                      <p:cBhvr>
                                        <p:cTn id="105" dur="500" fill="hold"/>
                                        <p:tgtEl>
                                          <p:spTgt spid="125">
                                            <p:txEl>
                                              <p:pRg st="0" end="0"/>
                                            </p:txEl>
                                          </p:spTgt>
                                        </p:tgtEl>
                                        <p:attrNameLst>
                                          <p:attrName>ppt_w</p:attrName>
                                        </p:attrNameLst>
                                      </p:cBhvr>
                                      <p:tavLst>
                                        <p:tav tm="0">
                                          <p:val>
                                            <p:fltVal val="0"/>
                                          </p:val>
                                        </p:tav>
                                        <p:tav tm="100000">
                                          <p:val>
                                            <p:strVal val="#ppt_w"/>
                                          </p:val>
                                        </p:tav>
                                      </p:tavLst>
                                    </p:anim>
                                    <p:anim calcmode="lin" valueType="num">
                                      <p:cBhvr>
                                        <p:cTn id="106" dur="500" fill="hold"/>
                                        <p:tgtEl>
                                          <p:spTgt spid="125">
                                            <p:txEl>
                                              <p:pRg st="0" end="0"/>
                                            </p:txEl>
                                          </p:spTgt>
                                        </p:tgtEl>
                                        <p:attrNameLst>
                                          <p:attrName>ppt_h</p:attrName>
                                        </p:attrNameLst>
                                      </p:cBhvr>
                                      <p:tavLst>
                                        <p:tav tm="0">
                                          <p:val>
                                            <p:fltVal val="0"/>
                                          </p:val>
                                        </p:tav>
                                        <p:tav tm="100000">
                                          <p:val>
                                            <p:strVal val="#ppt_h"/>
                                          </p:val>
                                        </p:tav>
                                      </p:tavLst>
                                    </p:anim>
                                    <p:animEffect transition="in" filter="fade">
                                      <p:cBhvr>
                                        <p:cTn id="107" dur="500"/>
                                        <p:tgtEl>
                                          <p:spTgt spid="12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build="p">
        <p:tmplLst>
          <p:tmpl lvl="1">
            <p:tnLst>
              <p:par>
                <p:cTn presetID="53" presetClass="entr" presetSubtype="16" fill="hold" nodeType="withEffect">
                  <p:stCondLst>
                    <p:cond delay="200"/>
                  </p:stCondLst>
                  <p:childTnLst>
                    <p:set>
                      <p:cBhvr>
                        <p:cTn dur="1" fill="hold">
                          <p:stCondLst>
                            <p:cond delay="0"/>
                          </p:stCondLst>
                        </p:cTn>
                        <p:tgtEl>
                          <p:spTgt spid="110"/>
                        </p:tgtEl>
                        <p:attrNameLst>
                          <p:attrName>style.visibility</p:attrName>
                        </p:attrNameLst>
                      </p:cBhvr>
                      <p:to>
                        <p:strVal val="visible"/>
                      </p:to>
                    </p:set>
                    <p:anim calcmode="lin" valueType="num">
                      <p:cBhvr>
                        <p:cTn dur="500" fill="hold"/>
                        <p:tgtEl>
                          <p:spTgt spid="110"/>
                        </p:tgtEl>
                        <p:attrNameLst>
                          <p:attrName>ppt_w</p:attrName>
                        </p:attrNameLst>
                      </p:cBhvr>
                      <p:tavLst>
                        <p:tav tm="0">
                          <p:val>
                            <p:fltVal val="0"/>
                          </p:val>
                        </p:tav>
                        <p:tav tm="100000">
                          <p:val>
                            <p:strVal val="#ppt_w"/>
                          </p:val>
                        </p:tav>
                      </p:tavLst>
                    </p:anim>
                    <p:anim calcmode="lin" valueType="num">
                      <p:cBhvr>
                        <p:cTn dur="500" fill="hold"/>
                        <p:tgtEl>
                          <p:spTgt spid="110"/>
                        </p:tgtEl>
                        <p:attrNameLst>
                          <p:attrName>ppt_h</p:attrName>
                        </p:attrNameLst>
                      </p:cBhvr>
                      <p:tavLst>
                        <p:tav tm="0">
                          <p:val>
                            <p:fltVal val="0"/>
                          </p:val>
                        </p:tav>
                        <p:tav tm="100000">
                          <p:val>
                            <p:strVal val="#ppt_h"/>
                          </p:val>
                        </p:tav>
                      </p:tavLst>
                    </p:anim>
                    <p:animEffect transition="in" filter="fade">
                      <p:cBhvr>
                        <p:cTn dur="500"/>
                        <p:tgtEl>
                          <p:spTgt spid="110"/>
                        </p:tgtEl>
                      </p:cBhvr>
                    </p:animEffect>
                  </p:childTnLst>
                </p:cTn>
              </p:par>
            </p:tnLst>
          </p:tmpl>
        </p:tmplLst>
      </p:bldP>
      <p:bldP spid="111" grpId="0" build="p">
        <p:tmplLst>
          <p:tmpl lvl="1">
            <p:tnLst>
              <p:par>
                <p:cTn presetID="23" presetClass="entr" presetSubtype="16" fill="hold" nodeType="withEffect">
                  <p:stCondLst>
                    <p:cond delay="200"/>
                  </p:stCondLst>
                  <p:childTnLst>
                    <p:set>
                      <p:cBhvr>
                        <p:cTn dur="1" fill="hold">
                          <p:stCondLst>
                            <p:cond delay="0"/>
                          </p:stCondLst>
                        </p:cTn>
                        <p:tgtEl>
                          <p:spTgt spid="111"/>
                        </p:tgtEl>
                        <p:attrNameLst>
                          <p:attrName>style.visibility</p:attrName>
                        </p:attrNameLst>
                      </p:cBhvr>
                      <p:to>
                        <p:strVal val="visible"/>
                      </p:to>
                    </p:set>
                    <p:anim calcmode="lin" valueType="num">
                      <p:cBhvr>
                        <p:cTn dur="500" fill="hold"/>
                        <p:tgtEl>
                          <p:spTgt spid="111"/>
                        </p:tgtEl>
                        <p:attrNameLst>
                          <p:attrName>ppt_w</p:attrName>
                        </p:attrNameLst>
                      </p:cBhvr>
                      <p:tavLst>
                        <p:tav tm="0">
                          <p:val>
                            <p:fltVal val="0"/>
                          </p:val>
                        </p:tav>
                        <p:tav tm="100000">
                          <p:val>
                            <p:strVal val="#ppt_w"/>
                          </p:val>
                        </p:tav>
                      </p:tavLst>
                    </p:anim>
                    <p:anim calcmode="lin" valueType="num">
                      <p:cBhvr>
                        <p:cTn dur="500" fill="hold"/>
                        <p:tgtEl>
                          <p:spTgt spid="111"/>
                        </p:tgtEl>
                        <p:attrNameLst>
                          <p:attrName>ppt_h</p:attrName>
                        </p:attrNameLst>
                      </p:cBhvr>
                      <p:tavLst>
                        <p:tav tm="0">
                          <p:val>
                            <p:fltVal val="0"/>
                          </p:val>
                        </p:tav>
                        <p:tav tm="100000">
                          <p:val>
                            <p:strVal val="#ppt_h"/>
                          </p:val>
                        </p:tav>
                      </p:tavLst>
                    </p:anim>
                  </p:childTnLst>
                </p:cTn>
              </p:par>
            </p:tnLst>
          </p:tmpl>
        </p:tmplLst>
      </p:bldP>
      <p:bldP spid="112" grpId="0" animBg="1"/>
      <p:bldP spid="113" grpId="0" build="p">
        <p:tmplLst>
          <p:tmpl lvl="1">
            <p:tnLst>
              <p:par>
                <p:cTn presetID="53" presetClass="entr" presetSubtype="16" fill="hold" nodeType="withEffect">
                  <p:stCondLst>
                    <p:cond delay="200"/>
                  </p:stCondLst>
                  <p:childTnLst>
                    <p:set>
                      <p:cBhvr>
                        <p:cTn dur="1" fill="hold">
                          <p:stCondLst>
                            <p:cond delay="0"/>
                          </p:stCondLst>
                        </p:cTn>
                        <p:tgtEl>
                          <p:spTgt spid="113"/>
                        </p:tgtEl>
                        <p:attrNameLst>
                          <p:attrName>style.visibility</p:attrName>
                        </p:attrNameLst>
                      </p:cBhvr>
                      <p:to>
                        <p:strVal val="visible"/>
                      </p:to>
                    </p:set>
                    <p:anim calcmode="lin" valueType="num">
                      <p:cBhvr>
                        <p:cTn dur="500" fill="hold"/>
                        <p:tgtEl>
                          <p:spTgt spid="113"/>
                        </p:tgtEl>
                        <p:attrNameLst>
                          <p:attrName>ppt_w</p:attrName>
                        </p:attrNameLst>
                      </p:cBhvr>
                      <p:tavLst>
                        <p:tav tm="0">
                          <p:val>
                            <p:fltVal val="0"/>
                          </p:val>
                        </p:tav>
                        <p:tav tm="100000">
                          <p:val>
                            <p:strVal val="#ppt_w"/>
                          </p:val>
                        </p:tav>
                      </p:tavLst>
                    </p:anim>
                    <p:anim calcmode="lin" valueType="num">
                      <p:cBhvr>
                        <p:cTn dur="500" fill="hold"/>
                        <p:tgtEl>
                          <p:spTgt spid="113"/>
                        </p:tgtEl>
                        <p:attrNameLst>
                          <p:attrName>ppt_h</p:attrName>
                        </p:attrNameLst>
                      </p:cBhvr>
                      <p:tavLst>
                        <p:tav tm="0">
                          <p:val>
                            <p:fltVal val="0"/>
                          </p:val>
                        </p:tav>
                        <p:tav tm="100000">
                          <p:val>
                            <p:strVal val="#ppt_h"/>
                          </p:val>
                        </p:tav>
                      </p:tavLst>
                    </p:anim>
                    <p:animEffect transition="in" filter="fade">
                      <p:cBhvr>
                        <p:cTn dur="500"/>
                        <p:tgtEl>
                          <p:spTgt spid="113"/>
                        </p:tgtEl>
                      </p:cBhvr>
                    </p:animEffect>
                  </p:childTnLst>
                </p:cTn>
              </p:par>
            </p:tnLst>
          </p:tmpl>
        </p:tmplLst>
      </p:bldP>
      <p:bldP spid="114" grpId="0" build="p">
        <p:tmplLst>
          <p:tmpl lvl="1">
            <p:tnLst>
              <p:par>
                <p:cTn presetID="53" presetClass="entr" presetSubtype="16" fill="hold" nodeType="withEffect">
                  <p:stCondLst>
                    <p:cond delay="200"/>
                  </p:stCondLst>
                  <p:childTnLst>
                    <p:set>
                      <p:cBhvr>
                        <p:cTn dur="1" fill="hold">
                          <p:stCondLst>
                            <p:cond delay="0"/>
                          </p:stCondLst>
                        </p:cTn>
                        <p:tgtEl>
                          <p:spTgt spid="114"/>
                        </p:tgtEl>
                        <p:attrNameLst>
                          <p:attrName>style.visibility</p:attrName>
                        </p:attrNameLst>
                      </p:cBhvr>
                      <p:to>
                        <p:strVal val="visible"/>
                      </p:to>
                    </p:set>
                    <p:anim calcmode="lin" valueType="num">
                      <p:cBhvr>
                        <p:cTn dur="500" fill="hold"/>
                        <p:tgtEl>
                          <p:spTgt spid="114"/>
                        </p:tgtEl>
                        <p:attrNameLst>
                          <p:attrName>ppt_w</p:attrName>
                        </p:attrNameLst>
                      </p:cBhvr>
                      <p:tavLst>
                        <p:tav tm="0">
                          <p:val>
                            <p:fltVal val="0"/>
                          </p:val>
                        </p:tav>
                        <p:tav tm="100000">
                          <p:val>
                            <p:strVal val="#ppt_w"/>
                          </p:val>
                        </p:tav>
                      </p:tavLst>
                    </p:anim>
                    <p:anim calcmode="lin" valueType="num">
                      <p:cBhvr>
                        <p:cTn dur="500" fill="hold"/>
                        <p:tgtEl>
                          <p:spTgt spid="114"/>
                        </p:tgtEl>
                        <p:attrNameLst>
                          <p:attrName>ppt_h</p:attrName>
                        </p:attrNameLst>
                      </p:cBhvr>
                      <p:tavLst>
                        <p:tav tm="0">
                          <p:val>
                            <p:fltVal val="0"/>
                          </p:val>
                        </p:tav>
                        <p:tav tm="100000">
                          <p:val>
                            <p:strVal val="#ppt_h"/>
                          </p:val>
                        </p:tav>
                      </p:tavLst>
                    </p:anim>
                    <p:animEffect transition="in" filter="fade">
                      <p:cBhvr>
                        <p:cTn dur="500"/>
                        <p:tgtEl>
                          <p:spTgt spid="114"/>
                        </p:tgtEl>
                      </p:cBhvr>
                    </p:animEffect>
                  </p:childTnLst>
                </p:cTn>
              </p:par>
            </p:tnLst>
          </p:tmpl>
        </p:tmplLst>
      </p:bldP>
      <p:bldP spid="115" grpId="0" build="p">
        <p:tmplLst>
          <p:tmpl lvl="1">
            <p:tnLst>
              <p:par>
                <p:cTn presetID="23" presetClass="entr" presetSubtype="16" fill="hold" nodeType="withEffect">
                  <p:stCondLst>
                    <p:cond delay="200"/>
                  </p:stCondLst>
                  <p:childTnLst>
                    <p:set>
                      <p:cBhvr>
                        <p:cTn dur="1" fill="hold">
                          <p:stCondLst>
                            <p:cond delay="0"/>
                          </p:stCondLst>
                        </p:cTn>
                        <p:tgtEl>
                          <p:spTgt spid="115"/>
                        </p:tgtEl>
                        <p:attrNameLst>
                          <p:attrName>style.visibility</p:attrName>
                        </p:attrNameLst>
                      </p:cBhvr>
                      <p:to>
                        <p:strVal val="visible"/>
                      </p:to>
                    </p:set>
                    <p:anim calcmode="lin" valueType="num">
                      <p:cBhvr>
                        <p:cTn dur="500" fill="hold"/>
                        <p:tgtEl>
                          <p:spTgt spid="115"/>
                        </p:tgtEl>
                        <p:attrNameLst>
                          <p:attrName>ppt_w</p:attrName>
                        </p:attrNameLst>
                      </p:cBhvr>
                      <p:tavLst>
                        <p:tav tm="0">
                          <p:val>
                            <p:fltVal val="0"/>
                          </p:val>
                        </p:tav>
                        <p:tav tm="100000">
                          <p:val>
                            <p:strVal val="#ppt_w"/>
                          </p:val>
                        </p:tav>
                      </p:tavLst>
                    </p:anim>
                    <p:anim calcmode="lin" valueType="num">
                      <p:cBhvr>
                        <p:cTn dur="500" fill="hold"/>
                        <p:tgtEl>
                          <p:spTgt spid="115"/>
                        </p:tgtEl>
                        <p:attrNameLst>
                          <p:attrName>ppt_h</p:attrName>
                        </p:attrNameLst>
                      </p:cBhvr>
                      <p:tavLst>
                        <p:tav tm="0">
                          <p:val>
                            <p:fltVal val="0"/>
                          </p:val>
                        </p:tav>
                        <p:tav tm="100000">
                          <p:val>
                            <p:strVal val="#ppt_h"/>
                          </p:val>
                        </p:tav>
                      </p:tavLst>
                    </p:anim>
                  </p:childTnLst>
                </p:cTn>
              </p:par>
            </p:tnLst>
          </p:tmpl>
        </p:tmplLst>
      </p:bldP>
      <p:bldP spid="116" grpId="0" animBg="1"/>
      <p:bldP spid="117" grpId="0" build="p">
        <p:tmplLst>
          <p:tmpl lvl="1">
            <p:tnLst>
              <p:par>
                <p:cTn presetID="53" presetClass="entr" presetSubtype="16" fill="hold" nodeType="withEffect">
                  <p:stCondLst>
                    <p:cond delay="200"/>
                  </p:stCondLst>
                  <p:childTnLst>
                    <p:set>
                      <p:cBhvr>
                        <p:cTn dur="1" fill="hold">
                          <p:stCondLst>
                            <p:cond delay="0"/>
                          </p:stCondLst>
                        </p:cTn>
                        <p:tgtEl>
                          <p:spTgt spid="117"/>
                        </p:tgtEl>
                        <p:attrNameLst>
                          <p:attrName>style.visibility</p:attrName>
                        </p:attrNameLst>
                      </p:cBhvr>
                      <p:to>
                        <p:strVal val="visible"/>
                      </p:to>
                    </p:set>
                    <p:anim calcmode="lin" valueType="num">
                      <p:cBhvr>
                        <p:cTn dur="500" fill="hold"/>
                        <p:tgtEl>
                          <p:spTgt spid="117"/>
                        </p:tgtEl>
                        <p:attrNameLst>
                          <p:attrName>ppt_w</p:attrName>
                        </p:attrNameLst>
                      </p:cBhvr>
                      <p:tavLst>
                        <p:tav tm="0">
                          <p:val>
                            <p:fltVal val="0"/>
                          </p:val>
                        </p:tav>
                        <p:tav tm="100000">
                          <p:val>
                            <p:strVal val="#ppt_w"/>
                          </p:val>
                        </p:tav>
                      </p:tavLst>
                    </p:anim>
                    <p:anim calcmode="lin" valueType="num">
                      <p:cBhvr>
                        <p:cTn dur="500" fill="hold"/>
                        <p:tgtEl>
                          <p:spTgt spid="117"/>
                        </p:tgtEl>
                        <p:attrNameLst>
                          <p:attrName>ppt_h</p:attrName>
                        </p:attrNameLst>
                      </p:cBhvr>
                      <p:tavLst>
                        <p:tav tm="0">
                          <p:val>
                            <p:fltVal val="0"/>
                          </p:val>
                        </p:tav>
                        <p:tav tm="100000">
                          <p:val>
                            <p:strVal val="#ppt_h"/>
                          </p:val>
                        </p:tav>
                      </p:tavLst>
                    </p:anim>
                    <p:animEffect transition="in" filter="fade">
                      <p:cBhvr>
                        <p:cTn dur="500"/>
                        <p:tgtEl>
                          <p:spTgt spid="117"/>
                        </p:tgtEl>
                      </p:cBhvr>
                    </p:animEffect>
                  </p:childTnLst>
                </p:cTn>
              </p:par>
            </p:tnLst>
          </p:tmpl>
        </p:tmplLst>
      </p:bldP>
      <p:bldP spid="118" grpId="0" build="p">
        <p:tmplLst>
          <p:tmpl lvl="1">
            <p:tnLst>
              <p:par>
                <p:cTn presetID="53" presetClass="entr" presetSubtype="16" fill="hold" nodeType="withEffect">
                  <p:stCondLst>
                    <p:cond delay="200"/>
                  </p:stCondLst>
                  <p:childTnLst>
                    <p:set>
                      <p:cBhvr>
                        <p:cTn dur="1" fill="hold">
                          <p:stCondLst>
                            <p:cond delay="0"/>
                          </p:stCondLst>
                        </p:cTn>
                        <p:tgtEl>
                          <p:spTgt spid="118"/>
                        </p:tgtEl>
                        <p:attrNameLst>
                          <p:attrName>style.visibility</p:attrName>
                        </p:attrNameLst>
                      </p:cBhvr>
                      <p:to>
                        <p:strVal val="visible"/>
                      </p:to>
                    </p:set>
                    <p:anim calcmode="lin" valueType="num">
                      <p:cBhvr>
                        <p:cTn dur="500" fill="hold"/>
                        <p:tgtEl>
                          <p:spTgt spid="118"/>
                        </p:tgtEl>
                        <p:attrNameLst>
                          <p:attrName>ppt_w</p:attrName>
                        </p:attrNameLst>
                      </p:cBhvr>
                      <p:tavLst>
                        <p:tav tm="0">
                          <p:val>
                            <p:fltVal val="0"/>
                          </p:val>
                        </p:tav>
                        <p:tav tm="100000">
                          <p:val>
                            <p:strVal val="#ppt_w"/>
                          </p:val>
                        </p:tav>
                      </p:tavLst>
                    </p:anim>
                    <p:anim calcmode="lin" valueType="num">
                      <p:cBhvr>
                        <p:cTn dur="500" fill="hold"/>
                        <p:tgtEl>
                          <p:spTgt spid="118"/>
                        </p:tgtEl>
                        <p:attrNameLst>
                          <p:attrName>ppt_h</p:attrName>
                        </p:attrNameLst>
                      </p:cBhvr>
                      <p:tavLst>
                        <p:tav tm="0">
                          <p:val>
                            <p:fltVal val="0"/>
                          </p:val>
                        </p:tav>
                        <p:tav tm="100000">
                          <p:val>
                            <p:strVal val="#ppt_h"/>
                          </p:val>
                        </p:tav>
                      </p:tavLst>
                    </p:anim>
                    <p:animEffect transition="in" filter="fade">
                      <p:cBhvr>
                        <p:cTn dur="500"/>
                        <p:tgtEl>
                          <p:spTgt spid="118"/>
                        </p:tgtEl>
                      </p:cBhvr>
                    </p:animEffect>
                  </p:childTnLst>
                </p:cTn>
              </p:par>
            </p:tnLst>
          </p:tmpl>
        </p:tmplLst>
      </p:bldP>
      <p:bldP spid="119" grpId="0" build="p">
        <p:tmplLst>
          <p:tmpl lvl="1">
            <p:tnLst>
              <p:par>
                <p:cTn presetID="23" presetClass="entr" presetSubtype="16" fill="hold" nodeType="withEffect">
                  <p:stCondLst>
                    <p:cond delay="200"/>
                  </p:stCondLst>
                  <p:childTnLst>
                    <p:set>
                      <p:cBhvr>
                        <p:cTn dur="1" fill="hold">
                          <p:stCondLst>
                            <p:cond delay="0"/>
                          </p:stCondLst>
                        </p:cTn>
                        <p:tgtEl>
                          <p:spTgt spid="119"/>
                        </p:tgtEl>
                        <p:attrNameLst>
                          <p:attrName>style.visibility</p:attrName>
                        </p:attrNameLst>
                      </p:cBhvr>
                      <p:to>
                        <p:strVal val="visible"/>
                      </p:to>
                    </p:set>
                    <p:anim calcmode="lin" valueType="num">
                      <p:cBhvr>
                        <p:cTn dur="500" fill="hold"/>
                        <p:tgtEl>
                          <p:spTgt spid="119"/>
                        </p:tgtEl>
                        <p:attrNameLst>
                          <p:attrName>ppt_w</p:attrName>
                        </p:attrNameLst>
                      </p:cBhvr>
                      <p:tavLst>
                        <p:tav tm="0">
                          <p:val>
                            <p:fltVal val="0"/>
                          </p:val>
                        </p:tav>
                        <p:tav tm="100000">
                          <p:val>
                            <p:strVal val="#ppt_w"/>
                          </p:val>
                        </p:tav>
                      </p:tavLst>
                    </p:anim>
                    <p:anim calcmode="lin" valueType="num">
                      <p:cBhvr>
                        <p:cTn dur="500" fill="hold"/>
                        <p:tgtEl>
                          <p:spTgt spid="119"/>
                        </p:tgtEl>
                        <p:attrNameLst>
                          <p:attrName>ppt_h</p:attrName>
                        </p:attrNameLst>
                      </p:cBhvr>
                      <p:tavLst>
                        <p:tav tm="0">
                          <p:val>
                            <p:fltVal val="0"/>
                          </p:val>
                        </p:tav>
                        <p:tav tm="100000">
                          <p:val>
                            <p:strVal val="#ppt_h"/>
                          </p:val>
                        </p:tav>
                      </p:tavLst>
                    </p:anim>
                  </p:childTnLst>
                </p:cTn>
              </p:par>
            </p:tnLst>
          </p:tmpl>
        </p:tmplLst>
      </p:bldP>
      <p:bldP spid="120" grpId="0" animBg="1"/>
      <p:bldP spid="121" grpId="0" build="p" animBg="1">
        <p:tmplLst>
          <p:tmpl lvl="1">
            <p:tnLst>
              <p:par>
                <p:cTn presetID="53" presetClass="entr" presetSubtype="16" fill="hold" nodeType="withEffect">
                  <p:stCondLst>
                    <p:cond delay="200"/>
                  </p:stCondLst>
                  <p:childTnLst>
                    <p:set>
                      <p:cBhvr>
                        <p:cTn dur="1" fill="hold">
                          <p:stCondLst>
                            <p:cond delay="0"/>
                          </p:stCondLst>
                        </p:cTn>
                        <p:tgtEl>
                          <p:spTgt spid="121"/>
                        </p:tgtEl>
                        <p:attrNameLst>
                          <p:attrName>style.visibility</p:attrName>
                        </p:attrNameLst>
                      </p:cBhvr>
                      <p:to>
                        <p:strVal val="visible"/>
                      </p:to>
                    </p:set>
                    <p:anim calcmode="lin" valueType="num">
                      <p:cBhvr>
                        <p:cTn dur="500" fill="hold"/>
                        <p:tgtEl>
                          <p:spTgt spid="121"/>
                        </p:tgtEl>
                        <p:attrNameLst>
                          <p:attrName>ppt_w</p:attrName>
                        </p:attrNameLst>
                      </p:cBhvr>
                      <p:tavLst>
                        <p:tav tm="0">
                          <p:val>
                            <p:fltVal val="0"/>
                          </p:val>
                        </p:tav>
                        <p:tav tm="100000">
                          <p:val>
                            <p:strVal val="#ppt_w"/>
                          </p:val>
                        </p:tav>
                      </p:tavLst>
                    </p:anim>
                    <p:anim calcmode="lin" valueType="num">
                      <p:cBhvr>
                        <p:cTn dur="500" fill="hold"/>
                        <p:tgtEl>
                          <p:spTgt spid="121"/>
                        </p:tgtEl>
                        <p:attrNameLst>
                          <p:attrName>ppt_h</p:attrName>
                        </p:attrNameLst>
                      </p:cBhvr>
                      <p:tavLst>
                        <p:tav tm="0">
                          <p:val>
                            <p:fltVal val="0"/>
                          </p:val>
                        </p:tav>
                        <p:tav tm="100000">
                          <p:val>
                            <p:strVal val="#ppt_h"/>
                          </p:val>
                        </p:tav>
                      </p:tavLst>
                    </p:anim>
                    <p:animEffect transition="in" filter="fade">
                      <p:cBhvr>
                        <p:cTn dur="500"/>
                        <p:tgtEl>
                          <p:spTgt spid="121"/>
                        </p:tgtEl>
                      </p:cBhvr>
                    </p:animEffect>
                  </p:childTnLst>
                </p:cTn>
              </p:par>
            </p:tnLst>
          </p:tmpl>
        </p:tmplLst>
      </p:bldP>
      <p:bldP spid="122" grpId="0" build="p">
        <p:tmplLst>
          <p:tmpl lvl="1">
            <p:tnLst>
              <p:par>
                <p:cTn presetID="53" presetClass="entr" presetSubtype="16" fill="hold" nodeType="withEffect">
                  <p:stCondLst>
                    <p:cond delay="200"/>
                  </p:stCondLst>
                  <p:childTnLst>
                    <p:set>
                      <p:cBhvr>
                        <p:cTn dur="1" fill="hold">
                          <p:stCondLst>
                            <p:cond delay="0"/>
                          </p:stCondLst>
                        </p:cTn>
                        <p:tgtEl>
                          <p:spTgt spid="122"/>
                        </p:tgtEl>
                        <p:attrNameLst>
                          <p:attrName>style.visibility</p:attrName>
                        </p:attrNameLst>
                      </p:cBhvr>
                      <p:to>
                        <p:strVal val="visible"/>
                      </p:to>
                    </p:set>
                    <p:anim calcmode="lin" valueType="num">
                      <p:cBhvr>
                        <p:cTn dur="500" fill="hold"/>
                        <p:tgtEl>
                          <p:spTgt spid="122"/>
                        </p:tgtEl>
                        <p:attrNameLst>
                          <p:attrName>ppt_w</p:attrName>
                        </p:attrNameLst>
                      </p:cBhvr>
                      <p:tavLst>
                        <p:tav tm="0">
                          <p:val>
                            <p:fltVal val="0"/>
                          </p:val>
                        </p:tav>
                        <p:tav tm="100000">
                          <p:val>
                            <p:strVal val="#ppt_w"/>
                          </p:val>
                        </p:tav>
                      </p:tavLst>
                    </p:anim>
                    <p:anim calcmode="lin" valueType="num">
                      <p:cBhvr>
                        <p:cTn dur="500" fill="hold"/>
                        <p:tgtEl>
                          <p:spTgt spid="122"/>
                        </p:tgtEl>
                        <p:attrNameLst>
                          <p:attrName>ppt_h</p:attrName>
                        </p:attrNameLst>
                      </p:cBhvr>
                      <p:tavLst>
                        <p:tav tm="0">
                          <p:val>
                            <p:fltVal val="0"/>
                          </p:val>
                        </p:tav>
                        <p:tav tm="100000">
                          <p:val>
                            <p:strVal val="#ppt_h"/>
                          </p:val>
                        </p:tav>
                      </p:tavLst>
                    </p:anim>
                    <p:animEffect transition="in" filter="fade">
                      <p:cBhvr>
                        <p:cTn dur="500"/>
                        <p:tgtEl>
                          <p:spTgt spid="122"/>
                        </p:tgtEl>
                      </p:cBhvr>
                    </p:animEffect>
                  </p:childTnLst>
                </p:cTn>
              </p:par>
            </p:tnLst>
          </p:tmpl>
        </p:tmplLst>
      </p:bldP>
      <p:bldP spid="123" grpId="0" build="p">
        <p:tmplLst>
          <p:tmpl lvl="1">
            <p:tnLst>
              <p:par>
                <p:cTn presetID="23" presetClass="entr" presetSubtype="16" fill="hold" nodeType="withEffect">
                  <p:stCondLst>
                    <p:cond delay="200"/>
                  </p:stCondLst>
                  <p:childTnLst>
                    <p:set>
                      <p:cBhvr>
                        <p:cTn dur="1" fill="hold">
                          <p:stCondLst>
                            <p:cond delay="0"/>
                          </p:stCondLst>
                        </p:cTn>
                        <p:tgtEl>
                          <p:spTgt spid="123"/>
                        </p:tgtEl>
                        <p:attrNameLst>
                          <p:attrName>style.visibility</p:attrName>
                        </p:attrNameLst>
                      </p:cBhvr>
                      <p:to>
                        <p:strVal val="visible"/>
                      </p:to>
                    </p:set>
                    <p:anim calcmode="lin" valueType="num">
                      <p:cBhvr>
                        <p:cTn dur="500" fill="hold"/>
                        <p:tgtEl>
                          <p:spTgt spid="123"/>
                        </p:tgtEl>
                        <p:attrNameLst>
                          <p:attrName>ppt_w</p:attrName>
                        </p:attrNameLst>
                      </p:cBhvr>
                      <p:tavLst>
                        <p:tav tm="0">
                          <p:val>
                            <p:fltVal val="0"/>
                          </p:val>
                        </p:tav>
                        <p:tav tm="100000">
                          <p:val>
                            <p:strVal val="#ppt_w"/>
                          </p:val>
                        </p:tav>
                      </p:tavLst>
                    </p:anim>
                    <p:anim calcmode="lin" valueType="num">
                      <p:cBhvr>
                        <p:cTn dur="500" fill="hold"/>
                        <p:tgtEl>
                          <p:spTgt spid="123"/>
                        </p:tgtEl>
                        <p:attrNameLst>
                          <p:attrName>ppt_h</p:attrName>
                        </p:attrNameLst>
                      </p:cBhvr>
                      <p:tavLst>
                        <p:tav tm="0">
                          <p:val>
                            <p:fltVal val="0"/>
                          </p:val>
                        </p:tav>
                        <p:tav tm="100000">
                          <p:val>
                            <p:strVal val="#ppt_h"/>
                          </p:val>
                        </p:tav>
                      </p:tavLst>
                    </p:anim>
                  </p:childTnLst>
                </p:cTn>
              </p:par>
            </p:tnLst>
          </p:tmpl>
        </p:tmplLst>
      </p:bldP>
      <p:bldP spid="124" grpId="0" animBg="1"/>
      <p:bldP spid="125" grpId="0" build="p">
        <p:tmplLst>
          <p:tmpl lvl="1">
            <p:tnLst>
              <p:par>
                <p:cTn presetID="53" presetClass="entr" presetSubtype="16" fill="hold" nodeType="withEffect">
                  <p:stCondLst>
                    <p:cond delay="200"/>
                  </p:stCondLst>
                  <p:childTnLst>
                    <p:set>
                      <p:cBhvr>
                        <p:cTn dur="1" fill="hold">
                          <p:stCondLst>
                            <p:cond delay="0"/>
                          </p:stCondLst>
                        </p:cTn>
                        <p:tgtEl>
                          <p:spTgt spid="125"/>
                        </p:tgtEl>
                        <p:attrNameLst>
                          <p:attrName>style.visibility</p:attrName>
                        </p:attrNameLst>
                      </p:cBhvr>
                      <p:to>
                        <p:strVal val="visible"/>
                      </p:to>
                    </p:set>
                    <p:anim calcmode="lin" valueType="num">
                      <p:cBhvr>
                        <p:cTn dur="500" fill="hold"/>
                        <p:tgtEl>
                          <p:spTgt spid="125"/>
                        </p:tgtEl>
                        <p:attrNameLst>
                          <p:attrName>ppt_w</p:attrName>
                        </p:attrNameLst>
                      </p:cBhvr>
                      <p:tavLst>
                        <p:tav tm="0">
                          <p:val>
                            <p:fltVal val="0"/>
                          </p:val>
                        </p:tav>
                        <p:tav tm="100000">
                          <p:val>
                            <p:strVal val="#ppt_w"/>
                          </p:val>
                        </p:tav>
                      </p:tavLst>
                    </p:anim>
                    <p:anim calcmode="lin" valueType="num">
                      <p:cBhvr>
                        <p:cTn dur="500" fill="hold"/>
                        <p:tgtEl>
                          <p:spTgt spid="125"/>
                        </p:tgtEl>
                        <p:attrNameLst>
                          <p:attrName>ppt_h</p:attrName>
                        </p:attrNameLst>
                      </p:cBhvr>
                      <p:tavLst>
                        <p:tav tm="0">
                          <p:val>
                            <p:fltVal val="0"/>
                          </p:val>
                        </p:tav>
                        <p:tav tm="100000">
                          <p:val>
                            <p:strVal val="#ppt_h"/>
                          </p:val>
                        </p:tav>
                      </p:tavLst>
                    </p:anim>
                    <p:animEffect transition="in" filter="fade">
                      <p:cBhvr>
                        <p:cTn dur="500"/>
                        <p:tgtEl>
                          <p:spTgt spid="125"/>
                        </p:tgtEl>
                      </p:cBhvr>
                    </p:animEffect>
                  </p:childTnLst>
                </p:cTn>
              </p:par>
            </p:tnLst>
          </p:tmpl>
        </p:tmplLst>
      </p:bldP>
      <p:bldP spid="26" grpId="0" animBg="1"/>
      <p:bldP spid="2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Group 1"/>
          <p:cNvGrpSpPr/>
          <p:nvPr/>
        </p:nvGrpSpPr>
        <p:grpSpPr bwMode="auto">
          <a:xfrm>
            <a:off x="3408204" y="1604139"/>
            <a:ext cx="2164715" cy="2152864"/>
            <a:chOff x="0" y="0"/>
            <a:chExt cx="6753151" cy="6746917"/>
          </a:xfrm>
          <a:solidFill>
            <a:srgbClr val="0070C0"/>
          </a:solidFill>
        </p:grpSpPr>
        <p:sp>
          <p:nvSpPr>
            <p:cNvPr id="67" name="AutoShape 2"/>
            <p:cNvSpPr/>
            <p:nvPr/>
          </p:nvSpPr>
          <p:spPr bwMode="auto">
            <a:xfrm>
              <a:off x="0" y="0"/>
              <a:ext cx="6753151" cy="6746917"/>
            </a:xfrm>
            <a:custGeom>
              <a:avLst/>
              <a:gdLst>
                <a:gd name="T0" fmla="*/ 3376405 w 19777"/>
                <a:gd name="T1" fmla="*/ 3680572 h 19739"/>
                <a:gd name="T2" fmla="*/ 3376405 w 19777"/>
                <a:gd name="T3" fmla="*/ 3680572 h 19739"/>
                <a:gd name="T4" fmla="*/ 3376405 w 19777"/>
                <a:gd name="T5" fmla="*/ 3680572 h 19739"/>
                <a:gd name="T6" fmla="*/ 3376405 w 19777"/>
                <a:gd name="T7" fmla="*/ 3680572 h 1973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777" h="19739">
                  <a:moveTo>
                    <a:pt x="17933" y="-1"/>
                  </a:moveTo>
                  <a:lnTo>
                    <a:pt x="15856" y="2079"/>
                  </a:lnTo>
                  <a:cubicBezTo>
                    <a:pt x="11992" y="-899"/>
                    <a:pt x="6427" y="-621"/>
                    <a:pt x="2885" y="2921"/>
                  </a:cubicBezTo>
                  <a:cubicBezTo>
                    <a:pt x="-962" y="6768"/>
                    <a:pt x="-962" y="13006"/>
                    <a:pt x="2885" y="16853"/>
                  </a:cubicBezTo>
                  <a:cubicBezTo>
                    <a:pt x="6733" y="20700"/>
                    <a:pt x="12971" y="20701"/>
                    <a:pt x="16819" y="16853"/>
                  </a:cubicBezTo>
                  <a:cubicBezTo>
                    <a:pt x="20348" y="13324"/>
                    <a:pt x="20637" y="7786"/>
                    <a:pt x="17693" y="3924"/>
                  </a:cubicBezTo>
                  <a:lnTo>
                    <a:pt x="19777" y="1836"/>
                  </a:lnTo>
                  <a:lnTo>
                    <a:pt x="19694" y="76"/>
                  </a:lnTo>
                  <a:lnTo>
                    <a:pt x="17933" y="-1"/>
                  </a:ln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68" name="AutoShape 3"/>
            <p:cNvSpPr/>
            <p:nvPr/>
          </p:nvSpPr>
          <p:spPr bwMode="auto">
            <a:xfrm>
              <a:off x="246135" y="256563"/>
              <a:ext cx="6250479" cy="6251127"/>
            </a:xfrm>
            <a:custGeom>
              <a:avLst/>
              <a:gdLst>
                <a:gd name="T0" fmla="*/ 3125594 w 19679"/>
                <a:gd name="T1" fmla="*/ 3430938 h 19679"/>
                <a:gd name="T2" fmla="*/ 3125594 w 19679"/>
                <a:gd name="T3" fmla="*/ 3430938 h 19679"/>
                <a:gd name="T4" fmla="*/ 3125594 w 19679"/>
                <a:gd name="T5" fmla="*/ 3430938 h 19679"/>
                <a:gd name="T6" fmla="*/ 3125594 w 19679"/>
                <a:gd name="T7" fmla="*/ 3430938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69" name="Line 4"/>
            <p:cNvSpPr>
              <a:spLocks noChangeShapeType="1"/>
            </p:cNvSpPr>
            <p:nvPr/>
          </p:nvSpPr>
          <p:spPr bwMode="auto">
            <a:xfrm flipH="1">
              <a:off x="5525936" y="346707"/>
              <a:ext cx="870143" cy="870236"/>
            </a:xfrm>
            <a:prstGeom prst="line">
              <a:avLst/>
            </a:prstGeom>
            <a:grpFill/>
            <a:ln w="63500" cap="flat" cmpd="sng">
              <a:solidFill>
                <a:schemeClr val="bg1"/>
              </a:solidFill>
              <a:prstDash val="solid"/>
              <a:round/>
            </a:ln>
            <a:effectLst/>
          </p:spPr>
          <p:txBody>
            <a:bodyPr lIns="0" tIns="0" rIns="0" bIns="0" anchor="ctr"/>
            <a:lstStyle/>
            <a:p>
              <a:pPr defTabSz="146050"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70" name="Group 5"/>
          <p:cNvGrpSpPr/>
          <p:nvPr/>
        </p:nvGrpSpPr>
        <p:grpSpPr bwMode="auto">
          <a:xfrm>
            <a:off x="3574892" y="1774509"/>
            <a:ext cx="2438083" cy="1816548"/>
            <a:chOff x="-1" y="0"/>
            <a:chExt cx="7608239" cy="5691704"/>
          </a:xfrm>
          <a:solidFill>
            <a:srgbClr val="00AEEF"/>
          </a:solidFill>
        </p:grpSpPr>
        <p:sp>
          <p:nvSpPr>
            <p:cNvPr id="71" name="AutoShape 6"/>
            <p:cNvSpPr/>
            <p:nvPr/>
          </p:nvSpPr>
          <p:spPr bwMode="auto">
            <a:xfrm>
              <a:off x="-1" y="0"/>
              <a:ext cx="7608239" cy="5691704"/>
            </a:xfrm>
            <a:custGeom>
              <a:avLst/>
              <a:gdLst>
                <a:gd name="T0" fmla="*/ 3804119 w 20840"/>
                <a:gd name="T1" fmla="*/ 2845714 h 20595"/>
                <a:gd name="T2" fmla="*/ 3804119 w 20840"/>
                <a:gd name="T3" fmla="*/ 2845714 h 20595"/>
                <a:gd name="T4" fmla="*/ 3804119 w 20840"/>
                <a:gd name="T5" fmla="*/ 2845714 h 20595"/>
                <a:gd name="T6" fmla="*/ 3804119 w 20840"/>
                <a:gd name="T7" fmla="*/ 2845714 h 2059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840" h="20595">
                  <a:moveTo>
                    <a:pt x="7788" y="0"/>
                  </a:moveTo>
                  <a:cubicBezTo>
                    <a:pt x="5795" y="0"/>
                    <a:pt x="3802" y="1004"/>
                    <a:pt x="2281" y="3015"/>
                  </a:cubicBezTo>
                  <a:cubicBezTo>
                    <a:pt x="-760" y="7037"/>
                    <a:pt x="-760" y="13557"/>
                    <a:pt x="2281" y="17578"/>
                  </a:cubicBezTo>
                  <a:cubicBezTo>
                    <a:pt x="5322" y="21600"/>
                    <a:pt x="10254" y="21599"/>
                    <a:pt x="13295" y="17578"/>
                  </a:cubicBezTo>
                  <a:cubicBezTo>
                    <a:pt x="14526" y="15951"/>
                    <a:pt x="15257" y="13915"/>
                    <a:pt x="15492" y="11801"/>
                  </a:cubicBezTo>
                  <a:lnTo>
                    <a:pt x="19726" y="11801"/>
                  </a:lnTo>
                  <a:lnTo>
                    <a:pt x="20839" y="10192"/>
                  </a:lnTo>
                  <a:lnTo>
                    <a:pt x="19726" y="8584"/>
                  </a:lnTo>
                  <a:lnTo>
                    <a:pt x="15466" y="8584"/>
                  </a:lnTo>
                  <a:cubicBezTo>
                    <a:pt x="15207" y="6545"/>
                    <a:pt x="14485" y="4589"/>
                    <a:pt x="13295" y="3015"/>
                  </a:cubicBezTo>
                  <a:cubicBezTo>
                    <a:pt x="11774" y="1004"/>
                    <a:pt x="9781" y="0"/>
                    <a:pt x="7788" y="0"/>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72" name="AutoShape 7"/>
            <p:cNvSpPr/>
            <p:nvPr/>
          </p:nvSpPr>
          <p:spPr bwMode="auto">
            <a:xfrm>
              <a:off x="201128" y="221845"/>
              <a:ext cx="5260573" cy="5258415"/>
            </a:xfrm>
            <a:custGeom>
              <a:avLst/>
              <a:gdLst>
                <a:gd name="T0" fmla="*/ 2629091 w 19679"/>
                <a:gd name="T1" fmla="*/ 2885787 h 19679"/>
                <a:gd name="T2" fmla="*/ 2629091 w 19679"/>
                <a:gd name="T3" fmla="*/ 2885787 h 19679"/>
                <a:gd name="T4" fmla="*/ 2629091 w 19679"/>
                <a:gd name="T5" fmla="*/ 2885787 h 19679"/>
                <a:gd name="T6" fmla="*/ 2629091 w 19679"/>
                <a:gd name="T7" fmla="*/ 2885787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73" name="Line 8"/>
            <p:cNvSpPr>
              <a:spLocks noChangeShapeType="1"/>
            </p:cNvSpPr>
            <p:nvPr/>
          </p:nvSpPr>
          <p:spPr bwMode="auto">
            <a:xfrm flipH="1" flipV="1">
              <a:off x="5420088" y="2807722"/>
              <a:ext cx="1595164" cy="0"/>
            </a:xfrm>
            <a:prstGeom prst="line">
              <a:avLst/>
            </a:prstGeom>
            <a:grpFill/>
            <a:ln w="63500" cap="flat" cmpd="sng">
              <a:solidFill>
                <a:schemeClr val="bg1"/>
              </a:solidFill>
              <a:prstDash val="solid"/>
              <a:round/>
            </a:ln>
            <a:effectLst/>
          </p:spPr>
          <p:txBody>
            <a:bodyPr lIns="0" tIns="0" rIns="0" bIns="0" anchor="ctr"/>
            <a:lstStyle/>
            <a:p>
              <a:pPr defTabSz="146050"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74" name="Group 9"/>
          <p:cNvGrpSpPr/>
          <p:nvPr/>
        </p:nvGrpSpPr>
        <p:grpSpPr bwMode="auto">
          <a:xfrm>
            <a:off x="3721577" y="1921648"/>
            <a:ext cx="1848008" cy="1916115"/>
            <a:chOff x="0" y="0"/>
            <a:chExt cx="5763342" cy="6005116"/>
          </a:xfrm>
          <a:solidFill>
            <a:srgbClr val="0070C0"/>
          </a:solidFill>
        </p:grpSpPr>
        <p:sp>
          <p:nvSpPr>
            <p:cNvPr id="75" name="AutoShape 10"/>
            <p:cNvSpPr/>
            <p:nvPr/>
          </p:nvSpPr>
          <p:spPr bwMode="auto">
            <a:xfrm>
              <a:off x="0" y="0"/>
              <a:ext cx="5763342" cy="6005116"/>
            </a:xfrm>
            <a:custGeom>
              <a:avLst/>
              <a:gdLst>
                <a:gd name="T0" fmla="*/ 2881532 w 20761"/>
                <a:gd name="T1" fmla="*/ 3002558 h 21600"/>
                <a:gd name="T2" fmla="*/ 2881532 w 20761"/>
                <a:gd name="T3" fmla="*/ 3002558 h 21600"/>
                <a:gd name="T4" fmla="*/ 2881532 w 20761"/>
                <a:gd name="T5" fmla="*/ 3002558 h 21600"/>
                <a:gd name="T6" fmla="*/ 2881532 w 20761"/>
                <a:gd name="T7" fmla="*/ 3002558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761" h="21600">
                  <a:moveTo>
                    <a:pt x="8590" y="0"/>
                  </a:moveTo>
                  <a:cubicBezTo>
                    <a:pt x="6391" y="0"/>
                    <a:pt x="4192" y="837"/>
                    <a:pt x="2515" y="2513"/>
                  </a:cubicBezTo>
                  <a:cubicBezTo>
                    <a:pt x="-839" y="5866"/>
                    <a:pt x="-839" y="11302"/>
                    <a:pt x="2515" y="14655"/>
                  </a:cubicBezTo>
                  <a:cubicBezTo>
                    <a:pt x="5245" y="17383"/>
                    <a:pt x="9356" y="17890"/>
                    <a:pt x="12600" y="16178"/>
                  </a:cubicBezTo>
                  <a:lnTo>
                    <a:pt x="18602" y="21600"/>
                  </a:lnTo>
                  <a:lnTo>
                    <a:pt x="20761" y="21395"/>
                  </a:lnTo>
                  <a:lnTo>
                    <a:pt x="20750" y="19230"/>
                  </a:lnTo>
                  <a:lnTo>
                    <a:pt x="15123" y="14145"/>
                  </a:lnTo>
                  <a:cubicBezTo>
                    <a:pt x="18003" y="10772"/>
                    <a:pt x="17854" y="5703"/>
                    <a:pt x="14663" y="2513"/>
                  </a:cubicBezTo>
                  <a:cubicBezTo>
                    <a:pt x="12986" y="837"/>
                    <a:pt x="10788" y="0"/>
                    <a:pt x="8590" y="0"/>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76" name="AutoShape 11"/>
            <p:cNvSpPr/>
            <p:nvPr/>
          </p:nvSpPr>
          <p:spPr bwMode="auto">
            <a:xfrm>
              <a:off x="180213" y="225364"/>
              <a:ext cx="4384021" cy="4382487"/>
            </a:xfrm>
            <a:custGeom>
              <a:avLst/>
              <a:gdLst>
                <a:gd name="T0" fmla="*/ 2190911 w 19679"/>
                <a:gd name="T1" fmla="*/ 2405316 h 19679"/>
                <a:gd name="T2" fmla="*/ 2190911 w 19679"/>
                <a:gd name="T3" fmla="*/ 2405316 h 19679"/>
                <a:gd name="T4" fmla="*/ 2190911 w 19679"/>
                <a:gd name="T5" fmla="*/ 2405316 h 19679"/>
                <a:gd name="T6" fmla="*/ 2190911 w 19679"/>
                <a:gd name="T7" fmla="*/ 2405316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77" name="Line 12"/>
            <p:cNvSpPr>
              <a:spLocks noChangeShapeType="1"/>
            </p:cNvSpPr>
            <p:nvPr/>
          </p:nvSpPr>
          <p:spPr bwMode="auto">
            <a:xfrm flipH="1" flipV="1">
              <a:off x="3735949" y="4101646"/>
              <a:ext cx="1580327" cy="1407666"/>
            </a:xfrm>
            <a:prstGeom prst="line">
              <a:avLst/>
            </a:prstGeom>
            <a:grpFill/>
            <a:ln w="63500" cap="flat" cmpd="sng">
              <a:solidFill>
                <a:schemeClr val="bg1"/>
              </a:solidFill>
              <a:prstDash val="solid"/>
              <a:round/>
            </a:ln>
            <a:effectLst/>
          </p:spPr>
          <p:txBody>
            <a:bodyPr lIns="0" tIns="0" rIns="0" bIns="0" anchor="ctr"/>
            <a:lstStyle/>
            <a:p>
              <a:pPr defTabSz="146050"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78" name="Group 13"/>
          <p:cNvGrpSpPr/>
          <p:nvPr/>
        </p:nvGrpSpPr>
        <p:grpSpPr bwMode="auto">
          <a:xfrm>
            <a:off x="3418205" y="2067679"/>
            <a:ext cx="1719104" cy="1768977"/>
            <a:chOff x="0" y="0"/>
            <a:chExt cx="5362063" cy="5542360"/>
          </a:xfrm>
          <a:solidFill>
            <a:srgbClr val="00AEEF"/>
          </a:solidFill>
        </p:grpSpPr>
        <p:sp>
          <p:nvSpPr>
            <p:cNvPr id="79" name="AutoShape 14"/>
            <p:cNvSpPr/>
            <p:nvPr/>
          </p:nvSpPr>
          <p:spPr bwMode="auto">
            <a:xfrm>
              <a:off x="0" y="0"/>
              <a:ext cx="5362063" cy="5542360"/>
            </a:xfrm>
            <a:custGeom>
              <a:avLst/>
              <a:gdLst>
                <a:gd name="T0" fmla="*/ 2680903 w 20853"/>
                <a:gd name="T1" fmla="*/ 2771180 h 21600"/>
                <a:gd name="T2" fmla="*/ 2680903 w 20853"/>
                <a:gd name="T3" fmla="*/ 2771180 h 21600"/>
                <a:gd name="T4" fmla="*/ 2680903 w 20853"/>
                <a:gd name="T5" fmla="*/ 2771180 h 21600"/>
                <a:gd name="T6" fmla="*/ 2680903 w 20853"/>
                <a:gd name="T7" fmla="*/ 2771180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853" h="21600">
                  <a:moveTo>
                    <a:pt x="13197" y="0"/>
                  </a:moveTo>
                  <a:cubicBezTo>
                    <a:pt x="11238" y="0"/>
                    <a:pt x="9279" y="749"/>
                    <a:pt x="7784" y="2248"/>
                  </a:cubicBezTo>
                  <a:cubicBezTo>
                    <a:pt x="5095" y="4946"/>
                    <a:pt x="4835" y="9149"/>
                    <a:pt x="6985" y="12149"/>
                  </a:cubicBezTo>
                  <a:lnTo>
                    <a:pt x="0" y="19149"/>
                  </a:lnTo>
                  <a:lnTo>
                    <a:pt x="104" y="21493"/>
                  </a:lnTo>
                  <a:lnTo>
                    <a:pt x="2444" y="21600"/>
                  </a:lnTo>
                  <a:lnTo>
                    <a:pt x="9583" y="14446"/>
                  </a:lnTo>
                  <a:cubicBezTo>
                    <a:pt x="12480" y="16005"/>
                    <a:pt x="16165" y="15560"/>
                    <a:pt x="18610" y="13108"/>
                  </a:cubicBezTo>
                  <a:cubicBezTo>
                    <a:pt x="21599" y="10109"/>
                    <a:pt x="21599" y="5247"/>
                    <a:pt x="18610" y="2248"/>
                  </a:cubicBezTo>
                  <a:cubicBezTo>
                    <a:pt x="17115" y="749"/>
                    <a:pt x="15156" y="0"/>
                    <a:pt x="13197" y="0"/>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0" name="AutoShape 15"/>
            <p:cNvSpPr/>
            <p:nvPr/>
          </p:nvSpPr>
          <p:spPr bwMode="auto">
            <a:xfrm>
              <a:off x="1611739" y="194104"/>
              <a:ext cx="3535425" cy="3535465"/>
            </a:xfrm>
            <a:custGeom>
              <a:avLst/>
              <a:gdLst>
                <a:gd name="T0" fmla="*/ 1767947 w 19679"/>
                <a:gd name="T1" fmla="*/ 1940691 h 19679"/>
                <a:gd name="T2" fmla="*/ 1767947 w 19679"/>
                <a:gd name="T3" fmla="*/ 1940691 h 19679"/>
                <a:gd name="T4" fmla="*/ 1767947 w 19679"/>
                <a:gd name="T5" fmla="*/ 1940691 h 19679"/>
                <a:gd name="T6" fmla="*/ 1767947 w 19679"/>
                <a:gd name="T7" fmla="*/ 1940691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1" name="Line 16"/>
            <p:cNvSpPr>
              <a:spLocks noChangeShapeType="1"/>
            </p:cNvSpPr>
            <p:nvPr/>
          </p:nvSpPr>
          <p:spPr bwMode="auto">
            <a:xfrm flipV="1">
              <a:off x="370874" y="3272038"/>
              <a:ext cx="1906357" cy="1906378"/>
            </a:xfrm>
            <a:prstGeom prst="line">
              <a:avLst/>
            </a:prstGeom>
            <a:grpFill/>
            <a:ln w="63500" cap="flat" cmpd="sng">
              <a:solidFill>
                <a:schemeClr val="bg1"/>
              </a:solidFill>
              <a:prstDash val="solid"/>
              <a:round/>
            </a:ln>
            <a:effectLst/>
          </p:spPr>
          <p:txBody>
            <a:bodyPr lIns="0" tIns="0" rIns="0" bIns="0" anchor="ctr"/>
            <a:lstStyle/>
            <a:p>
              <a:pPr defTabSz="146050"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82" name="Group 17"/>
          <p:cNvGrpSpPr/>
          <p:nvPr/>
        </p:nvGrpSpPr>
        <p:grpSpPr bwMode="auto">
          <a:xfrm>
            <a:off x="2969260" y="2218137"/>
            <a:ext cx="2018030" cy="958058"/>
            <a:chOff x="0" y="-1"/>
            <a:chExt cx="6292395" cy="3002312"/>
          </a:xfrm>
          <a:solidFill>
            <a:srgbClr val="0070C0"/>
          </a:solidFill>
        </p:grpSpPr>
        <p:sp>
          <p:nvSpPr>
            <p:cNvPr id="83" name="AutoShape 18"/>
            <p:cNvSpPr/>
            <p:nvPr/>
          </p:nvSpPr>
          <p:spPr bwMode="auto">
            <a:xfrm>
              <a:off x="0" y="-1"/>
              <a:ext cx="6292395" cy="3002312"/>
            </a:xfrm>
            <a:custGeom>
              <a:avLst/>
              <a:gdLst>
                <a:gd name="T0" fmla="*/ 3146048 w 21109"/>
                <a:gd name="T1" fmla="*/ 1501083 h 20595"/>
                <a:gd name="T2" fmla="*/ 3146048 w 21109"/>
                <a:gd name="T3" fmla="*/ 1501083 h 20595"/>
                <a:gd name="T4" fmla="*/ 3146048 w 21109"/>
                <a:gd name="T5" fmla="*/ 1501083 h 20595"/>
                <a:gd name="T6" fmla="*/ 3146048 w 21109"/>
                <a:gd name="T7" fmla="*/ 1501083 h 2059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109" h="20595">
                  <a:moveTo>
                    <a:pt x="16077" y="0"/>
                  </a:moveTo>
                  <a:cubicBezTo>
                    <a:pt x="14790" y="0"/>
                    <a:pt x="13502" y="1005"/>
                    <a:pt x="12520" y="3016"/>
                  </a:cubicBezTo>
                  <a:cubicBezTo>
                    <a:pt x="11895" y="4295"/>
                    <a:pt x="11470" y="5826"/>
                    <a:pt x="11243" y="7451"/>
                  </a:cubicBezTo>
                  <a:lnTo>
                    <a:pt x="1363" y="7451"/>
                  </a:lnTo>
                  <a:lnTo>
                    <a:pt x="0" y="10500"/>
                  </a:lnTo>
                  <a:lnTo>
                    <a:pt x="1363" y="13549"/>
                  </a:lnTo>
                  <a:lnTo>
                    <a:pt x="11308" y="13549"/>
                  </a:lnTo>
                  <a:cubicBezTo>
                    <a:pt x="11547" y="15021"/>
                    <a:pt x="11947" y="16407"/>
                    <a:pt x="12520" y="17578"/>
                  </a:cubicBezTo>
                  <a:cubicBezTo>
                    <a:pt x="14485" y="21599"/>
                    <a:pt x="17670" y="21599"/>
                    <a:pt x="19635" y="17578"/>
                  </a:cubicBezTo>
                  <a:cubicBezTo>
                    <a:pt x="21599" y="13557"/>
                    <a:pt x="21600" y="7037"/>
                    <a:pt x="19635" y="3016"/>
                  </a:cubicBezTo>
                  <a:cubicBezTo>
                    <a:pt x="18652" y="1005"/>
                    <a:pt x="17365" y="0"/>
                    <a:pt x="16077" y="0"/>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4" name="AutoShape 19"/>
            <p:cNvSpPr/>
            <p:nvPr/>
          </p:nvSpPr>
          <p:spPr bwMode="auto">
            <a:xfrm>
              <a:off x="3561995" y="263481"/>
              <a:ext cx="2480922" cy="2482281"/>
            </a:xfrm>
            <a:custGeom>
              <a:avLst/>
              <a:gdLst>
                <a:gd name="T0" fmla="*/ 1240478 w 19679"/>
                <a:gd name="T1" fmla="*/ 1361896 h 19679"/>
                <a:gd name="T2" fmla="*/ 1240478 w 19679"/>
                <a:gd name="T3" fmla="*/ 1361896 h 19679"/>
                <a:gd name="T4" fmla="*/ 1240478 w 19679"/>
                <a:gd name="T5" fmla="*/ 1361896 h 19679"/>
                <a:gd name="T6" fmla="*/ 1240478 w 19679"/>
                <a:gd name="T7" fmla="*/ 1361896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5" name="Line 20"/>
            <p:cNvSpPr>
              <a:spLocks noChangeShapeType="1"/>
            </p:cNvSpPr>
            <p:nvPr/>
          </p:nvSpPr>
          <p:spPr bwMode="auto">
            <a:xfrm>
              <a:off x="540536" y="1521955"/>
              <a:ext cx="3132338" cy="0"/>
            </a:xfrm>
            <a:prstGeom prst="line">
              <a:avLst/>
            </a:prstGeom>
            <a:grpFill/>
            <a:ln w="63500" cap="flat" cmpd="sng">
              <a:solidFill>
                <a:schemeClr val="bg1"/>
              </a:solidFill>
              <a:prstDash val="solid"/>
              <a:round/>
            </a:ln>
            <a:effectLst/>
          </p:spPr>
          <p:txBody>
            <a:bodyPr lIns="0" tIns="0" rIns="0" bIns="0" anchor="ctr"/>
            <a:lstStyle/>
            <a:p>
              <a:pPr defTabSz="146050"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86" name="Group 21"/>
          <p:cNvGrpSpPr/>
          <p:nvPr/>
        </p:nvGrpSpPr>
        <p:grpSpPr bwMode="auto">
          <a:xfrm>
            <a:off x="3418205" y="1601926"/>
            <a:ext cx="1421289" cy="1426024"/>
            <a:chOff x="0" y="0"/>
            <a:chExt cx="4433297" cy="4470884"/>
          </a:xfrm>
          <a:solidFill>
            <a:srgbClr val="00AEEF"/>
          </a:solidFill>
        </p:grpSpPr>
        <p:sp>
          <p:nvSpPr>
            <p:cNvPr id="87" name="AutoShape 22"/>
            <p:cNvSpPr/>
            <p:nvPr/>
          </p:nvSpPr>
          <p:spPr bwMode="auto">
            <a:xfrm>
              <a:off x="0" y="0"/>
              <a:ext cx="4433297" cy="4470884"/>
            </a:xfrm>
            <a:custGeom>
              <a:avLst/>
              <a:gdLst>
                <a:gd name="T0" fmla="*/ 2216544 w 21117"/>
                <a:gd name="T1" fmla="*/ 2235336 h 21121"/>
                <a:gd name="T2" fmla="*/ 2216544 w 21117"/>
                <a:gd name="T3" fmla="*/ 2235336 h 21121"/>
                <a:gd name="T4" fmla="*/ 2216544 w 21117"/>
                <a:gd name="T5" fmla="*/ 2235336 h 21121"/>
                <a:gd name="T6" fmla="*/ 2216544 w 21117"/>
                <a:gd name="T7" fmla="*/ 2235336 h 2112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117" h="21121">
                  <a:moveTo>
                    <a:pt x="2994" y="0"/>
                  </a:moveTo>
                  <a:lnTo>
                    <a:pt x="128" y="127"/>
                  </a:lnTo>
                  <a:lnTo>
                    <a:pt x="0" y="2969"/>
                  </a:lnTo>
                  <a:lnTo>
                    <a:pt x="11559" y="14434"/>
                  </a:lnTo>
                  <a:cubicBezTo>
                    <a:pt x="10874" y="16192"/>
                    <a:pt x="11241" y="18263"/>
                    <a:pt x="12671" y="19682"/>
                  </a:cubicBezTo>
                  <a:cubicBezTo>
                    <a:pt x="14603" y="21600"/>
                    <a:pt x="17735" y="21599"/>
                    <a:pt x="19667" y="19682"/>
                  </a:cubicBezTo>
                  <a:cubicBezTo>
                    <a:pt x="21600" y="17764"/>
                    <a:pt x="21599" y="14653"/>
                    <a:pt x="19667" y="12735"/>
                  </a:cubicBezTo>
                  <a:cubicBezTo>
                    <a:pt x="18305" y="11383"/>
                    <a:pt x="16347" y="10989"/>
                    <a:pt x="14633" y="11543"/>
                  </a:cubicBezTo>
                  <a:lnTo>
                    <a:pt x="2994" y="0"/>
                  </a:ln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20936" tIns="20936" rIns="20936" bIns="20936"/>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8" name="AutoShape 23"/>
            <p:cNvSpPr/>
            <p:nvPr/>
          </p:nvSpPr>
          <p:spPr bwMode="auto">
            <a:xfrm>
              <a:off x="2772976" y="2837224"/>
              <a:ext cx="1195847" cy="1196630"/>
            </a:xfrm>
            <a:custGeom>
              <a:avLst/>
              <a:gdLst>
                <a:gd name="T0" fmla="*/ 598377 w 19679"/>
                <a:gd name="T1" fmla="*/ 656981 h 19679"/>
                <a:gd name="T2" fmla="*/ 598377 w 19679"/>
                <a:gd name="T3" fmla="*/ 656981 h 19679"/>
                <a:gd name="T4" fmla="*/ 598377 w 19679"/>
                <a:gd name="T5" fmla="*/ 656981 h 19679"/>
                <a:gd name="T6" fmla="*/ 598377 w 19679"/>
                <a:gd name="T7" fmla="*/ 656981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Lst>
          </p:spPr>
          <p:txBody>
            <a:bodyPr lIns="0" tIns="0" rIns="0" bIns="0" anchor="ctr"/>
            <a:lstStyle/>
            <a:p>
              <a:pPr eaLnBrk="1" hangingPunct="1">
                <a:lnSpc>
                  <a:spcPct val="120000"/>
                </a:lnSpc>
                <a:defRPr/>
              </a:pPr>
              <a:endParaRPr lang="zh-CN" altLang="en-US" sz="1100" noProof="1">
                <a:latin typeface="Arial" panose="020B0604020202020204" pitchFamily="34" charset="0"/>
                <a:ea typeface="微软雅黑" panose="020B0503020204020204" pitchFamily="34" charset="-122"/>
                <a:sym typeface="Arial" panose="020B0604020202020204" pitchFamily="34" charset="0"/>
              </a:endParaRPr>
            </a:p>
          </p:txBody>
        </p:sp>
        <p:sp>
          <p:nvSpPr>
            <p:cNvPr id="89" name="Line 24"/>
            <p:cNvSpPr>
              <a:spLocks noChangeShapeType="1"/>
            </p:cNvSpPr>
            <p:nvPr/>
          </p:nvSpPr>
          <p:spPr bwMode="auto">
            <a:xfrm flipH="1" flipV="1">
              <a:off x="429811" y="447436"/>
              <a:ext cx="2963620" cy="2962090"/>
            </a:xfrm>
            <a:prstGeom prst="line">
              <a:avLst/>
            </a:prstGeom>
            <a:grpFill/>
            <a:ln w="63500" cap="flat" cmpd="sng">
              <a:solidFill>
                <a:schemeClr val="bg1"/>
              </a:solidFill>
              <a:prstDash val="solid"/>
              <a:round/>
            </a:ln>
            <a:effectLst/>
          </p:spPr>
          <p:txBody>
            <a:bodyPr lIns="0" tIns="0" rIns="0" bIns="0" anchor="ctr"/>
            <a:lstStyle/>
            <a:p>
              <a:pPr defTabSz="146050" eaLnBrk="1" hangingPunct="1">
                <a:defRPr/>
              </a:pPr>
              <a:endParaRPr lang="es-ES" sz="400" noProof="1">
                <a:solidFill>
                  <a:srgbClr val="000000"/>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90" name="AutoShape 29"/>
          <p:cNvSpPr/>
          <p:nvPr/>
        </p:nvSpPr>
        <p:spPr bwMode="auto">
          <a:xfrm>
            <a:off x="5916295" y="1781147"/>
            <a:ext cx="1354058" cy="30533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91" name="AutoShape 30"/>
          <p:cNvSpPr/>
          <p:nvPr/>
        </p:nvSpPr>
        <p:spPr bwMode="auto">
          <a:xfrm>
            <a:off x="5911850" y="1599713"/>
            <a:ext cx="832327" cy="16373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92" name="AutoShape 31"/>
          <p:cNvSpPr/>
          <p:nvPr/>
        </p:nvSpPr>
        <p:spPr bwMode="auto">
          <a:xfrm>
            <a:off x="5738495" y="1625159"/>
            <a:ext cx="137795" cy="1382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defTabSz="186690"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pitchFamily="2" charset="0"/>
              <a:sym typeface="Arial" panose="020B0604020202020204" pitchFamily="34" charset="0"/>
            </a:endParaRPr>
          </a:p>
        </p:txBody>
      </p:sp>
      <p:sp>
        <p:nvSpPr>
          <p:cNvPr id="93" name="AutoShape 32"/>
          <p:cNvSpPr/>
          <p:nvPr/>
        </p:nvSpPr>
        <p:spPr bwMode="auto">
          <a:xfrm>
            <a:off x="6261893" y="2761330"/>
            <a:ext cx="1354057" cy="30644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94" name="AutoShape 33"/>
          <p:cNvSpPr/>
          <p:nvPr/>
        </p:nvSpPr>
        <p:spPr bwMode="auto">
          <a:xfrm>
            <a:off x="6257449" y="2581004"/>
            <a:ext cx="832326" cy="16262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95" name="AutoShape 34"/>
          <p:cNvSpPr/>
          <p:nvPr/>
        </p:nvSpPr>
        <p:spPr bwMode="auto">
          <a:xfrm>
            <a:off x="6084094" y="2606448"/>
            <a:ext cx="137795" cy="137181"/>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defTabSz="186690"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pitchFamily="2" charset="0"/>
              <a:sym typeface="Arial" panose="020B0604020202020204" pitchFamily="34" charset="0"/>
            </a:endParaRPr>
          </a:p>
        </p:txBody>
      </p:sp>
      <p:sp>
        <p:nvSpPr>
          <p:cNvPr id="96" name="AutoShape 35"/>
          <p:cNvSpPr/>
          <p:nvPr/>
        </p:nvSpPr>
        <p:spPr bwMode="auto">
          <a:xfrm>
            <a:off x="5810726" y="3764747"/>
            <a:ext cx="1354057" cy="30533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97" name="AutoShape 36"/>
          <p:cNvSpPr/>
          <p:nvPr/>
        </p:nvSpPr>
        <p:spPr bwMode="auto">
          <a:xfrm>
            <a:off x="5805170" y="3584419"/>
            <a:ext cx="833438" cy="16262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98" name="AutoShape 37"/>
          <p:cNvSpPr/>
          <p:nvPr/>
        </p:nvSpPr>
        <p:spPr bwMode="auto">
          <a:xfrm>
            <a:off x="5631815" y="3609865"/>
            <a:ext cx="137795" cy="137181"/>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defTabSz="186690" eaLnBrk="1" hangingPunct="1">
              <a:lnSpc>
                <a:spcPct val="120000"/>
              </a:lnSpc>
              <a:defRPr/>
            </a:pPr>
            <a:endParaRPr lang="es-ES" sz="1300" noProof="1">
              <a:solidFill>
                <a:srgbClr val="F1F2F1"/>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pitchFamily="2" charset="0"/>
              <a:sym typeface="Arial" panose="020B0604020202020204" pitchFamily="34" charset="0"/>
            </a:endParaRPr>
          </a:p>
        </p:txBody>
      </p:sp>
      <p:sp>
        <p:nvSpPr>
          <p:cNvPr id="99" name="AutoShape 38"/>
          <p:cNvSpPr/>
          <p:nvPr/>
        </p:nvSpPr>
        <p:spPr bwMode="auto">
          <a:xfrm>
            <a:off x="1764334" y="3804574"/>
            <a:ext cx="1334943" cy="2655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00" name="AutoShape 39"/>
          <p:cNvSpPr/>
          <p:nvPr/>
        </p:nvSpPr>
        <p:spPr bwMode="auto">
          <a:xfrm>
            <a:off x="2233613" y="3623140"/>
            <a:ext cx="861219" cy="14160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01" name="AutoShape 40"/>
          <p:cNvSpPr/>
          <p:nvPr/>
        </p:nvSpPr>
        <p:spPr bwMode="auto">
          <a:xfrm>
            <a:off x="3153727" y="3648585"/>
            <a:ext cx="138907" cy="13828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defTabSz="186690"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pitchFamily="2" charset="0"/>
              <a:sym typeface="Arial" panose="020B0604020202020204" pitchFamily="34" charset="0"/>
            </a:endParaRPr>
          </a:p>
        </p:txBody>
      </p:sp>
      <p:sp>
        <p:nvSpPr>
          <p:cNvPr id="102" name="AutoShape 41"/>
          <p:cNvSpPr/>
          <p:nvPr/>
        </p:nvSpPr>
        <p:spPr bwMode="auto">
          <a:xfrm>
            <a:off x="1375079" y="2796732"/>
            <a:ext cx="1336371" cy="2655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03" name="AutoShape 42"/>
          <p:cNvSpPr/>
          <p:nvPr/>
        </p:nvSpPr>
        <p:spPr bwMode="auto">
          <a:xfrm>
            <a:off x="1845787" y="2615298"/>
            <a:ext cx="861218" cy="14160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04" name="AutoShape 43"/>
          <p:cNvSpPr/>
          <p:nvPr/>
        </p:nvSpPr>
        <p:spPr bwMode="auto">
          <a:xfrm>
            <a:off x="2749232" y="2640744"/>
            <a:ext cx="138907" cy="1382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70C0"/>
          </a:solidFill>
          <a:ln w="25400" cap="flat" cmpd="sng">
            <a:solidFill>
              <a:srgbClr val="000000">
                <a:alpha val="0"/>
              </a:srgbClr>
            </a:solidFill>
            <a:prstDash val="solid"/>
            <a:miter lim="0"/>
          </a:ln>
          <a:effectLst/>
        </p:spPr>
        <p:txBody>
          <a:bodyPr lIns="0" tIns="0" rIns="0" bIns="0" anchor="ctr"/>
          <a:lstStyle/>
          <a:p>
            <a:pPr defTabSz="186690"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pitchFamily="2" charset="0"/>
              <a:sym typeface="Arial" panose="020B0604020202020204" pitchFamily="34" charset="0"/>
            </a:endParaRPr>
          </a:p>
        </p:txBody>
      </p:sp>
      <p:sp>
        <p:nvSpPr>
          <p:cNvPr id="105" name="AutoShape 44"/>
          <p:cNvSpPr/>
          <p:nvPr/>
        </p:nvSpPr>
        <p:spPr bwMode="auto">
          <a:xfrm>
            <a:off x="1766239" y="1785572"/>
            <a:ext cx="1336371" cy="2655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0" tIns="0" rIns="0" bIns="0"/>
          <a:lstStyle>
            <a:lvl1pPr defTabSz="647700" eaLnBrk="0">
              <a:defRPr sz="2500" b="1">
                <a:solidFill>
                  <a:srgbClr val="FFFFFF"/>
                </a:solidFill>
                <a:latin typeface="Lato" charset="0"/>
                <a:ea typeface="MS PGothic" panose="020B0600070205080204" pitchFamily="34" charset="-128"/>
                <a:sym typeface="Lato" charset="0"/>
              </a:defRPr>
            </a:lvl1pPr>
            <a:lvl2pPr marL="742950" indent="-285750" defTabSz="647700" eaLnBrk="0">
              <a:defRPr sz="2500" b="1">
                <a:solidFill>
                  <a:srgbClr val="FFFFFF"/>
                </a:solidFill>
                <a:latin typeface="Lato" charset="0"/>
                <a:ea typeface="MS PGothic" panose="020B0600070205080204" pitchFamily="34" charset="-128"/>
                <a:sym typeface="Lato" charset="0"/>
              </a:defRPr>
            </a:lvl2pPr>
            <a:lvl3pPr marL="1143000" indent="-228600" defTabSz="647700" eaLnBrk="0">
              <a:defRPr sz="2500" b="1">
                <a:solidFill>
                  <a:srgbClr val="FFFFFF"/>
                </a:solidFill>
                <a:latin typeface="Lato" charset="0"/>
                <a:ea typeface="MS PGothic" panose="020B0600070205080204" pitchFamily="34" charset="-128"/>
                <a:sym typeface="Lato" charset="0"/>
              </a:defRPr>
            </a:lvl3pPr>
            <a:lvl4pPr marL="1600200" indent="-228600" defTabSz="647700" eaLnBrk="0">
              <a:defRPr sz="2500" b="1">
                <a:solidFill>
                  <a:srgbClr val="FFFFFF"/>
                </a:solidFill>
                <a:latin typeface="Lato" charset="0"/>
                <a:ea typeface="MS PGothic" panose="020B0600070205080204" pitchFamily="34" charset="-128"/>
                <a:sym typeface="Lato" charset="0"/>
              </a:defRPr>
            </a:lvl4pPr>
            <a:lvl5pPr marL="2057400" indent="-228600" defTabSz="647700" eaLnBrk="0">
              <a:defRPr sz="2500" b="1">
                <a:solidFill>
                  <a:srgbClr val="FFFFFF"/>
                </a:solidFill>
                <a:latin typeface="Lato" charset="0"/>
                <a:ea typeface="MS PGothic" panose="020B0600070205080204" pitchFamily="34" charset="-128"/>
                <a:sym typeface="Lato" charset="0"/>
              </a:defRPr>
            </a:lvl5pPr>
            <a:lvl6pPr marL="25146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6477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spcBef>
                <a:spcPts val="545"/>
              </a:spcBef>
              <a:defRPr/>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s-ES" altLang="zh-CN" sz="600" b="0" noProof="1">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06" name="AutoShape 45"/>
          <p:cNvSpPr/>
          <p:nvPr/>
        </p:nvSpPr>
        <p:spPr bwMode="auto">
          <a:xfrm>
            <a:off x="2238058" y="1604138"/>
            <a:ext cx="865664" cy="14160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p:spPr>
        <p:txBody>
          <a:bodyPr lIns="12192" tIns="12192" rIns="12192" bIns="12192" anchor="ctr"/>
          <a:lstStyle>
            <a:lvl1pPr eaLnBrk="0">
              <a:defRPr sz="2500" b="1">
                <a:solidFill>
                  <a:srgbClr val="FFFFFF"/>
                </a:solidFill>
                <a:latin typeface="Lato" charset="0"/>
                <a:ea typeface="MS PGothic" panose="020B0600070205080204" pitchFamily="34" charset="-128"/>
                <a:sym typeface="Lato" charset="0"/>
              </a:defRPr>
            </a:lvl1pPr>
            <a:lvl2pPr marL="742950" indent="-285750" eaLnBrk="0">
              <a:defRPr sz="2500" b="1">
                <a:solidFill>
                  <a:srgbClr val="FFFFFF"/>
                </a:solidFill>
                <a:latin typeface="Lato" charset="0"/>
                <a:ea typeface="MS PGothic" panose="020B0600070205080204" pitchFamily="34" charset="-128"/>
                <a:sym typeface="Lato" charset="0"/>
              </a:defRPr>
            </a:lvl2pPr>
            <a:lvl3pPr marL="1143000" indent="-228600" eaLnBrk="0">
              <a:defRPr sz="2500" b="1">
                <a:solidFill>
                  <a:srgbClr val="FFFFFF"/>
                </a:solidFill>
                <a:latin typeface="Lato" charset="0"/>
                <a:ea typeface="MS PGothic" panose="020B0600070205080204" pitchFamily="34" charset="-128"/>
                <a:sym typeface="Lato" charset="0"/>
              </a:defRPr>
            </a:lvl3pPr>
            <a:lvl4pPr marL="1600200" indent="-228600" eaLnBrk="0">
              <a:defRPr sz="2500" b="1">
                <a:solidFill>
                  <a:srgbClr val="FFFFFF"/>
                </a:solidFill>
                <a:latin typeface="Lato" charset="0"/>
                <a:ea typeface="MS PGothic" panose="020B0600070205080204" pitchFamily="34" charset="-128"/>
                <a:sym typeface="Lato" charset="0"/>
              </a:defRPr>
            </a:lvl4pPr>
            <a:lvl5pPr marL="2057400" indent="-228600" eaLnBrk="0">
              <a:defRPr sz="2500" b="1">
                <a:solidFill>
                  <a:srgbClr val="FFFFFF"/>
                </a:solidFill>
                <a:latin typeface="Lato" charset="0"/>
                <a:ea typeface="MS PGothic" panose="020B0600070205080204" pitchFamily="34" charset="-128"/>
                <a:sym typeface="Lato" charset="0"/>
              </a:defRPr>
            </a:lvl5pPr>
            <a:lvl6pPr marL="25146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6pPr>
            <a:lvl7pPr marL="29718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7pPr>
            <a:lvl8pPr marL="34290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8pPr>
            <a:lvl9pPr marL="3886200" indent="-228600" algn="ctr" defTabSz="825500" eaLnBrk="0" fontAlgn="base" hangingPunct="0">
              <a:lnSpc>
                <a:spcPct val="130000"/>
              </a:lnSpc>
              <a:spcBef>
                <a:spcPct val="0"/>
              </a:spcBef>
              <a:spcAft>
                <a:spcPct val="0"/>
              </a:spcAft>
              <a:defRPr sz="2500" b="1">
                <a:solidFill>
                  <a:srgbClr val="FFFFFF"/>
                </a:solidFill>
                <a:latin typeface="Lato" charset="0"/>
                <a:ea typeface="MS PGothic" panose="020B0600070205080204" pitchFamily="34" charset="-128"/>
                <a:sym typeface="Lato" charset="0"/>
              </a:defRPr>
            </a:lvl9pPr>
          </a:lstStyle>
          <a:p>
            <a:pPr algn="r" eaLnBrk="1" hangingPunct="1">
              <a:lnSpc>
                <a:spcPct val="120000"/>
              </a:lnSpc>
              <a:defRPr/>
            </a:pPr>
            <a:r>
              <a:rPr lang="zh-CN" altLang="en-US" sz="800" b="0" noProof="1">
                <a:solidFill>
                  <a:srgbClr val="00A4E3"/>
                </a:solidFill>
                <a:latin typeface="Arial" panose="020B0604020202020204" pitchFamily="34" charset="0"/>
                <a:ea typeface="微软雅黑" panose="020B0503020204020204" pitchFamily="34" charset="-122"/>
                <a:sym typeface="Arial" panose="020B0604020202020204" pitchFamily="34" charset="0"/>
              </a:rPr>
              <a:t>请替换文字内容</a:t>
            </a:r>
            <a:endParaRPr lang="es-ES" altLang="zh-CN" sz="800" b="0" noProof="1">
              <a:solidFill>
                <a:srgbClr val="00A4E3"/>
              </a:solidFill>
              <a:latin typeface="Arial" panose="020B0604020202020204" pitchFamily="34" charset="0"/>
              <a:ea typeface="微软雅黑" panose="020B0503020204020204" pitchFamily="34" charset="-122"/>
              <a:sym typeface="Arial" panose="020B0604020202020204" pitchFamily="34" charset="0"/>
            </a:endParaRPr>
          </a:p>
        </p:txBody>
      </p:sp>
      <p:sp>
        <p:nvSpPr>
          <p:cNvPr id="107" name="AutoShape 46"/>
          <p:cNvSpPr/>
          <p:nvPr/>
        </p:nvSpPr>
        <p:spPr bwMode="auto">
          <a:xfrm>
            <a:off x="3157062" y="1629584"/>
            <a:ext cx="137795" cy="138287"/>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9"/>
                  <a:pt x="6723" y="20639"/>
                  <a:pt x="2881" y="16796"/>
                </a:cubicBezTo>
                <a:cubicBezTo>
                  <a:pt x="-961" y="12953"/>
                  <a:pt x="-961" y="6724"/>
                  <a:pt x="2881" y="2881"/>
                </a:cubicBezTo>
                <a:cubicBezTo>
                  <a:pt x="6723" y="-961"/>
                  <a:pt x="12953" y="-961"/>
                  <a:pt x="16796" y="2881"/>
                </a:cubicBezTo>
              </a:path>
            </a:pathLst>
          </a:custGeom>
          <a:solidFill>
            <a:srgbClr val="00AEEF"/>
          </a:solidFill>
          <a:ln w="25400" cap="flat" cmpd="sng">
            <a:solidFill>
              <a:srgbClr val="000000">
                <a:alpha val="0"/>
              </a:srgbClr>
            </a:solidFill>
            <a:prstDash val="solid"/>
            <a:miter lim="0"/>
          </a:ln>
          <a:effectLst/>
        </p:spPr>
        <p:txBody>
          <a:bodyPr lIns="0" tIns="0" rIns="0" bIns="0" anchor="ctr"/>
          <a:lstStyle/>
          <a:p>
            <a:pPr defTabSz="186690" eaLnBrk="1" hangingPunct="1">
              <a:lnSpc>
                <a:spcPct val="120000"/>
              </a:lnSpc>
              <a:defRPr/>
            </a:pPr>
            <a:endParaRPr lang="es-ES" sz="800" noProof="1">
              <a:solidFill>
                <a:schemeClr val="bg1">
                  <a:lumMod val="65000"/>
                </a:schemeClr>
              </a:solidFill>
              <a:effectLst>
                <a:outerShdw blurRad="38100" dist="38100" dir="2700000" algn="tl">
                  <a:srgbClr val="000000"/>
                </a:outerShdw>
              </a:effectLst>
              <a:latin typeface="Arial" panose="020B0604020202020204" pitchFamily="34" charset="0"/>
              <a:ea typeface="微软雅黑" panose="020B0503020204020204" pitchFamily="34" charset="-122"/>
              <a:cs typeface="Gill Sans" pitchFamily="2" charset="0"/>
              <a:sym typeface="Arial" panose="020B0604020202020204" pitchFamily="34" charset="0"/>
            </a:endParaRPr>
          </a:p>
        </p:txBody>
      </p:sp>
      <p:sp>
        <p:nvSpPr>
          <p:cNvPr id="44" name="平行四边形 43"/>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平行四边形 44"/>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平行四边形 45"/>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平行四边形 46"/>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8" name="直接连接符 47"/>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9"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50" name="Group 7"/>
          <p:cNvGrpSpPr/>
          <p:nvPr/>
        </p:nvGrpSpPr>
        <p:grpSpPr bwMode="auto">
          <a:xfrm>
            <a:off x="180202" y="181952"/>
            <a:ext cx="216018" cy="113981"/>
            <a:chOff x="0" y="0"/>
            <a:chExt cx="1041399" cy="549275"/>
          </a:xfrm>
          <a:solidFill>
            <a:srgbClr val="133E73"/>
          </a:solidFill>
        </p:grpSpPr>
        <p:sp>
          <p:nvSpPr>
            <p:cNvPr id="51"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2"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53"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spTree>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 calcmode="lin" valueType="num">
                                      <p:cBhvr additive="base">
                                        <p:cTn id="7" dur="500" fill="hold"/>
                                        <p:tgtEl>
                                          <p:spTgt spid="50"/>
                                        </p:tgtEl>
                                        <p:attrNameLst>
                                          <p:attrName>ppt_x</p:attrName>
                                        </p:attrNameLst>
                                      </p:cBhvr>
                                      <p:tavLst>
                                        <p:tav tm="0">
                                          <p:val>
                                            <p:strVal val="0-#ppt_w/2"/>
                                          </p:val>
                                        </p:tav>
                                        <p:tav tm="100000">
                                          <p:val>
                                            <p:strVal val="#ppt_x"/>
                                          </p:val>
                                        </p:tav>
                                      </p:tavLst>
                                    </p:anim>
                                    <p:anim calcmode="lin" valueType="num">
                                      <p:cBhvr additive="base">
                                        <p:cTn id="8" dur="500" fill="hold"/>
                                        <p:tgtEl>
                                          <p:spTgt spid="5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49"/>
                                        </p:tgtEl>
                                        <p:attrNameLst>
                                          <p:attrName>style.visibility</p:attrName>
                                        </p:attrNameLst>
                                      </p:cBhvr>
                                      <p:to>
                                        <p:strVal val="visible"/>
                                      </p:to>
                                    </p:set>
                                    <p:anim calcmode="lin" valueType="num">
                                      <p:cBhvr>
                                        <p:cTn id="12" dur="500" fill="hold"/>
                                        <p:tgtEl>
                                          <p:spTgt spid="49"/>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49"/>
                                        </p:tgtEl>
                                        <p:attrNameLst>
                                          <p:attrName>ppt_y</p:attrName>
                                        </p:attrNameLst>
                                      </p:cBhvr>
                                      <p:tavLst>
                                        <p:tav tm="0">
                                          <p:val>
                                            <p:strVal val="#ppt_y"/>
                                          </p:val>
                                        </p:tav>
                                        <p:tav tm="100000">
                                          <p:val>
                                            <p:strVal val="#ppt_y"/>
                                          </p:val>
                                        </p:tav>
                                      </p:tavLst>
                                    </p:anim>
                                    <p:anim calcmode="lin" valueType="num">
                                      <p:cBhvr>
                                        <p:cTn id="14" dur="500" fill="hold"/>
                                        <p:tgtEl>
                                          <p:spTgt spid="49"/>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49"/>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49"/>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46"/>
                                        </p:tgtEl>
                                        <p:attrNameLst>
                                          <p:attrName>fillcolor</p:attrName>
                                        </p:attrNameLst>
                                      </p:cBhvr>
                                      <p:to>
                                        <a:srgbClr val="00AEEF"/>
                                      </p:to>
                                    </p:animClr>
                                    <p:set>
                                      <p:cBhvr>
                                        <p:cTn id="20" dur="300" fill="hold"/>
                                        <p:tgtEl>
                                          <p:spTgt spid="46"/>
                                        </p:tgtEl>
                                        <p:attrNameLst>
                                          <p:attrName>fill.type</p:attrName>
                                        </p:attrNameLst>
                                      </p:cBhvr>
                                      <p:to>
                                        <p:strVal val="solid"/>
                                      </p:to>
                                    </p:set>
                                    <p:set>
                                      <p:cBhvr>
                                        <p:cTn id="21" dur="300" fill="hold"/>
                                        <p:tgtEl>
                                          <p:spTgt spid="46"/>
                                        </p:tgtEl>
                                        <p:attrNameLst>
                                          <p:attrName>fill.on</p:attrName>
                                        </p:attrNameLst>
                                      </p:cBhvr>
                                      <p:to>
                                        <p:strVal val="true"/>
                                      </p:to>
                                    </p:set>
                                  </p:childTnLst>
                                </p:cTn>
                              </p:par>
                            </p:childTnLst>
                          </p:cTn>
                        </p:par>
                        <p:par>
                          <p:cTn id="22" fill="hold">
                            <p:stCondLst>
                              <p:cond delay="1799"/>
                            </p:stCondLst>
                            <p:childTnLst>
                              <p:par>
                                <p:cTn id="23" presetID="23" presetClass="entr" presetSubtype="16" fill="hold" nodeType="afterEffect">
                                  <p:stCondLst>
                                    <p:cond delay="0"/>
                                  </p:stCondLst>
                                  <p:childTnLst>
                                    <p:set>
                                      <p:cBhvr>
                                        <p:cTn id="24" dur="1" fill="hold">
                                          <p:stCondLst>
                                            <p:cond delay="0"/>
                                          </p:stCondLst>
                                        </p:cTn>
                                        <p:tgtEl>
                                          <p:spTgt spid="66"/>
                                        </p:tgtEl>
                                        <p:attrNameLst>
                                          <p:attrName>style.visibility</p:attrName>
                                        </p:attrNameLst>
                                      </p:cBhvr>
                                      <p:to>
                                        <p:strVal val="visible"/>
                                      </p:to>
                                    </p:set>
                                    <p:anim calcmode="lin" valueType="num">
                                      <p:cBhvr>
                                        <p:cTn id="25" dur="500" fill="hold"/>
                                        <p:tgtEl>
                                          <p:spTgt spid="66"/>
                                        </p:tgtEl>
                                        <p:attrNameLst>
                                          <p:attrName>ppt_w</p:attrName>
                                        </p:attrNameLst>
                                      </p:cBhvr>
                                      <p:tavLst>
                                        <p:tav tm="0">
                                          <p:val>
                                            <p:fltVal val="0"/>
                                          </p:val>
                                        </p:tav>
                                        <p:tav tm="100000">
                                          <p:val>
                                            <p:strVal val="#ppt_w"/>
                                          </p:val>
                                        </p:tav>
                                      </p:tavLst>
                                    </p:anim>
                                    <p:anim calcmode="lin" valueType="num">
                                      <p:cBhvr>
                                        <p:cTn id="26" dur="500" fill="hold"/>
                                        <p:tgtEl>
                                          <p:spTgt spid="66"/>
                                        </p:tgtEl>
                                        <p:attrNameLst>
                                          <p:attrName>ppt_h</p:attrName>
                                        </p:attrNameLst>
                                      </p:cBhvr>
                                      <p:tavLst>
                                        <p:tav tm="0">
                                          <p:val>
                                            <p:fltVal val="0"/>
                                          </p:val>
                                        </p:tav>
                                        <p:tav tm="100000">
                                          <p:val>
                                            <p:strVal val="#ppt_h"/>
                                          </p:val>
                                        </p:tav>
                                      </p:tavLst>
                                    </p:anim>
                                  </p:childTnLst>
                                </p:cTn>
                              </p:par>
                            </p:childTnLst>
                          </p:cTn>
                        </p:par>
                        <p:par>
                          <p:cTn id="27" fill="hold">
                            <p:stCondLst>
                              <p:cond delay="2299"/>
                            </p:stCondLst>
                            <p:childTnLst>
                              <p:par>
                                <p:cTn id="28" presetID="23" presetClass="entr" presetSubtype="16" fill="hold" nodeType="afterEffect">
                                  <p:stCondLst>
                                    <p:cond delay="300"/>
                                  </p:stCondLst>
                                  <p:childTnLst>
                                    <p:set>
                                      <p:cBhvr>
                                        <p:cTn id="29" dur="1" fill="hold">
                                          <p:stCondLst>
                                            <p:cond delay="0"/>
                                          </p:stCondLst>
                                        </p:cTn>
                                        <p:tgtEl>
                                          <p:spTgt spid="70"/>
                                        </p:tgtEl>
                                        <p:attrNameLst>
                                          <p:attrName>style.visibility</p:attrName>
                                        </p:attrNameLst>
                                      </p:cBhvr>
                                      <p:to>
                                        <p:strVal val="visible"/>
                                      </p:to>
                                    </p:set>
                                    <p:anim calcmode="lin" valueType="num">
                                      <p:cBhvr>
                                        <p:cTn id="30" dur="500" fill="hold"/>
                                        <p:tgtEl>
                                          <p:spTgt spid="70"/>
                                        </p:tgtEl>
                                        <p:attrNameLst>
                                          <p:attrName>ppt_w</p:attrName>
                                        </p:attrNameLst>
                                      </p:cBhvr>
                                      <p:tavLst>
                                        <p:tav tm="0">
                                          <p:val>
                                            <p:fltVal val="0"/>
                                          </p:val>
                                        </p:tav>
                                        <p:tav tm="100000">
                                          <p:val>
                                            <p:strVal val="#ppt_w"/>
                                          </p:val>
                                        </p:tav>
                                      </p:tavLst>
                                    </p:anim>
                                    <p:anim calcmode="lin" valueType="num">
                                      <p:cBhvr>
                                        <p:cTn id="31" dur="500" fill="hold"/>
                                        <p:tgtEl>
                                          <p:spTgt spid="70"/>
                                        </p:tgtEl>
                                        <p:attrNameLst>
                                          <p:attrName>ppt_h</p:attrName>
                                        </p:attrNameLst>
                                      </p:cBhvr>
                                      <p:tavLst>
                                        <p:tav tm="0">
                                          <p:val>
                                            <p:fltVal val="0"/>
                                          </p:val>
                                        </p:tav>
                                        <p:tav tm="100000">
                                          <p:val>
                                            <p:strVal val="#ppt_h"/>
                                          </p:val>
                                        </p:tav>
                                      </p:tavLst>
                                    </p:anim>
                                  </p:childTnLst>
                                </p:cTn>
                              </p:par>
                            </p:childTnLst>
                          </p:cTn>
                        </p:par>
                        <p:par>
                          <p:cTn id="32" fill="hold">
                            <p:stCondLst>
                              <p:cond delay="3099"/>
                            </p:stCondLst>
                            <p:childTnLst>
                              <p:par>
                                <p:cTn id="33" presetID="23" presetClass="entr" presetSubtype="16" fill="hold" nodeType="afterEffect">
                                  <p:stCondLst>
                                    <p:cond delay="300"/>
                                  </p:stCondLst>
                                  <p:childTnLst>
                                    <p:set>
                                      <p:cBhvr>
                                        <p:cTn id="34" dur="1" fill="hold">
                                          <p:stCondLst>
                                            <p:cond delay="0"/>
                                          </p:stCondLst>
                                        </p:cTn>
                                        <p:tgtEl>
                                          <p:spTgt spid="74"/>
                                        </p:tgtEl>
                                        <p:attrNameLst>
                                          <p:attrName>style.visibility</p:attrName>
                                        </p:attrNameLst>
                                      </p:cBhvr>
                                      <p:to>
                                        <p:strVal val="visible"/>
                                      </p:to>
                                    </p:set>
                                    <p:anim calcmode="lin" valueType="num">
                                      <p:cBhvr>
                                        <p:cTn id="35" dur="500" fill="hold"/>
                                        <p:tgtEl>
                                          <p:spTgt spid="74"/>
                                        </p:tgtEl>
                                        <p:attrNameLst>
                                          <p:attrName>ppt_w</p:attrName>
                                        </p:attrNameLst>
                                      </p:cBhvr>
                                      <p:tavLst>
                                        <p:tav tm="0">
                                          <p:val>
                                            <p:fltVal val="0"/>
                                          </p:val>
                                        </p:tav>
                                        <p:tav tm="100000">
                                          <p:val>
                                            <p:strVal val="#ppt_w"/>
                                          </p:val>
                                        </p:tav>
                                      </p:tavLst>
                                    </p:anim>
                                    <p:anim calcmode="lin" valueType="num">
                                      <p:cBhvr>
                                        <p:cTn id="36" dur="500" fill="hold"/>
                                        <p:tgtEl>
                                          <p:spTgt spid="74"/>
                                        </p:tgtEl>
                                        <p:attrNameLst>
                                          <p:attrName>ppt_h</p:attrName>
                                        </p:attrNameLst>
                                      </p:cBhvr>
                                      <p:tavLst>
                                        <p:tav tm="0">
                                          <p:val>
                                            <p:fltVal val="0"/>
                                          </p:val>
                                        </p:tav>
                                        <p:tav tm="100000">
                                          <p:val>
                                            <p:strVal val="#ppt_h"/>
                                          </p:val>
                                        </p:tav>
                                      </p:tavLst>
                                    </p:anim>
                                  </p:childTnLst>
                                </p:cTn>
                              </p:par>
                            </p:childTnLst>
                          </p:cTn>
                        </p:par>
                        <p:par>
                          <p:cTn id="37" fill="hold">
                            <p:stCondLst>
                              <p:cond delay="3899"/>
                            </p:stCondLst>
                            <p:childTnLst>
                              <p:par>
                                <p:cTn id="38" presetID="23" presetClass="entr" presetSubtype="16" fill="hold" nodeType="afterEffect">
                                  <p:stCondLst>
                                    <p:cond delay="300"/>
                                  </p:stCondLst>
                                  <p:childTnLst>
                                    <p:set>
                                      <p:cBhvr>
                                        <p:cTn id="39" dur="1" fill="hold">
                                          <p:stCondLst>
                                            <p:cond delay="0"/>
                                          </p:stCondLst>
                                        </p:cTn>
                                        <p:tgtEl>
                                          <p:spTgt spid="78"/>
                                        </p:tgtEl>
                                        <p:attrNameLst>
                                          <p:attrName>style.visibility</p:attrName>
                                        </p:attrNameLst>
                                      </p:cBhvr>
                                      <p:to>
                                        <p:strVal val="visible"/>
                                      </p:to>
                                    </p:set>
                                    <p:anim calcmode="lin" valueType="num">
                                      <p:cBhvr>
                                        <p:cTn id="40" dur="500" fill="hold"/>
                                        <p:tgtEl>
                                          <p:spTgt spid="78"/>
                                        </p:tgtEl>
                                        <p:attrNameLst>
                                          <p:attrName>ppt_w</p:attrName>
                                        </p:attrNameLst>
                                      </p:cBhvr>
                                      <p:tavLst>
                                        <p:tav tm="0">
                                          <p:val>
                                            <p:fltVal val="0"/>
                                          </p:val>
                                        </p:tav>
                                        <p:tav tm="100000">
                                          <p:val>
                                            <p:strVal val="#ppt_w"/>
                                          </p:val>
                                        </p:tav>
                                      </p:tavLst>
                                    </p:anim>
                                    <p:anim calcmode="lin" valueType="num">
                                      <p:cBhvr>
                                        <p:cTn id="41" dur="500" fill="hold"/>
                                        <p:tgtEl>
                                          <p:spTgt spid="78"/>
                                        </p:tgtEl>
                                        <p:attrNameLst>
                                          <p:attrName>ppt_h</p:attrName>
                                        </p:attrNameLst>
                                      </p:cBhvr>
                                      <p:tavLst>
                                        <p:tav tm="0">
                                          <p:val>
                                            <p:fltVal val="0"/>
                                          </p:val>
                                        </p:tav>
                                        <p:tav tm="100000">
                                          <p:val>
                                            <p:strVal val="#ppt_h"/>
                                          </p:val>
                                        </p:tav>
                                      </p:tavLst>
                                    </p:anim>
                                  </p:childTnLst>
                                </p:cTn>
                              </p:par>
                            </p:childTnLst>
                          </p:cTn>
                        </p:par>
                        <p:par>
                          <p:cTn id="42" fill="hold">
                            <p:stCondLst>
                              <p:cond delay="4699"/>
                            </p:stCondLst>
                            <p:childTnLst>
                              <p:par>
                                <p:cTn id="43" presetID="23" presetClass="entr" presetSubtype="16" fill="hold" nodeType="afterEffect">
                                  <p:stCondLst>
                                    <p:cond delay="300"/>
                                  </p:stCondLst>
                                  <p:childTnLst>
                                    <p:set>
                                      <p:cBhvr>
                                        <p:cTn id="44" dur="1" fill="hold">
                                          <p:stCondLst>
                                            <p:cond delay="0"/>
                                          </p:stCondLst>
                                        </p:cTn>
                                        <p:tgtEl>
                                          <p:spTgt spid="82"/>
                                        </p:tgtEl>
                                        <p:attrNameLst>
                                          <p:attrName>style.visibility</p:attrName>
                                        </p:attrNameLst>
                                      </p:cBhvr>
                                      <p:to>
                                        <p:strVal val="visible"/>
                                      </p:to>
                                    </p:set>
                                    <p:anim calcmode="lin" valueType="num">
                                      <p:cBhvr>
                                        <p:cTn id="45" dur="500" fill="hold"/>
                                        <p:tgtEl>
                                          <p:spTgt spid="82"/>
                                        </p:tgtEl>
                                        <p:attrNameLst>
                                          <p:attrName>ppt_w</p:attrName>
                                        </p:attrNameLst>
                                      </p:cBhvr>
                                      <p:tavLst>
                                        <p:tav tm="0">
                                          <p:val>
                                            <p:fltVal val="0"/>
                                          </p:val>
                                        </p:tav>
                                        <p:tav tm="100000">
                                          <p:val>
                                            <p:strVal val="#ppt_w"/>
                                          </p:val>
                                        </p:tav>
                                      </p:tavLst>
                                    </p:anim>
                                    <p:anim calcmode="lin" valueType="num">
                                      <p:cBhvr>
                                        <p:cTn id="46" dur="500" fill="hold"/>
                                        <p:tgtEl>
                                          <p:spTgt spid="82"/>
                                        </p:tgtEl>
                                        <p:attrNameLst>
                                          <p:attrName>ppt_h</p:attrName>
                                        </p:attrNameLst>
                                      </p:cBhvr>
                                      <p:tavLst>
                                        <p:tav tm="0">
                                          <p:val>
                                            <p:fltVal val="0"/>
                                          </p:val>
                                        </p:tav>
                                        <p:tav tm="100000">
                                          <p:val>
                                            <p:strVal val="#ppt_h"/>
                                          </p:val>
                                        </p:tav>
                                      </p:tavLst>
                                    </p:anim>
                                  </p:childTnLst>
                                </p:cTn>
                              </p:par>
                            </p:childTnLst>
                          </p:cTn>
                        </p:par>
                        <p:par>
                          <p:cTn id="47" fill="hold">
                            <p:stCondLst>
                              <p:cond delay="5499"/>
                            </p:stCondLst>
                            <p:childTnLst>
                              <p:par>
                                <p:cTn id="48" presetID="23" presetClass="entr" presetSubtype="16" fill="hold" nodeType="afterEffect">
                                  <p:stCondLst>
                                    <p:cond delay="300"/>
                                  </p:stCondLst>
                                  <p:childTnLst>
                                    <p:set>
                                      <p:cBhvr>
                                        <p:cTn id="49" dur="1" fill="hold">
                                          <p:stCondLst>
                                            <p:cond delay="0"/>
                                          </p:stCondLst>
                                        </p:cTn>
                                        <p:tgtEl>
                                          <p:spTgt spid="86"/>
                                        </p:tgtEl>
                                        <p:attrNameLst>
                                          <p:attrName>style.visibility</p:attrName>
                                        </p:attrNameLst>
                                      </p:cBhvr>
                                      <p:to>
                                        <p:strVal val="visible"/>
                                      </p:to>
                                    </p:set>
                                    <p:anim calcmode="lin" valueType="num">
                                      <p:cBhvr>
                                        <p:cTn id="50" dur="500" fill="hold"/>
                                        <p:tgtEl>
                                          <p:spTgt spid="86"/>
                                        </p:tgtEl>
                                        <p:attrNameLst>
                                          <p:attrName>ppt_w</p:attrName>
                                        </p:attrNameLst>
                                      </p:cBhvr>
                                      <p:tavLst>
                                        <p:tav tm="0">
                                          <p:val>
                                            <p:fltVal val="0"/>
                                          </p:val>
                                        </p:tav>
                                        <p:tav tm="100000">
                                          <p:val>
                                            <p:strVal val="#ppt_w"/>
                                          </p:val>
                                        </p:tav>
                                      </p:tavLst>
                                    </p:anim>
                                    <p:anim calcmode="lin" valueType="num">
                                      <p:cBhvr>
                                        <p:cTn id="51" dur="500" fill="hold"/>
                                        <p:tgtEl>
                                          <p:spTgt spid="86"/>
                                        </p:tgtEl>
                                        <p:attrNameLst>
                                          <p:attrName>ppt_h</p:attrName>
                                        </p:attrNameLst>
                                      </p:cBhvr>
                                      <p:tavLst>
                                        <p:tav tm="0">
                                          <p:val>
                                            <p:fltVal val="0"/>
                                          </p:val>
                                        </p:tav>
                                        <p:tav tm="100000">
                                          <p:val>
                                            <p:strVal val="#ppt_h"/>
                                          </p:val>
                                        </p:tav>
                                      </p:tavLst>
                                    </p:anim>
                                  </p:childTnLst>
                                </p:cTn>
                              </p:par>
                            </p:childTnLst>
                          </p:cTn>
                        </p:par>
                        <p:par>
                          <p:cTn id="52" fill="hold">
                            <p:stCondLst>
                              <p:cond delay="6299"/>
                            </p:stCondLst>
                            <p:childTnLst>
                              <p:par>
                                <p:cTn id="53" presetID="2" presetClass="entr" presetSubtype="2" fill="hold" grpId="0" nodeType="afterEffect">
                                  <p:stCondLst>
                                    <p:cond delay="100"/>
                                  </p:stCondLst>
                                  <p:childTnLst>
                                    <p:set>
                                      <p:cBhvr>
                                        <p:cTn id="54" dur="1" fill="hold">
                                          <p:stCondLst>
                                            <p:cond delay="0"/>
                                          </p:stCondLst>
                                        </p:cTn>
                                        <p:tgtEl>
                                          <p:spTgt spid="91"/>
                                        </p:tgtEl>
                                        <p:attrNameLst>
                                          <p:attrName>style.visibility</p:attrName>
                                        </p:attrNameLst>
                                      </p:cBhvr>
                                      <p:to>
                                        <p:strVal val="visible"/>
                                      </p:to>
                                    </p:set>
                                    <p:anim calcmode="lin" valueType="num">
                                      <p:cBhvr>
                                        <p:cTn id="55" dur="500" fill="hold"/>
                                        <p:tgtEl>
                                          <p:spTgt spid="91"/>
                                        </p:tgtEl>
                                        <p:attrNameLst>
                                          <p:attrName>ppt_x</p:attrName>
                                        </p:attrNameLst>
                                      </p:cBhvr>
                                      <p:tavLst>
                                        <p:tav tm="0">
                                          <p:val>
                                            <p:strVal val="1+#ppt_w/2"/>
                                          </p:val>
                                        </p:tav>
                                        <p:tav tm="100000">
                                          <p:val>
                                            <p:strVal val="#ppt_x"/>
                                          </p:val>
                                        </p:tav>
                                      </p:tavLst>
                                    </p:anim>
                                    <p:anim calcmode="lin" valueType="num">
                                      <p:cBhvr>
                                        <p:cTn id="56" dur="500" fill="hold"/>
                                        <p:tgtEl>
                                          <p:spTgt spid="91"/>
                                        </p:tgtEl>
                                        <p:attrNameLst>
                                          <p:attrName>ppt_y</p:attrName>
                                        </p:attrNameLst>
                                      </p:cBhvr>
                                      <p:tavLst>
                                        <p:tav tm="0">
                                          <p:val>
                                            <p:strVal val="#ppt_y"/>
                                          </p:val>
                                        </p:tav>
                                        <p:tav tm="100000">
                                          <p:val>
                                            <p:strVal val="#ppt_y"/>
                                          </p:val>
                                        </p:tav>
                                      </p:tavLst>
                                    </p:anim>
                                  </p:childTnLst>
                                </p:cTn>
                              </p:par>
                            </p:childTnLst>
                          </p:cTn>
                        </p:par>
                        <p:par>
                          <p:cTn id="57" fill="hold">
                            <p:stCondLst>
                              <p:cond delay="6899"/>
                            </p:stCondLst>
                            <p:childTnLst>
                              <p:par>
                                <p:cTn id="58" presetID="2" presetClass="entr" presetSubtype="2" fill="hold" grpId="0" nodeType="afterEffect">
                                  <p:stCondLst>
                                    <p:cond delay="0"/>
                                  </p:stCondLst>
                                  <p:childTnLst>
                                    <p:set>
                                      <p:cBhvr>
                                        <p:cTn id="59" dur="1" fill="hold">
                                          <p:stCondLst>
                                            <p:cond delay="0"/>
                                          </p:stCondLst>
                                        </p:cTn>
                                        <p:tgtEl>
                                          <p:spTgt spid="90"/>
                                        </p:tgtEl>
                                        <p:attrNameLst>
                                          <p:attrName>style.visibility</p:attrName>
                                        </p:attrNameLst>
                                      </p:cBhvr>
                                      <p:to>
                                        <p:strVal val="visible"/>
                                      </p:to>
                                    </p:set>
                                    <p:anim calcmode="lin" valueType="num">
                                      <p:cBhvr>
                                        <p:cTn id="60" dur="500" fill="hold"/>
                                        <p:tgtEl>
                                          <p:spTgt spid="90"/>
                                        </p:tgtEl>
                                        <p:attrNameLst>
                                          <p:attrName>ppt_x</p:attrName>
                                        </p:attrNameLst>
                                      </p:cBhvr>
                                      <p:tavLst>
                                        <p:tav tm="0">
                                          <p:val>
                                            <p:strVal val="1+#ppt_w/2"/>
                                          </p:val>
                                        </p:tav>
                                        <p:tav tm="100000">
                                          <p:val>
                                            <p:strVal val="#ppt_x"/>
                                          </p:val>
                                        </p:tav>
                                      </p:tavLst>
                                    </p:anim>
                                    <p:anim calcmode="lin" valueType="num">
                                      <p:cBhvr>
                                        <p:cTn id="61" dur="500" fill="hold"/>
                                        <p:tgtEl>
                                          <p:spTgt spid="90"/>
                                        </p:tgtEl>
                                        <p:attrNameLst>
                                          <p:attrName>ppt_y</p:attrName>
                                        </p:attrNameLst>
                                      </p:cBhvr>
                                      <p:tavLst>
                                        <p:tav tm="0">
                                          <p:val>
                                            <p:strVal val="#ppt_y"/>
                                          </p:val>
                                        </p:tav>
                                        <p:tav tm="100000">
                                          <p:val>
                                            <p:strVal val="#ppt_y"/>
                                          </p:val>
                                        </p:tav>
                                      </p:tavLst>
                                    </p:anim>
                                  </p:childTnLst>
                                </p:cTn>
                              </p:par>
                            </p:childTnLst>
                          </p:cTn>
                        </p:par>
                        <p:par>
                          <p:cTn id="62" fill="hold">
                            <p:stCondLst>
                              <p:cond delay="7399"/>
                            </p:stCondLst>
                            <p:childTnLst>
                              <p:par>
                                <p:cTn id="63" presetID="9" presetClass="entr" presetSubtype="0" fill="hold" nodeType="afterEffect">
                                  <p:stCondLst>
                                    <p:cond delay="100"/>
                                  </p:stCondLst>
                                  <p:childTnLst>
                                    <p:set>
                                      <p:cBhvr>
                                        <p:cTn id="64" dur="1" fill="hold">
                                          <p:stCondLst>
                                            <p:cond delay="0"/>
                                          </p:stCondLst>
                                        </p:cTn>
                                        <p:tgtEl>
                                          <p:spTgt spid="92"/>
                                        </p:tgtEl>
                                        <p:attrNameLst>
                                          <p:attrName>style.visibility</p:attrName>
                                        </p:attrNameLst>
                                      </p:cBhvr>
                                      <p:to>
                                        <p:strVal val="visible"/>
                                      </p:to>
                                    </p:set>
                                    <p:animEffect transition="in" filter="dissolve">
                                      <p:cBhvr>
                                        <p:cTn id="65" dur="500"/>
                                        <p:tgtEl>
                                          <p:spTgt spid="92"/>
                                        </p:tgtEl>
                                      </p:cBhvr>
                                    </p:animEffect>
                                  </p:childTnLst>
                                </p:cTn>
                              </p:par>
                            </p:childTnLst>
                          </p:cTn>
                        </p:par>
                        <p:par>
                          <p:cTn id="66" fill="hold">
                            <p:stCondLst>
                              <p:cond delay="7999"/>
                            </p:stCondLst>
                            <p:childTnLst>
                              <p:par>
                                <p:cTn id="67" presetID="2" presetClass="entr" presetSubtype="2" fill="hold" grpId="0" nodeType="afterEffect">
                                  <p:stCondLst>
                                    <p:cond delay="100"/>
                                  </p:stCondLst>
                                  <p:childTnLst>
                                    <p:set>
                                      <p:cBhvr>
                                        <p:cTn id="68" dur="1" fill="hold">
                                          <p:stCondLst>
                                            <p:cond delay="0"/>
                                          </p:stCondLst>
                                        </p:cTn>
                                        <p:tgtEl>
                                          <p:spTgt spid="94"/>
                                        </p:tgtEl>
                                        <p:attrNameLst>
                                          <p:attrName>style.visibility</p:attrName>
                                        </p:attrNameLst>
                                      </p:cBhvr>
                                      <p:to>
                                        <p:strVal val="visible"/>
                                      </p:to>
                                    </p:set>
                                    <p:anim calcmode="lin" valueType="num">
                                      <p:cBhvr>
                                        <p:cTn id="69" dur="500" fill="hold"/>
                                        <p:tgtEl>
                                          <p:spTgt spid="94"/>
                                        </p:tgtEl>
                                        <p:attrNameLst>
                                          <p:attrName>ppt_x</p:attrName>
                                        </p:attrNameLst>
                                      </p:cBhvr>
                                      <p:tavLst>
                                        <p:tav tm="0">
                                          <p:val>
                                            <p:strVal val="1+#ppt_w/2"/>
                                          </p:val>
                                        </p:tav>
                                        <p:tav tm="100000">
                                          <p:val>
                                            <p:strVal val="#ppt_x"/>
                                          </p:val>
                                        </p:tav>
                                      </p:tavLst>
                                    </p:anim>
                                    <p:anim calcmode="lin" valueType="num">
                                      <p:cBhvr>
                                        <p:cTn id="70" dur="500" fill="hold"/>
                                        <p:tgtEl>
                                          <p:spTgt spid="94"/>
                                        </p:tgtEl>
                                        <p:attrNameLst>
                                          <p:attrName>ppt_y</p:attrName>
                                        </p:attrNameLst>
                                      </p:cBhvr>
                                      <p:tavLst>
                                        <p:tav tm="0">
                                          <p:val>
                                            <p:strVal val="#ppt_y"/>
                                          </p:val>
                                        </p:tav>
                                        <p:tav tm="100000">
                                          <p:val>
                                            <p:strVal val="#ppt_y"/>
                                          </p:val>
                                        </p:tav>
                                      </p:tavLst>
                                    </p:anim>
                                  </p:childTnLst>
                                </p:cTn>
                              </p:par>
                            </p:childTnLst>
                          </p:cTn>
                        </p:par>
                        <p:par>
                          <p:cTn id="71" fill="hold">
                            <p:stCondLst>
                              <p:cond delay="8599"/>
                            </p:stCondLst>
                            <p:childTnLst>
                              <p:par>
                                <p:cTn id="72" presetID="2" presetClass="entr" presetSubtype="2" fill="hold" grpId="0" nodeType="afterEffect">
                                  <p:stCondLst>
                                    <p:cond delay="0"/>
                                  </p:stCondLst>
                                  <p:childTnLst>
                                    <p:set>
                                      <p:cBhvr>
                                        <p:cTn id="73" dur="1" fill="hold">
                                          <p:stCondLst>
                                            <p:cond delay="0"/>
                                          </p:stCondLst>
                                        </p:cTn>
                                        <p:tgtEl>
                                          <p:spTgt spid="93"/>
                                        </p:tgtEl>
                                        <p:attrNameLst>
                                          <p:attrName>style.visibility</p:attrName>
                                        </p:attrNameLst>
                                      </p:cBhvr>
                                      <p:to>
                                        <p:strVal val="visible"/>
                                      </p:to>
                                    </p:set>
                                    <p:anim calcmode="lin" valueType="num">
                                      <p:cBhvr>
                                        <p:cTn id="74" dur="500" fill="hold"/>
                                        <p:tgtEl>
                                          <p:spTgt spid="93"/>
                                        </p:tgtEl>
                                        <p:attrNameLst>
                                          <p:attrName>ppt_x</p:attrName>
                                        </p:attrNameLst>
                                      </p:cBhvr>
                                      <p:tavLst>
                                        <p:tav tm="0">
                                          <p:val>
                                            <p:strVal val="1+#ppt_w/2"/>
                                          </p:val>
                                        </p:tav>
                                        <p:tav tm="100000">
                                          <p:val>
                                            <p:strVal val="#ppt_x"/>
                                          </p:val>
                                        </p:tav>
                                      </p:tavLst>
                                    </p:anim>
                                    <p:anim calcmode="lin" valueType="num">
                                      <p:cBhvr>
                                        <p:cTn id="75" dur="500" fill="hold"/>
                                        <p:tgtEl>
                                          <p:spTgt spid="93"/>
                                        </p:tgtEl>
                                        <p:attrNameLst>
                                          <p:attrName>ppt_y</p:attrName>
                                        </p:attrNameLst>
                                      </p:cBhvr>
                                      <p:tavLst>
                                        <p:tav tm="0">
                                          <p:val>
                                            <p:strVal val="#ppt_y"/>
                                          </p:val>
                                        </p:tav>
                                        <p:tav tm="100000">
                                          <p:val>
                                            <p:strVal val="#ppt_y"/>
                                          </p:val>
                                        </p:tav>
                                      </p:tavLst>
                                    </p:anim>
                                  </p:childTnLst>
                                </p:cTn>
                              </p:par>
                            </p:childTnLst>
                          </p:cTn>
                        </p:par>
                        <p:par>
                          <p:cTn id="76" fill="hold">
                            <p:stCondLst>
                              <p:cond delay="9099"/>
                            </p:stCondLst>
                            <p:childTnLst>
                              <p:par>
                                <p:cTn id="77" presetID="9" presetClass="entr" presetSubtype="0" fill="hold" nodeType="afterEffect">
                                  <p:stCondLst>
                                    <p:cond delay="100"/>
                                  </p:stCondLst>
                                  <p:childTnLst>
                                    <p:set>
                                      <p:cBhvr>
                                        <p:cTn id="78" dur="1" fill="hold">
                                          <p:stCondLst>
                                            <p:cond delay="0"/>
                                          </p:stCondLst>
                                        </p:cTn>
                                        <p:tgtEl>
                                          <p:spTgt spid="95"/>
                                        </p:tgtEl>
                                        <p:attrNameLst>
                                          <p:attrName>style.visibility</p:attrName>
                                        </p:attrNameLst>
                                      </p:cBhvr>
                                      <p:to>
                                        <p:strVal val="visible"/>
                                      </p:to>
                                    </p:set>
                                    <p:animEffect transition="in" filter="dissolve">
                                      <p:cBhvr>
                                        <p:cTn id="79" dur="500"/>
                                        <p:tgtEl>
                                          <p:spTgt spid="95"/>
                                        </p:tgtEl>
                                      </p:cBhvr>
                                    </p:animEffect>
                                  </p:childTnLst>
                                </p:cTn>
                              </p:par>
                            </p:childTnLst>
                          </p:cTn>
                        </p:par>
                        <p:par>
                          <p:cTn id="80" fill="hold">
                            <p:stCondLst>
                              <p:cond delay="9699"/>
                            </p:stCondLst>
                            <p:childTnLst>
                              <p:par>
                                <p:cTn id="81" presetID="2" presetClass="entr" presetSubtype="2" fill="hold" grpId="0" nodeType="afterEffect">
                                  <p:stCondLst>
                                    <p:cond delay="100"/>
                                  </p:stCondLst>
                                  <p:childTnLst>
                                    <p:set>
                                      <p:cBhvr>
                                        <p:cTn id="82" dur="1" fill="hold">
                                          <p:stCondLst>
                                            <p:cond delay="0"/>
                                          </p:stCondLst>
                                        </p:cTn>
                                        <p:tgtEl>
                                          <p:spTgt spid="97"/>
                                        </p:tgtEl>
                                        <p:attrNameLst>
                                          <p:attrName>style.visibility</p:attrName>
                                        </p:attrNameLst>
                                      </p:cBhvr>
                                      <p:to>
                                        <p:strVal val="visible"/>
                                      </p:to>
                                    </p:set>
                                    <p:anim calcmode="lin" valueType="num">
                                      <p:cBhvr>
                                        <p:cTn id="83" dur="500" fill="hold"/>
                                        <p:tgtEl>
                                          <p:spTgt spid="97"/>
                                        </p:tgtEl>
                                        <p:attrNameLst>
                                          <p:attrName>ppt_x</p:attrName>
                                        </p:attrNameLst>
                                      </p:cBhvr>
                                      <p:tavLst>
                                        <p:tav tm="0">
                                          <p:val>
                                            <p:strVal val="1+#ppt_w/2"/>
                                          </p:val>
                                        </p:tav>
                                        <p:tav tm="100000">
                                          <p:val>
                                            <p:strVal val="#ppt_x"/>
                                          </p:val>
                                        </p:tav>
                                      </p:tavLst>
                                    </p:anim>
                                    <p:anim calcmode="lin" valueType="num">
                                      <p:cBhvr>
                                        <p:cTn id="84" dur="500" fill="hold"/>
                                        <p:tgtEl>
                                          <p:spTgt spid="97"/>
                                        </p:tgtEl>
                                        <p:attrNameLst>
                                          <p:attrName>ppt_y</p:attrName>
                                        </p:attrNameLst>
                                      </p:cBhvr>
                                      <p:tavLst>
                                        <p:tav tm="0">
                                          <p:val>
                                            <p:strVal val="#ppt_y"/>
                                          </p:val>
                                        </p:tav>
                                        <p:tav tm="100000">
                                          <p:val>
                                            <p:strVal val="#ppt_y"/>
                                          </p:val>
                                        </p:tav>
                                      </p:tavLst>
                                    </p:anim>
                                  </p:childTnLst>
                                </p:cTn>
                              </p:par>
                            </p:childTnLst>
                          </p:cTn>
                        </p:par>
                        <p:par>
                          <p:cTn id="85" fill="hold">
                            <p:stCondLst>
                              <p:cond delay="10299"/>
                            </p:stCondLst>
                            <p:childTnLst>
                              <p:par>
                                <p:cTn id="86" presetID="2" presetClass="entr" presetSubtype="2" fill="hold" grpId="0" nodeType="afterEffect">
                                  <p:stCondLst>
                                    <p:cond delay="0"/>
                                  </p:stCondLst>
                                  <p:childTnLst>
                                    <p:set>
                                      <p:cBhvr>
                                        <p:cTn id="87" dur="1" fill="hold">
                                          <p:stCondLst>
                                            <p:cond delay="0"/>
                                          </p:stCondLst>
                                        </p:cTn>
                                        <p:tgtEl>
                                          <p:spTgt spid="96"/>
                                        </p:tgtEl>
                                        <p:attrNameLst>
                                          <p:attrName>style.visibility</p:attrName>
                                        </p:attrNameLst>
                                      </p:cBhvr>
                                      <p:to>
                                        <p:strVal val="visible"/>
                                      </p:to>
                                    </p:set>
                                    <p:anim calcmode="lin" valueType="num">
                                      <p:cBhvr>
                                        <p:cTn id="88" dur="500" fill="hold"/>
                                        <p:tgtEl>
                                          <p:spTgt spid="96"/>
                                        </p:tgtEl>
                                        <p:attrNameLst>
                                          <p:attrName>ppt_x</p:attrName>
                                        </p:attrNameLst>
                                      </p:cBhvr>
                                      <p:tavLst>
                                        <p:tav tm="0">
                                          <p:val>
                                            <p:strVal val="1+#ppt_w/2"/>
                                          </p:val>
                                        </p:tav>
                                        <p:tav tm="100000">
                                          <p:val>
                                            <p:strVal val="#ppt_x"/>
                                          </p:val>
                                        </p:tav>
                                      </p:tavLst>
                                    </p:anim>
                                    <p:anim calcmode="lin" valueType="num">
                                      <p:cBhvr>
                                        <p:cTn id="89" dur="500" fill="hold"/>
                                        <p:tgtEl>
                                          <p:spTgt spid="96"/>
                                        </p:tgtEl>
                                        <p:attrNameLst>
                                          <p:attrName>ppt_y</p:attrName>
                                        </p:attrNameLst>
                                      </p:cBhvr>
                                      <p:tavLst>
                                        <p:tav tm="0">
                                          <p:val>
                                            <p:strVal val="#ppt_y"/>
                                          </p:val>
                                        </p:tav>
                                        <p:tav tm="100000">
                                          <p:val>
                                            <p:strVal val="#ppt_y"/>
                                          </p:val>
                                        </p:tav>
                                      </p:tavLst>
                                    </p:anim>
                                  </p:childTnLst>
                                </p:cTn>
                              </p:par>
                            </p:childTnLst>
                          </p:cTn>
                        </p:par>
                        <p:par>
                          <p:cTn id="90" fill="hold">
                            <p:stCondLst>
                              <p:cond delay="10799"/>
                            </p:stCondLst>
                            <p:childTnLst>
                              <p:par>
                                <p:cTn id="91" presetID="9" presetClass="entr" presetSubtype="0" fill="hold" nodeType="afterEffect">
                                  <p:stCondLst>
                                    <p:cond delay="100"/>
                                  </p:stCondLst>
                                  <p:childTnLst>
                                    <p:set>
                                      <p:cBhvr>
                                        <p:cTn id="92" dur="1" fill="hold">
                                          <p:stCondLst>
                                            <p:cond delay="0"/>
                                          </p:stCondLst>
                                        </p:cTn>
                                        <p:tgtEl>
                                          <p:spTgt spid="98"/>
                                        </p:tgtEl>
                                        <p:attrNameLst>
                                          <p:attrName>style.visibility</p:attrName>
                                        </p:attrNameLst>
                                      </p:cBhvr>
                                      <p:to>
                                        <p:strVal val="visible"/>
                                      </p:to>
                                    </p:set>
                                    <p:animEffect transition="in" filter="dissolve">
                                      <p:cBhvr>
                                        <p:cTn id="93" dur="500"/>
                                        <p:tgtEl>
                                          <p:spTgt spid="98"/>
                                        </p:tgtEl>
                                      </p:cBhvr>
                                    </p:animEffect>
                                  </p:childTnLst>
                                </p:cTn>
                              </p:par>
                            </p:childTnLst>
                          </p:cTn>
                        </p:par>
                        <p:par>
                          <p:cTn id="94" fill="hold">
                            <p:stCondLst>
                              <p:cond delay="11399"/>
                            </p:stCondLst>
                            <p:childTnLst>
                              <p:par>
                                <p:cTn id="95" presetID="2" presetClass="entr" presetSubtype="8" fill="hold" grpId="0" nodeType="afterEffect">
                                  <p:stCondLst>
                                    <p:cond delay="100"/>
                                  </p:stCondLst>
                                  <p:childTnLst>
                                    <p:set>
                                      <p:cBhvr>
                                        <p:cTn id="96" dur="1" fill="hold">
                                          <p:stCondLst>
                                            <p:cond delay="0"/>
                                          </p:stCondLst>
                                        </p:cTn>
                                        <p:tgtEl>
                                          <p:spTgt spid="100"/>
                                        </p:tgtEl>
                                        <p:attrNameLst>
                                          <p:attrName>style.visibility</p:attrName>
                                        </p:attrNameLst>
                                      </p:cBhvr>
                                      <p:to>
                                        <p:strVal val="visible"/>
                                      </p:to>
                                    </p:set>
                                    <p:anim calcmode="lin" valueType="num">
                                      <p:cBhvr>
                                        <p:cTn id="97" dur="500" fill="hold"/>
                                        <p:tgtEl>
                                          <p:spTgt spid="100"/>
                                        </p:tgtEl>
                                        <p:attrNameLst>
                                          <p:attrName>ppt_x</p:attrName>
                                        </p:attrNameLst>
                                      </p:cBhvr>
                                      <p:tavLst>
                                        <p:tav tm="0">
                                          <p:val>
                                            <p:strVal val="0-#ppt_w/2"/>
                                          </p:val>
                                        </p:tav>
                                        <p:tav tm="100000">
                                          <p:val>
                                            <p:strVal val="#ppt_x"/>
                                          </p:val>
                                        </p:tav>
                                      </p:tavLst>
                                    </p:anim>
                                    <p:anim calcmode="lin" valueType="num">
                                      <p:cBhvr>
                                        <p:cTn id="98" dur="500" fill="hold"/>
                                        <p:tgtEl>
                                          <p:spTgt spid="100"/>
                                        </p:tgtEl>
                                        <p:attrNameLst>
                                          <p:attrName>ppt_y</p:attrName>
                                        </p:attrNameLst>
                                      </p:cBhvr>
                                      <p:tavLst>
                                        <p:tav tm="0">
                                          <p:val>
                                            <p:strVal val="#ppt_y"/>
                                          </p:val>
                                        </p:tav>
                                        <p:tav tm="100000">
                                          <p:val>
                                            <p:strVal val="#ppt_y"/>
                                          </p:val>
                                        </p:tav>
                                      </p:tavLst>
                                    </p:anim>
                                  </p:childTnLst>
                                </p:cTn>
                              </p:par>
                            </p:childTnLst>
                          </p:cTn>
                        </p:par>
                        <p:par>
                          <p:cTn id="99" fill="hold">
                            <p:stCondLst>
                              <p:cond delay="11999"/>
                            </p:stCondLst>
                            <p:childTnLst>
                              <p:par>
                                <p:cTn id="100" presetID="2" presetClass="entr" presetSubtype="8" fill="hold" grpId="0" nodeType="afterEffect">
                                  <p:stCondLst>
                                    <p:cond delay="0"/>
                                  </p:stCondLst>
                                  <p:childTnLst>
                                    <p:set>
                                      <p:cBhvr>
                                        <p:cTn id="101" dur="1" fill="hold">
                                          <p:stCondLst>
                                            <p:cond delay="0"/>
                                          </p:stCondLst>
                                        </p:cTn>
                                        <p:tgtEl>
                                          <p:spTgt spid="99"/>
                                        </p:tgtEl>
                                        <p:attrNameLst>
                                          <p:attrName>style.visibility</p:attrName>
                                        </p:attrNameLst>
                                      </p:cBhvr>
                                      <p:to>
                                        <p:strVal val="visible"/>
                                      </p:to>
                                    </p:set>
                                    <p:anim calcmode="lin" valueType="num">
                                      <p:cBhvr>
                                        <p:cTn id="102" dur="500" fill="hold"/>
                                        <p:tgtEl>
                                          <p:spTgt spid="99"/>
                                        </p:tgtEl>
                                        <p:attrNameLst>
                                          <p:attrName>ppt_x</p:attrName>
                                        </p:attrNameLst>
                                      </p:cBhvr>
                                      <p:tavLst>
                                        <p:tav tm="0">
                                          <p:val>
                                            <p:strVal val="0-#ppt_w/2"/>
                                          </p:val>
                                        </p:tav>
                                        <p:tav tm="100000">
                                          <p:val>
                                            <p:strVal val="#ppt_x"/>
                                          </p:val>
                                        </p:tav>
                                      </p:tavLst>
                                    </p:anim>
                                    <p:anim calcmode="lin" valueType="num">
                                      <p:cBhvr>
                                        <p:cTn id="103" dur="500" fill="hold"/>
                                        <p:tgtEl>
                                          <p:spTgt spid="99"/>
                                        </p:tgtEl>
                                        <p:attrNameLst>
                                          <p:attrName>ppt_y</p:attrName>
                                        </p:attrNameLst>
                                      </p:cBhvr>
                                      <p:tavLst>
                                        <p:tav tm="0">
                                          <p:val>
                                            <p:strVal val="#ppt_y"/>
                                          </p:val>
                                        </p:tav>
                                        <p:tav tm="100000">
                                          <p:val>
                                            <p:strVal val="#ppt_y"/>
                                          </p:val>
                                        </p:tav>
                                      </p:tavLst>
                                    </p:anim>
                                  </p:childTnLst>
                                </p:cTn>
                              </p:par>
                            </p:childTnLst>
                          </p:cTn>
                        </p:par>
                        <p:par>
                          <p:cTn id="104" fill="hold">
                            <p:stCondLst>
                              <p:cond delay="12499"/>
                            </p:stCondLst>
                            <p:childTnLst>
                              <p:par>
                                <p:cTn id="105" presetID="9" presetClass="entr" presetSubtype="0" fill="hold" nodeType="afterEffect">
                                  <p:stCondLst>
                                    <p:cond delay="100"/>
                                  </p:stCondLst>
                                  <p:childTnLst>
                                    <p:set>
                                      <p:cBhvr>
                                        <p:cTn id="106" dur="1" fill="hold">
                                          <p:stCondLst>
                                            <p:cond delay="0"/>
                                          </p:stCondLst>
                                        </p:cTn>
                                        <p:tgtEl>
                                          <p:spTgt spid="101"/>
                                        </p:tgtEl>
                                        <p:attrNameLst>
                                          <p:attrName>style.visibility</p:attrName>
                                        </p:attrNameLst>
                                      </p:cBhvr>
                                      <p:to>
                                        <p:strVal val="visible"/>
                                      </p:to>
                                    </p:set>
                                    <p:animEffect transition="in" filter="dissolve">
                                      <p:cBhvr>
                                        <p:cTn id="107" dur="500"/>
                                        <p:tgtEl>
                                          <p:spTgt spid="101"/>
                                        </p:tgtEl>
                                      </p:cBhvr>
                                    </p:animEffect>
                                  </p:childTnLst>
                                </p:cTn>
                              </p:par>
                            </p:childTnLst>
                          </p:cTn>
                        </p:par>
                        <p:par>
                          <p:cTn id="108" fill="hold">
                            <p:stCondLst>
                              <p:cond delay="13099"/>
                            </p:stCondLst>
                            <p:childTnLst>
                              <p:par>
                                <p:cTn id="109" presetID="2" presetClass="entr" presetSubtype="8" fill="hold" grpId="0" nodeType="afterEffect">
                                  <p:stCondLst>
                                    <p:cond delay="100"/>
                                  </p:stCondLst>
                                  <p:childTnLst>
                                    <p:set>
                                      <p:cBhvr>
                                        <p:cTn id="110" dur="1" fill="hold">
                                          <p:stCondLst>
                                            <p:cond delay="0"/>
                                          </p:stCondLst>
                                        </p:cTn>
                                        <p:tgtEl>
                                          <p:spTgt spid="103"/>
                                        </p:tgtEl>
                                        <p:attrNameLst>
                                          <p:attrName>style.visibility</p:attrName>
                                        </p:attrNameLst>
                                      </p:cBhvr>
                                      <p:to>
                                        <p:strVal val="visible"/>
                                      </p:to>
                                    </p:set>
                                    <p:anim calcmode="lin" valueType="num">
                                      <p:cBhvr>
                                        <p:cTn id="111" dur="500" fill="hold"/>
                                        <p:tgtEl>
                                          <p:spTgt spid="103"/>
                                        </p:tgtEl>
                                        <p:attrNameLst>
                                          <p:attrName>ppt_x</p:attrName>
                                        </p:attrNameLst>
                                      </p:cBhvr>
                                      <p:tavLst>
                                        <p:tav tm="0">
                                          <p:val>
                                            <p:strVal val="0-#ppt_w/2"/>
                                          </p:val>
                                        </p:tav>
                                        <p:tav tm="100000">
                                          <p:val>
                                            <p:strVal val="#ppt_x"/>
                                          </p:val>
                                        </p:tav>
                                      </p:tavLst>
                                    </p:anim>
                                    <p:anim calcmode="lin" valueType="num">
                                      <p:cBhvr>
                                        <p:cTn id="112" dur="500" fill="hold"/>
                                        <p:tgtEl>
                                          <p:spTgt spid="103"/>
                                        </p:tgtEl>
                                        <p:attrNameLst>
                                          <p:attrName>ppt_y</p:attrName>
                                        </p:attrNameLst>
                                      </p:cBhvr>
                                      <p:tavLst>
                                        <p:tav tm="0">
                                          <p:val>
                                            <p:strVal val="#ppt_y"/>
                                          </p:val>
                                        </p:tav>
                                        <p:tav tm="100000">
                                          <p:val>
                                            <p:strVal val="#ppt_y"/>
                                          </p:val>
                                        </p:tav>
                                      </p:tavLst>
                                    </p:anim>
                                  </p:childTnLst>
                                </p:cTn>
                              </p:par>
                            </p:childTnLst>
                          </p:cTn>
                        </p:par>
                        <p:par>
                          <p:cTn id="113" fill="hold">
                            <p:stCondLst>
                              <p:cond delay="13699"/>
                            </p:stCondLst>
                            <p:childTnLst>
                              <p:par>
                                <p:cTn id="114" presetID="2" presetClass="entr" presetSubtype="8" fill="hold" grpId="0" nodeType="afterEffect">
                                  <p:stCondLst>
                                    <p:cond delay="0"/>
                                  </p:stCondLst>
                                  <p:childTnLst>
                                    <p:set>
                                      <p:cBhvr>
                                        <p:cTn id="115" dur="1" fill="hold">
                                          <p:stCondLst>
                                            <p:cond delay="0"/>
                                          </p:stCondLst>
                                        </p:cTn>
                                        <p:tgtEl>
                                          <p:spTgt spid="102"/>
                                        </p:tgtEl>
                                        <p:attrNameLst>
                                          <p:attrName>style.visibility</p:attrName>
                                        </p:attrNameLst>
                                      </p:cBhvr>
                                      <p:to>
                                        <p:strVal val="visible"/>
                                      </p:to>
                                    </p:set>
                                    <p:anim calcmode="lin" valueType="num">
                                      <p:cBhvr>
                                        <p:cTn id="116" dur="500" fill="hold"/>
                                        <p:tgtEl>
                                          <p:spTgt spid="102"/>
                                        </p:tgtEl>
                                        <p:attrNameLst>
                                          <p:attrName>ppt_x</p:attrName>
                                        </p:attrNameLst>
                                      </p:cBhvr>
                                      <p:tavLst>
                                        <p:tav tm="0">
                                          <p:val>
                                            <p:strVal val="0-#ppt_w/2"/>
                                          </p:val>
                                        </p:tav>
                                        <p:tav tm="100000">
                                          <p:val>
                                            <p:strVal val="#ppt_x"/>
                                          </p:val>
                                        </p:tav>
                                      </p:tavLst>
                                    </p:anim>
                                    <p:anim calcmode="lin" valueType="num">
                                      <p:cBhvr>
                                        <p:cTn id="117" dur="500" fill="hold"/>
                                        <p:tgtEl>
                                          <p:spTgt spid="102"/>
                                        </p:tgtEl>
                                        <p:attrNameLst>
                                          <p:attrName>ppt_y</p:attrName>
                                        </p:attrNameLst>
                                      </p:cBhvr>
                                      <p:tavLst>
                                        <p:tav tm="0">
                                          <p:val>
                                            <p:strVal val="#ppt_y"/>
                                          </p:val>
                                        </p:tav>
                                        <p:tav tm="100000">
                                          <p:val>
                                            <p:strVal val="#ppt_y"/>
                                          </p:val>
                                        </p:tav>
                                      </p:tavLst>
                                    </p:anim>
                                  </p:childTnLst>
                                </p:cTn>
                              </p:par>
                            </p:childTnLst>
                          </p:cTn>
                        </p:par>
                        <p:par>
                          <p:cTn id="118" fill="hold">
                            <p:stCondLst>
                              <p:cond delay="14199"/>
                            </p:stCondLst>
                            <p:childTnLst>
                              <p:par>
                                <p:cTn id="119" presetID="9" presetClass="entr" presetSubtype="0" fill="hold" nodeType="afterEffect">
                                  <p:stCondLst>
                                    <p:cond delay="100"/>
                                  </p:stCondLst>
                                  <p:childTnLst>
                                    <p:set>
                                      <p:cBhvr>
                                        <p:cTn id="120" dur="1" fill="hold">
                                          <p:stCondLst>
                                            <p:cond delay="0"/>
                                          </p:stCondLst>
                                        </p:cTn>
                                        <p:tgtEl>
                                          <p:spTgt spid="104"/>
                                        </p:tgtEl>
                                        <p:attrNameLst>
                                          <p:attrName>style.visibility</p:attrName>
                                        </p:attrNameLst>
                                      </p:cBhvr>
                                      <p:to>
                                        <p:strVal val="visible"/>
                                      </p:to>
                                    </p:set>
                                    <p:animEffect transition="in" filter="dissolve">
                                      <p:cBhvr>
                                        <p:cTn id="121" dur="500"/>
                                        <p:tgtEl>
                                          <p:spTgt spid="104"/>
                                        </p:tgtEl>
                                      </p:cBhvr>
                                    </p:animEffect>
                                  </p:childTnLst>
                                </p:cTn>
                              </p:par>
                            </p:childTnLst>
                          </p:cTn>
                        </p:par>
                        <p:par>
                          <p:cTn id="122" fill="hold">
                            <p:stCondLst>
                              <p:cond delay="14799"/>
                            </p:stCondLst>
                            <p:childTnLst>
                              <p:par>
                                <p:cTn id="123" presetID="2" presetClass="entr" presetSubtype="8" fill="hold" grpId="0" nodeType="afterEffect">
                                  <p:stCondLst>
                                    <p:cond delay="100"/>
                                  </p:stCondLst>
                                  <p:childTnLst>
                                    <p:set>
                                      <p:cBhvr>
                                        <p:cTn id="124" dur="1" fill="hold">
                                          <p:stCondLst>
                                            <p:cond delay="0"/>
                                          </p:stCondLst>
                                        </p:cTn>
                                        <p:tgtEl>
                                          <p:spTgt spid="106"/>
                                        </p:tgtEl>
                                        <p:attrNameLst>
                                          <p:attrName>style.visibility</p:attrName>
                                        </p:attrNameLst>
                                      </p:cBhvr>
                                      <p:to>
                                        <p:strVal val="visible"/>
                                      </p:to>
                                    </p:set>
                                    <p:anim calcmode="lin" valueType="num">
                                      <p:cBhvr>
                                        <p:cTn id="125" dur="500" fill="hold"/>
                                        <p:tgtEl>
                                          <p:spTgt spid="106"/>
                                        </p:tgtEl>
                                        <p:attrNameLst>
                                          <p:attrName>ppt_x</p:attrName>
                                        </p:attrNameLst>
                                      </p:cBhvr>
                                      <p:tavLst>
                                        <p:tav tm="0">
                                          <p:val>
                                            <p:strVal val="0-#ppt_w/2"/>
                                          </p:val>
                                        </p:tav>
                                        <p:tav tm="100000">
                                          <p:val>
                                            <p:strVal val="#ppt_x"/>
                                          </p:val>
                                        </p:tav>
                                      </p:tavLst>
                                    </p:anim>
                                    <p:anim calcmode="lin" valueType="num">
                                      <p:cBhvr>
                                        <p:cTn id="126" dur="500" fill="hold"/>
                                        <p:tgtEl>
                                          <p:spTgt spid="106"/>
                                        </p:tgtEl>
                                        <p:attrNameLst>
                                          <p:attrName>ppt_y</p:attrName>
                                        </p:attrNameLst>
                                      </p:cBhvr>
                                      <p:tavLst>
                                        <p:tav tm="0">
                                          <p:val>
                                            <p:strVal val="#ppt_y"/>
                                          </p:val>
                                        </p:tav>
                                        <p:tav tm="100000">
                                          <p:val>
                                            <p:strVal val="#ppt_y"/>
                                          </p:val>
                                        </p:tav>
                                      </p:tavLst>
                                    </p:anim>
                                  </p:childTnLst>
                                </p:cTn>
                              </p:par>
                            </p:childTnLst>
                          </p:cTn>
                        </p:par>
                        <p:par>
                          <p:cTn id="127" fill="hold">
                            <p:stCondLst>
                              <p:cond delay="15399"/>
                            </p:stCondLst>
                            <p:childTnLst>
                              <p:par>
                                <p:cTn id="128" presetID="2" presetClass="entr" presetSubtype="8" fill="hold" grpId="0" nodeType="afterEffect">
                                  <p:stCondLst>
                                    <p:cond delay="0"/>
                                  </p:stCondLst>
                                  <p:childTnLst>
                                    <p:set>
                                      <p:cBhvr>
                                        <p:cTn id="129" dur="1" fill="hold">
                                          <p:stCondLst>
                                            <p:cond delay="0"/>
                                          </p:stCondLst>
                                        </p:cTn>
                                        <p:tgtEl>
                                          <p:spTgt spid="105"/>
                                        </p:tgtEl>
                                        <p:attrNameLst>
                                          <p:attrName>style.visibility</p:attrName>
                                        </p:attrNameLst>
                                      </p:cBhvr>
                                      <p:to>
                                        <p:strVal val="visible"/>
                                      </p:to>
                                    </p:set>
                                    <p:anim calcmode="lin" valueType="num">
                                      <p:cBhvr>
                                        <p:cTn id="130" dur="500" fill="hold"/>
                                        <p:tgtEl>
                                          <p:spTgt spid="105"/>
                                        </p:tgtEl>
                                        <p:attrNameLst>
                                          <p:attrName>ppt_x</p:attrName>
                                        </p:attrNameLst>
                                      </p:cBhvr>
                                      <p:tavLst>
                                        <p:tav tm="0">
                                          <p:val>
                                            <p:strVal val="0-#ppt_w/2"/>
                                          </p:val>
                                        </p:tav>
                                        <p:tav tm="100000">
                                          <p:val>
                                            <p:strVal val="#ppt_x"/>
                                          </p:val>
                                        </p:tav>
                                      </p:tavLst>
                                    </p:anim>
                                    <p:anim calcmode="lin" valueType="num">
                                      <p:cBhvr>
                                        <p:cTn id="131" dur="500" fill="hold"/>
                                        <p:tgtEl>
                                          <p:spTgt spid="105"/>
                                        </p:tgtEl>
                                        <p:attrNameLst>
                                          <p:attrName>ppt_y</p:attrName>
                                        </p:attrNameLst>
                                      </p:cBhvr>
                                      <p:tavLst>
                                        <p:tav tm="0">
                                          <p:val>
                                            <p:strVal val="#ppt_y"/>
                                          </p:val>
                                        </p:tav>
                                        <p:tav tm="100000">
                                          <p:val>
                                            <p:strVal val="#ppt_y"/>
                                          </p:val>
                                        </p:tav>
                                      </p:tavLst>
                                    </p:anim>
                                  </p:childTnLst>
                                </p:cTn>
                              </p:par>
                            </p:childTnLst>
                          </p:cTn>
                        </p:par>
                        <p:par>
                          <p:cTn id="132" fill="hold">
                            <p:stCondLst>
                              <p:cond delay="15899"/>
                            </p:stCondLst>
                            <p:childTnLst>
                              <p:par>
                                <p:cTn id="133" presetID="9" presetClass="entr" presetSubtype="0" fill="hold" nodeType="afterEffect">
                                  <p:stCondLst>
                                    <p:cond delay="100"/>
                                  </p:stCondLst>
                                  <p:childTnLst>
                                    <p:set>
                                      <p:cBhvr>
                                        <p:cTn id="134" dur="1" fill="hold">
                                          <p:stCondLst>
                                            <p:cond delay="0"/>
                                          </p:stCondLst>
                                        </p:cTn>
                                        <p:tgtEl>
                                          <p:spTgt spid="107"/>
                                        </p:tgtEl>
                                        <p:attrNameLst>
                                          <p:attrName>style.visibility</p:attrName>
                                        </p:attrNameLst>
                                      </p:cBhvr>
                                      <p:to>
                                        <p:strVal val="visible"/>
                                      </p:to>
                                    </p:set>
                                    <p:animEffect transition="in" filter="dissolve">
                                      <p:cBhvr>
                                        <p:cTn id="135" dur="500"/>
                                        <p:tgtEl>
                                          <p:spTgt spid="1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0" grpId="0"/>
      <p:bldP spid="91" grpId="0"/>
      <p:bldP spid="93" grpId="0"/>
      <p:bldP spid="94" grpId="0"/>
      <p:bldP spid="96" grpId="0"/>
      <p:bldP spid="97" grpId="0"/>
      <p:bldP spid="99" grpId="0"/>
      <p:bldP spid="100" grpId="0"/>
      <p:bldP spid="102" grpId="0"/>
      <p:bldP spid="103" grpId="0"/>
      <p:bldP spid="105" grpId="0"/>
      <p:bldP spid="106" grpId="0"/>
      <p:bldP spid="46" grpId="0" animBg="1"/>
      <p:bldP spid="49"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 Placeholder 3"/>
          <p:cNvSpPr txBox="1">
            <a:spLocks noChangeArrowheads="1"/>
          </p:cNvSpPr>
          <p:nvPr/>
        </p:nvSpPr>
        <p:spPr bwMode="auto">
          <a:xfrm>
            <a:off x="1516577" y="1528318"/>
            <a:ext cx="599523" cy="775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92505">
              <a:defRPr>
                <a:solidFill>
                  <a:schemeClr val="tx1"/>
                </a:solidFill>
                <a:latin typeface="Calibri" panose="020F0502020204030204" pitchFamily="34" charset="0"/>
                <a:ea typeface="宋体" panose="02010600030101010101" pitchFamily="2" charset="-122"/>
              </a:defRPr>
            </a:lvl1pPr>
            <a:lvl2pPr defTabSz="992505">
              <a:defRPr>
                <a:solidFill>
                  <a:schemeClr val="tx1"/>
                </a:solidFill>
                <a:latin typeface="Calibri" panose="020F0502020204030204" pitchFamily="34" charset="0"/>
                <a:ea typeface="宋体" panose="02010600030101010101" pitchFamily="2" charset="-122"/>
              </a:defRPr>
            </a:lvl2pPr>
            <a:lvl3pPr defTabSz="992505">
              <a:defRPr>
                <a:solidFill>
                  <a:schemeClr val="tx1"/>
                </a:solidFill>
                <a:latin typeface="Calibri" panose="020F0502020204030204" pitchFamily="34" charset="0"/>
                <a:ea typeface="宋体" panose="02010600030101010101" pitchFamily="2" charset="-122"/>
              </a:defRPr>
            </a:lvl3pPr>
            <a:lvl4pPr defTabSz="992505">
              <a:defRPr>
                <a:solidFill>
                  <a:schemeClr val="tx1"/>
                </a:solidFill>
                <a:latin typeface="Calibri" panose="020F0502020204030204" pitchFamily="34" charset="0"/>
                <a:ea typeface="宋体" panose="02010600030101010101" pitchFamily="2" charset="-122"/>
              </a:defRPr>
            </a:lvl4pPr>
            <a:lvl5pPr defTabSz="992505">
              <a:defRPr>
                <a:solidFill>
                  <a:schemeClr val="tx1"/>
                </a:solidFill>
                <a:latin typeface="Calibri" panose="020F0502020204030204" pitchFamily="34" charset="0"/>
                <a:ea typeface="宋体" panose="02010600030101010101" pitchFamily="2" charset="-122"/>
              </a:defRPr>
            </a:lvl5pPr>
            <a:lvl6pPr marL="30257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34829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9401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43973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lnSpc>
                <a:spcPct val="120000"/>
              </a:lnSpc>
              <a:spcBef>
                <a:spcPct val="20000"/>
              </a:spcBef>
            </a:pPr>
            <a:r>
              <a:rPr lang="en-US" altLang="en-US" sz="4200" b="1" dirty="0">
                <a:solidFill>
                  <a:srgbClr val="00A4E3"/>
                </a:solidFill>
                <a:latin typeface="Arial" panose="020B0604020202020204" pitchFamily="34" charset="0"/>
                <a:ea typeface="微软雅黑" panose="020B0503020204020204" pitchFamily="34" charset="-122"/>
                <a:sym typeface="Arial" panose="020B0604020202020204" pitchFamily="34" charset="0"/>
              </a:rPr>
              <a:t>01</a:t>
            </a:r>
          </a:p>
        </p:txBody>
      </p:sp>
      <p:sp>
        <p:nvSpPr>
          <p:cNvPr id="42" name="Text Placeholder 3"/>
          <p:cNvSpPr txBox="1">
            <a:spLocks noChangeArrowheads="1"/>
          </p:cNvSpPr>
          <p:nvPr/>
        </p:nvSpPr>
        <p:spPr bwMode="auto">
          <a:xfrm>
            <a:off x="3560166" y="1528318"/>
            <a:ext cx="599523" cy="775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92505">
              <a:defRPr>
                <a:solidFill>
                  <a:schemeClr val="tx1"/>
                </a:solidFill>
                <a:latin typeface="Calibri" panose="020F0502020204030204" pitchFamily="34" charset="0"/>
                <a:ea typeface="宋体" panose="02010600030101010101" pitchFamily="2" charset="-122"/>
              </a:defRPr>
            </a:lvl1pPr>
            <a:lvl2pPr defTabSz="992505">
              <a:defRPr>
                <a:solidFill>
                  <a:schemeClr val="tx1"/>
                </a:solidFill>
                <a:latin typeface="Calibri" panose="020F0502020204030204" pitchFamily="34" charset="0"/>
                <a:ea typeface="宋体" panose="02010600030101010101" pitchFamily="2" charset="-122"/>
              </a:defRPr>
            </a:lvl2pPr>
            <a:lvl3pPr defTabSz="992505">
              <a:defRPr>
                <a:solidFill>
                  <a:schemeClr val="tx1"/>
                </a:solidFill>
                <a:latin typeface="Calibri" panose="020F0502020204030204" pitchFamily="34" charset="0"/>
                <a:ea typeface="宋体" panose="02010600030101010101" pitchFamily="2" charset="-122"/>
              </a:defRPr>
            </a:lvl3pPr>
            <a:lvl4pPr defTabSz="992505">
              <a:defRPr>
                <a:solidFill>
                  <a:schemeClr val="tx1"/>
                </a:solidFill>
                <a:latin typeface="Calibri" panose="020F0502020204030204" pitchFamily="34" charset="0"/>
                <a:ea typeface="宋体" panose="02010600030101010101" pitchFamily="2" charset="-122"/>
              </a:defRPr>
            </a:lvl4pPr>
            <a:lvl5pPr defTabSz="992505">
              <a:defRPr>
                <a:solidFill>
                  <a:schemeClr val="tx1"/>
                </a:solidFill>
                <a:latin typeface="Calibri" panose="020F0502020204030204" pitchFamily="34" charset="0"/>
                <a:ea typeface="宋体" panose="02010600030101010101" pitchFamily="2" charset="-122"/>
              </a:defRPr>
            </a:lvl5pPr>
            <a:lvl6pPr marL="30257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34829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9401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43973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eaLnBrk="1" hangingPunct="1">
              <a:lnSpc>
                <a:spcPct val="120000"/>
              </a:lnSpc>
              <a:spcBef>
                <a:spcPct val="20000"/>
              </a:spcBef>
            </a:pPr>
            <a:r>
              <a:rPr lang="en-US" altLang="en-US" sz="4200" b="1">
                <a:solidFill>
                  <a:srgbClr val="00A4E3"/>
                </a:solidFill>
                <a:latin typeface="Arial" panose="020B0604020202020204" pitchFamily="34" charset="0"/>
                <a:ea typeface="微软雅黑" panose="020B0503020204020204" pitchFamily="34" charset="-122"/>
                <a:sym typeface="Arial" panose="020B0604020202020204" pitchFamily="34" charset="0"/>
              </a:rPr>
              <a:t>02</a:t>
            </a:r>
          </a:p>
        </p:txBody>
      </p:sp>
      <p:sp>
        <p:nvSpPr>
          <p:cNvPr id="43" name="Text Placeholder 3"/>
          <p:cNvSpPr txBox="1"/>
          <p:nvPr/>
        </p:nvSpPr>
        <p:spPr>
          <a:xfrm>
            <a:off x="5689321" y="1528318"/>
            <a:ext cx="599523" cy="775597"/>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693420" eaLnBrk="1" hangingPunct="1">
              <a:lnSpc>
                <a:spcPct val="120000"/>
              </a:lnSpc>
              <a:spcBef>
                <a:spcPct val="20000"/>
              </a:spcBef>
              <a:defRPr/>
            </a:pPr>
            <a:r>
              <a:rPr lang="en-US" sz="4200" noProof="1">
                <a:solidFill>
                  <a:srgbClr val="00A4E3"/>
                </a:solidFill>
                <a:latin typeface="Arial" panose="020B0604020202020204" pitchFamily="34" charset="0"/>
                <a:ea typeface="微软雅黑" panose="020B0503020204020204" pitchFamily="34" charset="-122"/>
                <a:cs typeface="+mn-ea"/>
                <a:sym typeface="Arial" panose="020B0604020202020204" pitchFamily="34" charset="0"/>
              </a:rPr>
              <a:t>03</a:t>
            </a:r>
          </a:p>
        </p:txBody>
      </p:sp>
      <p:sp>
        <p:nvSpPr>
          <p:cNvPr id="44" name="Freeform 11"/>
          <p:cNvSpPr>
            <a:spLocks noEditPoints="1" noChangeArrowheads="1"/>
          </p:cNvSpPr>
          <p:nvPr/>
        </p:nvSpPr>
        <p:spPr bwMode="auto">
          <a:xfrm>
            <a:off x="3538220" y="2159502"/>
            <a:ext cx="643414" cy="589659"/>
          </a:xfrm>
          <a:custGeom>
            <a:avLst/>
            <a:gdLst>
              <a:gd name="T0" fmla="*/ 919163 w 102"/>
              <a:gd name="T1" fmla="*/ 378062 h 94"/>
              <a:gd name="T2" fmla="*/ 919163 w 102"/>
              <a:gd name="T3" fmla="*/ 369060 h 94"/>
              <a:gd name="T4" fmla="*/ 919163 w 102"/>
              <a:gd name="T5" fmla="*/ 369060 h 94"/>
              <a:gd name="T6" fmla="*/ 919163 w 102"/>
              <a:gd name="T7" fmla="*/ 369060 h 94"/>
              <a:gd name="T8" fmla="*/ 774981 w 102"/>
              <a:gd name="T9" fmla="*/ 315051 h 94"/>
              <a:gd name="T10" fmla="*/ 901140 w 102"/>
              <a:gd name="T11" fmla="*/ 117019 h 94"/>
              <a:gd name="T12" fmla="*/ 892129 w 102"/>
              <a:gd name="T13" fmla="*/ 36006 h 94"/>
              <a:gd name="T14" fmla="*/ 874106 w 102"/>
              <a:gd name="T15" fmla="*/ 18003 h 94"/>
              <a:gd name="T16" fmla="*/ 793003 w 102"/>
              <a:gd name="T17" fmla="*/ 27004 h 94"/>
              <a:gd name="T18" fmla="*/ 513650 w 102"/>
              <a:gd name="T19" fmla="*/ 288047 h 94"/>
              <a:gd name="T20" fmla="*/ 459581 w 102"/>
              <a:gd name="T21" fmla="*/ 288047 h 94"/>
              <a:gd name="T22" fmla="*/ 0 w 102"/>
              <a:gd name="T23" fmla="*/ 369060 h 94"/>
              <a:gd name="T24" fmla="*/ 0 w 102"/>
              <a:gd name="T25" fmla="*/ 369060 h 94"/>
              <a:gd name="T26" fmla="*/ 0 w 102"/>
              <a:gd name="T27" fmla="*/ 369060 h 94"/>
              <a:gd name="T28" fmla="*/ 0 w 102"/>
              <a:gd name="T29" fmla="*/ 378062 h 94"/>
              <a:gd name="T30" fmla="*/ 0 w 102"/>
              <a:gd name="T31" fmla="*/ 378062 h 94"/>
              <a:gd name="T32" fmla="*/ 0 w 102"/>
              <a:gd name="T33" fmla="*/ 378062 h 94"/>
              <a:gd name="T34" fmla="*/ 459581 w 102"/>
              <a:gd name="T35" fmla="*/ 846138 h 94"/>
              <a:gd name="T36" fmla="*/ 919163 w 102"/>
              <a:gd name="T37" fmla="*/ 378062 h 94"/>
              <a:gd name="T38" fmla="*/ 919163 w 102"/>
              <a:gd name="T39" fmla="*/ 378062 h 94"/>
              <a:gd name="T40" fmla="*/ 919163 w 102"/>
              <a:gd name="T41" fmla="*/ 378062 h 94"/>
              <a:gd name="T42" fmla="*/ 765969 w 102"/>
              <a:gd name="T43" fmla="*/ 90015 h 94"/>
              <a:gd name="T44" fmla="*/ 793003 w 102"/>
              <a:gd name="T45" fmla="*/ 117019 h 94"/>
              <a:gd name="T46" fmla="*/ 765969 w 102"/>
              <a:gd name="T47" fmla="*/ 135022 h 94"/>
              <a:gd name="T48" fmla="*/ 747946 w 102"/>
              <a:gd name="T49" fmla="*/ 117019 h 94"/>
              <a:gd name="T50" fmla="*/ 765969 w 102"/>
              <a:gd name="T51" fmla="*/ 90015 h 94"/>
              <a:gd name="T52" fmla="*/ 711901 w 102"/>
              <a:gd name="T53" fmla="*/ 144023 h 94"/>
              <a:gd name="T54" fmla="*/ 729924 w 102"/>
              <a:gd name="T55" fmla="*/ 144023 h 94"/>
              <a:gd name="T56" fmla="*/ 729924 w 102"/>
              <a:gd name="T57" fmla="*/ 162026 h 94"/>
              <a:gd name="T58" fmla="*/ 540684 w 102"/>
              <a:gd name="T59" fmla="*/ 360059 h 94"/>
              <a:gd name="T60" fmla="*/ 522661 w 102"/>
              <a:gd name="T61" fmla="*/ 369060 h 94"/>
              <a:gd name="T62" fmla="*/ 513650 w 102"/>
              <a:gd name="T63" fmla="*/ 360059 h 94"/>
              <a:gd name="T64" fmla="*/ 513650 w 102"/>
              <a:gd name="T65" fmla="*/ 342056 h 94"/>
              <a:gd name="T66" fmla="*/ 711901 w 102"/>
              <a:gd name="T67" fmla="*/ 144023 h 94"/>
              <a:gd name="T68" fmla="*/ 459581 w 102"/>
              <a:gd name="T69" fmla="*/ 459075 h 94"/>
              <a:gd name="T70" fmla="*/ 81103 w 102"/>
              <a:gd name="T71" fmla="*/ 396065 h 94"/>
              <a:gd name="T72" fmla="*/ 459581 w 102"/>
              <a:gd name="T73" fmla="*/ 333054 h 94"/>
              <a:gd name="T74" fmla="*/ 468593 w 102"/>
              <a:gd name="T75" fmla="*/ 333054 h 94"/>
              <a:gd name="T76" fmla="*/ 378479 w 102"/>
              <a:gd name="T77" fmla="*/ 423069 h 94"/>
              <a:gd name="T78" fmla="*/ 711901 w 102"/>
              <a:gd name="T79" fmla="*/ 414068 h 94"/>
              <a:gd name="T80" fmla="*/ 747946 w 102"/>
              <a:gd name="T81" fmla="*/ 351057 h 94"/>
              <a:gd name="T82" fmla="*/ 838060 w 102"/>
              <a:gd name="T83" fmla="*/ 396065 h 94"/>
              <a:gd name="T84" fmla="*/ 459581 w 102"/>
              <a:gd name="T85" fmla="*/ 459075 h 94"/>
              <a:gd name="T86" fmla="*/ 459581 w 102"/>
              <a:gd name="T87" fmla="*/ 459075 h 94"/>
              <a:gd name="T88" fmla="*/ 459581 w 102"/>
              <a:gd name="T89" fmla="*/ 459075 h 9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02" h="94">
                <a:moveTo>
                  <a:pt x="102" y="42"/>
                </a:moveTo>
                <a:cubicBezTo>
                  <a:pt x="102" y="42"/>
                  <a:pt x="102" y="42"/>
                  <a:pt x="102" y="41"/>
                </a:cubicBezTo>
                <a:cubicBezTo>
                  <a:pt x="102" y="41"/>
                  <a:pt x="102" y="41"/>
                  <a:pt x="102" y="41"/>
                </a:cubicBezTo>
                <a:cubicBezTo>
                  <a:pt x="102" y="41"/>
                  <a:pt x="102" y="41"/>
                  <a:pt x="102" y="41"/>
                </a:cubicBezTo>
                <a:cubicBezTo>
                  <a:pt x="101" y="39"/>
                  <a:pt x="95" y="37"/>
                  <a:pt x="86" y="35"/>
                </a:cubicBezTo>
                <a:cubicBezTo>
                  <a:pt x="100" y="13"/>
                  <a:pt x="100" y="13"/>
                  <a:pt x="100" y="13"/>
                </a:cubicBezTo>
                <a:cubicBezTo>
                  <a:pt x="102" y="10"/>
                  <a:pt x="101" y="6"/>
                  <a:pt x="99" y="4"/>
                </a:cubicBezTo>
                <a:cubicBezTo>
                  <a:pt x="97" y="2"/>
                  <a:pt x="97" y="2"/>
                  <a:pt x="97" y="2"/>
                </a:cubicBezTo>
                <a:cubicBezTo>
                  <a:pt x="94" y="0"/>
                  <a:pt x="90" y="1"/>
                  <a:pt x="88" y="3"/>
                </a:cubicBezTo>
                <a:cubicBezTo>
                  <a:pt x="57" y="32"/>
                  <a:pt x="57" y="32"/>
                  <a:pt x="57" y="32"/>
                </a:cubicBezTo>
                <a:cubicBezTo>
                  <a:pt x="55" y="32"/>
                  <a:pt x="53" y="32"/>
                  <a:pt x="51" y="32"/>
                </a:cubicBezTo>
                <a:cubicBezTo>
                  <a:pt x="24" y="32"/>
                  <a:pt x="2" y="36"/>
                  <a:pt x="0" y="41"/>
                </a:cubicBezTo>
                <a:cubicBezTo>
                  <a:pt x="0" y="41"/>
                  <a:pt x="0" y="41"/>
                  <a:pt x="0" y="41"/>
                </a:cubicBezTo>
                <a:cubicBezTo>
                  <a:pt x="0" y="41"/>
                  <a:pt x="0" y="41"/>
                  <a:pt x="0" y="41"/>
                </a:cubicBezTo>
                <a:cubicBezTo>
                  <a:pt x="0" y="42"/>
                  <a:pt x="0" y="42"/>
                  <a:pt x="0" y="42"/>
                </a:cubicBezTo>
                <a:cubicBezTo>
                  <a:pt x="0" y="42"/>
                  <a:pt x="0" y="42"/>
                  <a:pt x="0" y="42"/>
                </a:cubicBezTo>
                <a:cubicBezTo>
                  <a:pt x="0" y="42"/>
                  <a:pt x="0" y="42"/>
                  <a:pt x="0" y="42"/>
                </a:cubicBezTo>
                <a:cubicBezTo>
                  <a:pt x="0" y="71"/>
                  <a:pt x="23" y="94"/>
                  <a:pt x="51" y="94"/>
                </a:cubicBezTo>
                <a:cubicBezTo>
                  <a:pt x="79" y="94"/>
                  <a:pt x="102" y="70"/>
                  <a:pt x="102" y="42"/>
                </a:cubicBezTo>
                <a:cubicBezTo>
                  <a:pt x="102" y="42"/>
                  <a:pt x="102" y="42"/>
                  <a:pt x="102" y="42"/>
                </a:cubicBezTo>
                <a:cubicBezTo>
                  <a:pt x="102" y="42"/>
                  <a:pt x="102" y="42"/>
                  <a:pt x="102" y="42"/>
                </a:cubicBezTo>
                <a:close/>
                <a:moveTo>
                  <a:pt x="85" y="10"/>
                </a:moveTo>
                <a:cubicBezTo>
                  <a:pt x="87" y="10"/>
                  <a:pt x="88" y="11"/>
                  <a:pt x="88" y="13"/>
                </a:cubicBezTo>
                <a:cubicBezTo>
                  <a:pt x="88" y="14"/>
                  <a:pt x="87" y="15"/>
                  <a:pt x="85" y="15"/>
                </a:cubicBezTo>
                <a:cubicBezTo>
                  <a:pt x="84" y="15"/>
                  <a:pt x="83" y="14"/>
                  <a:pt x="83" y="13"/>
                </a:cubicBezTo>
                <a:cubicBezTo>
                  <a:pt x="83" y="11"/>
                  <a:pt x="84" y="10"/>
                  <a:pt x="85" y="10"/>
                </a:cubicBezTo>
                <a:close/>
                <a:moveTo>
                  <a:pt x="79" y="16"/>
                </a:moveTo>
                <a:cubicBezTo>
                  <a:pt x="79" y="15"/>
                  <a:pt x="81" y="15"/>
                  <a:pt x="81" y="16"/>
                </a:cubicBezTo>
                <a:cubicBezTo>
                  <a:pt x="82" y="17"/>
                  <a:pt x="82" y="18"/>
                  <a:pt x="81" y="18"/>
                </a:cubicBezTo>
                <a:cubicBezTo>
                  <a:pt x="60" y="40"/>
                  <a:pt x="60" y="40"/>
                  <a:pt x="60" y="40"/>
                </a:cubicBezTo>
                <a:cubicBezTo>
                  <a:pt x="59" y="41"/>
                  <a:pt x="59" y="41"/>
                  <a:pt x="58" y="41"/>
                </a:cubicBezTo>
                <a:cubicBezTo>
                  <a:pt x="58" y="41"/>
                  <a:pt x="57" y="41"/>
                  <a:pt x="57" y="40"/>
                </a:cubicBezTo>
                <a:cubicBezTo>
                  <a:pt x="56" y="40"/>
                  <a:pt x="56" y="38"/>
                  <a:pt x="57" y="38"/>
                </a:cubicBezTo>
                <a:lnTo>
                  <a:pt x="79" y="16"/>
                </a:lnTo>
                <a:close/>
                <a:moveTo>
                  <a:pt x="51" y="51"/>
                </a:moveTo>
                <a:cubicBezTo>
                  <a:pt x="28" y="51"/>
                  <a:pt x="9" y="48"/>
                  <a:pt x="9" y="44"/>
                </a:cubicBezTo>
                <a:cubicBezTo>
                  <a:pt x="9" y="40"/>
                  <a:pt x="28" y="37"/>
                  <a:pt x="51" y="37"/>
                </a:cubicBezTo>
                <a:cubicBezTo>
                  <a:pt x="51" y="37"/>
                  <a:pt x="52" y="37"/>
                  <a:pt x="52" y="37"/>
                </a:cubicBezTo>
                <a:cubicBezTo>
                  <a:pt x="42" y="47"/>
                  <a:pt x="42" y="47"/>
                  <a:pt x="42" y="47"/>
                </a:cubicBezTo>
                <a:cubicBezTo>
                  <a:pt x="42" y="47"/>
                  <a:pt x="61" y="49"/>
                  <a:pt x="79" y="46"/>
                </a:cubicBezTo>
                <a:cubicBezTo>
                  <a:pt x="83" y="39"/>
                  <a:pt x="83" y="39"/>
                  <a:pt x="83" y="39"/>
                </a:cubicBezTo>
                <a:cubicBezTo>
                  <a:pt x="89" y="41"/>
                  <a:pt x="93" y="42"/>
                  <a:pt x="93" y="44"/>
                </a:cubicBezTo>
                <a:cubicBezTo>
                  <a:pt x="93" y="48"/>
                  <a:pt x="74" y="51"/>
                  <a:pt x="51" y="51"/>
                </a:cubicBezTo>
                <a:close/>
                <a:moveTo>
                  <a:pt x="51" y="51"/>
                </a:moveTo>
                <a:cubicBezTo>
                  <a:pt x="51" y="51"/>
                  <a:pt x="51" y="51"/>
                  <a:pt x="51" y="51"/>
                </a:cubicBezTo>
              </a:path>
            </a:pathLst>
          </a:custGeom>
          <a:solidFill>
            <a:srgbClr val="0070C0"/>
          </a:solidFill>
          <a:ln>
            <a:noFill/>
          </a:ln>
        </p:spPr>
        <p:txBody>
          <a:bodyPr lIns="69341" tIns="34671" rIns="69341" bIns="34671"/>
          <a:lstStyle/>
          <a:p>
            <a:endParaRPr lang="zh-CN" altLang="en-US"/>
          </a:p>
        </p:txBody>
      </p:sp>
      <p:grpSp>
        <p:nvGrpSpPr>
          <p:cNvPr id="45" name="Group 14"/>
          <p:cNvGrpSpPr>
            <a:grpSpLocks noChangeAspect="1"/>
          </p:cNvGrpSpPr>
          <p:nvPr/>
        </p:nvGrpSpPr>
        <p:grpSpPr bwMode="auto">
          <a:xfrm>
            <a:off x="1522428" y="2203103"/>
            <a:ext cx="587280" cy="584665"/>
            <a:chOff x="2761" y="1501"/>
            <a:chExt cx="487" cy="487"/>
          </a:xfrm>
          <a:solidFill>
            <a:srgbClr val="0070C0"/>
          </a:solidFill>
        </p:grpSpPr>
        <p:sp>
          <p:nvSpPr>
            <p:cNvPr id="46" name="Freeform 15"/>
            <p:cNvSpPr>
              <a:spLocks noEditPoints="1"/>
            </p:cNvSpPr>
            <p:nvPr/>
          </p:nvSpPr>
          <p:spPr bwMode="auto">
            <a:xfrm>
              <a:off x="2761" y="1549"/>
              <a:ext cx="487" cy="439"/>
            </a:xfrm>
            <a:custGeom>
              <a:avLst/>
              <a:gdLst/>
              <a:ahLst/>
              <a:cxnLst>
                <a:cxn ang="0">
                  <a:pos x="64" y="30"/>
                </a:cxn>
                <a:cxn ang="0">
                  <a:pos x="76" y="36"/>
                </a:cxn>
                <a:cxn ang="0">
                  <a:pos x="93" y="41"/>
                </a:cxn>
                <a:cxn ang="0">
                  <a:pos x="102" y="40"/>
                </a:cxn>
                <a:cxn ang="0">
                  <a:pos x="102" y="4"/>
                </a:cxn>
                <a:cxn ang="0">
                  <a:pos x="97" y="0"/>
                </a:cxn>
                <a:cxn ang="0">
                  <a:pos x="85" y="0"/>
                </a:cxn>
                <a:cxn ang="0">
                  <a:pos x="80" y="4"/>
                </a:cxn>
                <a:cxn ang="0">
                  <a:pos x="80" y="10"/>
                </a:cxn>
                <a:cxn ang="0">
                  <a:pos x="76" y="14"/>
                </a:cxn>
                <a:cxn ang="0">
                  <a:pos x="26" y="14"/>
                </a:cxn>
                <a:cxn ang="0">
                  <a:pos x="22" y="10"/>
                </a:cxn>
                <a:cxn ang="0">
                  <a:pos x="22" y="4"/>
                </a:cxn>
                <a:cxn ang="0">
                  <a:pos x="17" y="0"/>
                </a:cxn>
                <a:cxn ang="0">
                  <a:pos x="4" y="0"/>
                </a:cxn>
                <a:cxn ang="0">
                  <a:pos x="0" y="4"/>
                </a:cxn>
                <a:cxn ang="0">
                  <a:pos x="0" y="75"/>
                </a:cxn>
                <a:cxn ang="0">
                  <a:pos x="6" y="70"/>
                </a:cxn>
                <a:cxn ang="0">
                  <a:pos x="8" y="67"/>
                </a:cxn>
                <a:cxn ang="0">
                  <a:pos x="17" y="52"/>
                </a:cxn>
                <a:cxn ang="0">
                  <a:pos x="16" y="50"/>
                </a:cxn>
                <a:cxn ang="0">
                  <a:pos x="16" y="50"/>
                </a:cxn>
                <a:cxn ang="0">
                  <a:pos x="16" y="50"/>
                </a:cxn>
                <a:cxn ang="0">
                  <a:pos x="20" y="41"/>
                </a:cxn>
                <a:cxn ang="0">
                  <a:pos x="35" y="41"/>
                </a:cxn>
                <a:cxn ang="0">
                  <a:pos x="38" y="46"/>
                </a:cxn>
                <a:cxn ang="0">
                  <a:pos x="45" y="53"/>
                </a:cxn>
                <a:cxn ang="0">
                  <a:pos x="49" y="56"/>
                </a:cxn>
                <a:cxn ang="0">
                  <a:pos x="49" y="72"/>
                </a:cxn>
                <a:cxn ang="0">
                  <a:pos x="36" y="74"/>
                </a:cxn>
                <a:cxn ang="0">
                  <a:pos x="19" y="80"/>
                </a:cxn>
                <a:cxn ang="0">
                  <a:pos x="6" y="92"/>
                </a:cxn>
                <a:cxn ang="0">
                  <a:pos x="97" y="92"/>
                </a:cxn>
                <a:cxn ang="0">
                  <a:pos x="102" y="87"/>
                </a:cxn>
                <a:cxn ang="0">
                  <a:pos x="102" y="57"/>
                </a:cxn>
                <a:cxn ang="0">
                  <a:pos x="98" y="57"/>
                </a:cxn>
                <a:cxn ang="0">
                  <a:pos x="94" y="58"/>
                </a:cxn>
                <a:cxn ang="0">
                  <a:pos x="78" y="65"/>
                </a:cxn>
                <a:cxn ang="0">
                  <a:pos x="78" y="67"/>
                </a:cxn>
                <a:cxn ang="0">
                  <a:pos x="77" y="67"/>
                </a:cxn>
                <a:cxn ang="0">
                  <a:pos x="77" y="67"/>
                </a:cxn>
                <a:cxn ang="0">
                  <a:pos x="69" y="72"/>
                </a:cxn>
                <a:cxn ang="0">
                  <a:pos x="57" y="63"/>
                </a:cxn>
                <a:cxn ang="0">
                  <a:pos x="58" y="57"/>
                </a:cxn>
                <a:cxn ang="0">
                  <a:pos x="56" y="47"/>
                </a:cxn>
                <a:cxn ang="0">
                  <a:pos x="55" y="42"/>
                </a:cxn>
                <a:cxn ang="0">
                  <a:pos x="64" y="30"/>
                </a:cxn>
                <a:cxn ang="0">
                  <a:pos x="48" y="46"/>
                </a:cxn>
                <a:cxn ang="0">
                  <a:pos x="39" y="39"/>
                </a:cxn>
                <a:cxn ang="0">
                  <a:pos x="49" y="31"/>
                </a:cxn>
                <a:cxn ang="0">
                  <a:pos x="48" y="46"/>
                </a:cxn>
                <a:cxn ang="0">
                  <a:pos x="48" y="46"/>
                </a:cxn>
                <a:cxn ang="0">
                  <a:pos x="48" y="46"/>
                </a:cxn>
              </a:cxnLst>
              <a:rect l="0" t="0" r="r" b="b"/>
              <a:pathLst>
                <a:path w="102" h="92">
                  <a:moveTo>
                    <a:pt x="64" y="30"/>
                  </a:moveTo>
                  <a:cubicBezTo>
                    <a:pt x="69" y="30"/>
                    <a:pt x="74" y="32"/>
                    <a:pt x="76" y="36"/>
                  </a:cubicBezTo>
                  <a:cubicBezTo>
                    <a:pt x="76" y="38"/>
                    <a:pt x="80" y="42"/>
                    <a:pt x="93" y="41"/>
                  </a:cubicBezTo>
                  <a:cubicBezTo>
                    <a:pt x="102" y="40"/>
                    <a:pt x="102" y="40"/>
                    <a:pt x="102" y="40"/>
                  </a:cubicBezTo>
                  <a:cubicBezTo>
                    <a:pt x="102" y="4"/>
                    <a:pt x="102" y="4"/>
                    <a:pt x="102" y="4"/>
                  </a:cubicBezTo>
                  <a:cubicBezTo>
                    <a:pt x="102" y="2"/>
                    <a:pt x="100" y="0"/>
                    <a:pt x="97" y="0"/>
                  </a:cubicBezTo>
                  <a:cubicBezTo>
                    <a:pt x="85" y="0"/>
                    <a:pt x="85" y="0"/>
                    <a:pt x="85" y="0"/>
                  </a:cubicBezTo>
                  <a:cubicBezTo>
                    <a:pt x="82" y="0"/>
                    <a:pt x="80" y="2"/>
                    <a:pt x="80" y="4"/>
                  </a:cubicBezTo>
                  <a:cubicBezTo>
                    <a:pt x="80" y="10"/>
                    <a:pt x="80" y="10"/>
                    <a:pt x="80" y="10"/>
                  </a:cubicBezTo>
                  <a:cubicBezTo>
                    <a:pt x="80" y="12"/>
                    <a:pt x="78" y="14"/>
                    <a:pt x="76" y="14"/>
                  </a:cubicBezTo>
                  <a:cubicBezTo>
                    <a:pt x="26" y="14"/>
                    <a:pt x="26" y="14"/>
                    <a:pt x="26" y="14"/>
                  </a:cubicBezTo>
                  <a:cubicBezTo>
                    <a:pt x="24" y="14"/>
                    <a:pt x="22" y="12"/>
                    <a:pt x="22" y="10"/>
                  </a:cubicBezTo>
                  <a:cubicBezTo>
                    <a:pt x="22" y="4"/>
                    <a:pt x="22" y="4"/>
                    <a:pt x="22" y="4"/>
                  </a:cubicBezTo>
                  <a:cubicBezTo>
                    <a:pt x="22" y="2"/>
                    <a:pt x="20" y="0"/>
                    <a:pt x="17" y="0"/>
                  </a:cubicBezTo>
                  <a:cubicBezTo>
                    <a:pt x="4" y="0"/>
                    <a:pt x="4" y="0"/>
                    <a:pt x="4" y="0"/>
                  </a:cubicBezTo>
                  <a:cubicBezTo>
                    <a:pt x="2" y="0"/>
                    <a:pt x="0" y="2"/>
                    <a:pt x="0" y="4"/>
                  </a:cubicBezTo>
                  <a:cubicBezTo>
                    <a:pt x="0" y="75"/>
                    <a:pt x="0" y="75"/>
                    <a:pt x="0" y="75"/>
                  </a:cubicBezTo>
                  <a:cubicBezTo>
                    <a:pt x="6" y="70"/>
                    <a:pt x="6" y="70"/>
                    <a:pt x="6" y="70"/>
                  </a:cubicBezTo>
                  <a:cubicBezTo>
                    <a:pt x="6" y="70"/>
                    <a:pt x="6" y="69"/>
                    <a:pt x="8" y="67"/>
                  </a:cubicBezTo>
                  <a:cubicBezTo>
                    <a:pt x="16" y="59"/>
                    <a:pt x="17" y="54"/>
                    <a:pt x="17" y="52"/>
                  </a:cubicBezTo>
                  <a:cubicBezTo>
                    <a:pt x="17" y="51"/>
                    <a:pt x="16" y="51"/>
                    <a:pt x="16" y="50"/>
                  </a:cubicBezTo>
                  <a:cubicBezTo>
                    <a:pt x="16" y="50"/>
                    <a:pt x="16" y="50"/>
                    <a:pt x="16" y="50"/>
                  </a:cubicBezTo>
                  <a:cubicBezTo>
                    <a:pt x="16" y="50"/>
                    <a:pt x="16" y="50"/>
                    <a:pt x="16" y="50"/>
                  </a:cubicBezTo>
                  <a:cubicBezTo>
                    <a:pt x="16" y="47"/>
                    <a:pt x="17" y="43"/>
                    <a:pt x="20" y="41"/>
                  </a:cubicBezTo>
                  <a:cubicBezTo>
                    <a:pt x="24" y="36"/>
                    <a:pt x="31" y="37"/>
                    <a:pt x="35" y="41"/>
                  </a:cubicBezTo>
                  <a:cubicBezTo>
                    <a:pt x="37" y="43"/>
                    <a:pt x="38" y="44"/>
                    <a:pt x="38" y="46"/>
                  </a:cubicBezTo>
                  <a:cubicBezTo>
                    <a:pt x="39" y="48"/>
                    <a:pt x="40" y="51"/>
                    <a:pt x="45" y="53"/>
                  </a:cubicBezTo>
                  <a:cubicBezTo>
                    <a:pt x="46" y="54"/>
                    <a:pt x="48" y="55"/>
                    <a:pt x="49" y="56"/>
                  </a:cubicBezTo>
                  <a:cubicBezTo>
                    <a:pt x="54" y="61"/>
                    <a:pt x="53" y="68"/>
                    <a:pt x="49" y="72"/>
                  </a:cubicBezTo>
                  <a:cubicBezTo>
                    <a:pt x="45" y="75"/>
                    <a:pt x="40" y="76"/>
                    <a:pt x="36" y="74"/>
                  </a:cubicBezTo>
                  <a:cubicBezTo>
                    <a:pt x="35" y="73"/>
                    <a:pt x="29" y="72"/>
                    <a:pt x="19" y="80"/>
                  </a:cubicBezTo>
                  <a:cubicBezTo>
                    <a:pt x="6" y="92"/>
                    <a:pt x="6" y="92"/>
                    <a:pt x="6" y="92"/>
                  </a:cubicBezTo>
                  <a:cubicBezTo>
                    <a:pt x="97" y="92"/>
                    <a:pt x="97" y="92"/>
                    <a:pt x="97" y="92"/>
                  </a:cubicBezTo>
                  <a:cubicBezTo>
                    <a:pt x="100" y="92"/>
                    <a:pt x="102" y="90"/>
                    <a:pt x="102" y="87"/>
                  </a:cubicBezTo>
                  <a:cubicBezTo>
                    <a:pt x="102" y="57"/>
                    <a:pt x="102" y="57"/>
                    <a:pt x="102" y="57"/>
                  </a:cubicBezTo>
                  <a:cubicBezTo>
                    <a:pt x="98" y="57"/>
                    <a:pt x="98" y="57"/>
                    <a:pt x="98" y="57"/>
                  </a:cubicBezTo>
                  <a:cubicBezTo>
                    <a:pt x="98" y="57"/>
                    <a:pt x="97" y="58"/>
                    <a:pt x="94" y="58"/>
                  </a:cubicBezTo>
                  <a:cubicBezTo>
                    <a:pt x="83" y="60"/>
                    <a:pt x="79" y="63"/>
                    <a:pt x="78" y="65"/>
                  </a:cubicBezTo>
                  <a:cubicBezTo>
                    <a:pt x="78" y="66"/>
                    <a:pt x="78" y="66"/>
                    <a:pt x="78" y="67"/>
                  </a:cubicBezTo>
                  <a:cubicBezTo>
                    <a:pt x="77" y="67"/>
                    <a:pt x="77" y="67"/>
                    <a:pt x="77" y="67"/>
                  </a:cubicBezTo>
                  <a:cubicBezTo>
                    <a:pt x="77" y="67"/>
                    <a:pt x="77" y="67"/>
                    <a:pt x="77" y="67"/>
                  </a:cubicBezTo>
                  <a:cubicBezTo>
                    <a:pt x="76" y="70"/>
                    <a:pt x="73" y="72"/>
                    <a:pt x="69" y="72"/>
                  </a:cubicBezTo>
                  <a:cubicBezTo>
                    <a:pt x="63" y="73"/>
                    <a:pt x="57" y="69"/>
                    <a:pt x="57" y="63"/>
                  </a:cubicBezTo>
                  <a:cubicBezTo>
                    <a:pt x="56" y="61"/>
                    <a:pt x="57" y="59"/>
                    <a:pt x="58" y="57"/>
                  </a:cubicBezTo>
                  <a:cubicBezTo>
                    <a:pt x="58" y="55"/>
                    <a:pt x="59" y="52"/>
                    <a:pt x="56" y="47"/>
                  </a:cubicBezTo>
                  <a:cubicBezTo>
                    <a:pt x="55" y="46"/>
                    <a:pt x="55" y="44"/>
                    <a:pt x="55" y="42"/>
                  </a:cubicBezTo>
                  <a:cubicBezTo>
                    <a:pt x="54" y="36"/>
                    <a:pt x="58" y="31"/>
                    <a:pt x="64" y="30"/>
                  </a:cubicBezTo>
                  <a:close/>
                  <a:moveTo>
                    <a:pt x="48" y="46"/>
                  </a:moveTo>
                  <a:cubicBezTo>
                    <a:pt x="45" y="47"/>
                    <a:pt x="39" y="39"/>
                    <a:pt x="39" y="39"/>
                  </a:cubicBezTo>
                  <a:cubicBezTo>
                    <a:pt x="35" y="34"/>
                    <a:pt x="47" y="30"/>
                    <a:pt x="49" y="31"/>
                  </a:cubicBezTo>
                  <a:cubicBezTo>
                    <a:pt x="51" y="33"/>
                    <a:pt x="51" y="46"/>
                    <a:pt x="48" y="46"/>
                  </a:cubicBezTo>
                  <a:close/>
                  <a:moveTo>
                    <a:pt x="48" y="46"/>
                  </a:moveTo>
                  <a:cubicBezTo>
                    <a:pt x="48" y="46"/>
                    <a:pt x="48" y="46"/>
                    <a:pt x="48" y="46"/>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7" name="Freeform 16"/>
            <p:cNvSpPr>
              <a:spLocks noEditPoints="1"/>
            </p:cNvSpPr>
            <p:nvPr/>
          </p:nvSpPr>
          <p:spPr bwMode="auto">
            <a:xfrm>
              <a:off x="2890" y="1501"/>
              <a:ext cx="229" cy="91"/>
            </a:xfrm>
            <a:custGeom>
              <a:avLst/>
              <a:gdLst/>
              <a:ahLst/>
              <a:cxnLst>
                <a:cxn ang="0">
                  <a:pos x="48" y="4"/>
                </a:cxn>
                <a:cxn ang="0">
                  <a:pos x="44" y="0"/>
                </a:cxn>
                <a:cxn ang="0">
                  <a:pos x="4" y="0"/>
                </a:cxn>
                <a:cxn ang="0">
                  <a:pos x="0" y="4"/>
                </a:cxn>
                <a:cxn ang="0">
                  <a:pos x="0" y="15"/>
                </a:cxn>
                <a:cxn ang="0">
                  <a:pos x="4" y="19"/>
                </a:cxn>
                <a:cxn ang="0">
                  <a:pos x="44" y="19"/>
                </a:cxn>
                <a:cxn ang="0">
                  <a:pos x="48" y="15"/>
                </a:cxn>
                <a:cxn ang="0">
                  <a:pos x="48" y="4"/>
                </a:cxn>
                <a:cxn ang="0">
                  <a:pos x="48" y="4"/>
                </a:cxn>
                <a:cxn ang="0">
                  <a:pos x="48" y="4"/>
                </a:cxn>
              </a:cxnLst>
              <a:rect l="0" t="0" r="r" b="b"/>
              <a:pathLst>
                <a:path w="48" h="19">
                  <a:moveTo>
                    <a:pt x="48" y="4"/>
                  </a:moveTo>
                  <a:cubicBezTo>
                    <a:pt x="48" y="2"/>
                    <a:pt x="46" y="0"/>
                    <a:pt x="44" y="0"/>
                  </a:cubicBezTo>
                  <a:cubicBezTo>
                    <a:pt x="4" y="0"/>
                    <a:pt x="4" y="0"/>
                    <a:pt x="4" y="0"/>
                  </a:cubicBezTo>
                  <a:cubicBezTo>
                    <a:pt x="2" y="0"/>
                    <a:pt x="0" y="2"/>
                    <a:pt x="0" y="4"/>
                  </a:cubicBezTo>
                  <a:cubicBezTo>
                    <a:pt x="0" y="15"/>
                    <a:pt x="0" y="15"/>
                    <a:pt x="0" y="15"/>
                  </a:cubicBezTo>
                  <a:cubicBezTo>
                    <a:pt x="0" y="17"/>
                    <a:pt x="2" y="19"/>
                    <a:pt x="4" y="19"/>
                  </a:cubicBezTo>
                  <a:cubicBezTo>
                    <a:pt x="44" y="19"/>
                    <a:pt x="44" y="19"/>
                    <a:pt x="44" y="19"/>
                  </a:cubicBezTo>
                  <a:cubicBezTo>
                    <a:pt x="46" y="19"/>
                    <a:pt x="48" y="17"/>
                    <a:pt x="48" y="15"/>
                  </a:cubicBezTo>
                  <a:lnTo>
                    <a:pt x="48" y="4"/>
                  </a:lnTo>
                  <a:close/>
                  <a:moveTo>
                    <a:pt x="48" y="4"/>
                  </a:moveTo>
                  <a:cubicBezTo>
                    <a:pt x="48" y="4"/>
                    <a:pt x="48" y="4"/>
                    <a:pt x="48" y="4"/>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48" name="Group 19"/>
          <p:cNvGrpSpPr>
            <a:grpSpLocks noChangeAspect="1"/>
          </p:cNvGrpSpPr>
          <p:nvPr/>
        </p:nvGrpSpPr>
        <p:grpSpPr bwMode="auto">
          <a:xfrm>
            <a:off x="5682089" y="2254311"/>
            <a:ext cx="564328" cy="558693"/>
            <a:chOff x="3008" y="1466"/>
            <a:chExt cx="540" cy="537"/>
          </a:xfrm>
          <a:solidFill>
            <a:srgbClr val="0070C0"/>
          </a:solidFill>
        </p:grpSpPr>
        <p:sp>
          <p:nvSpPr>
            <p:cNvPr id="49" name="Freeform 20"/>
            <p:cNvSpPr>
              <a:spLocks noEditPoints="1"/>
            </p:cNvSpPr>
            <p:nvPr/>
          </p:nvSpPr>
          <p:spPr bwMode="auto">
            <a:xfrm>
              <a:off x="3208" y="1594"/>
              <a:ext cx="340" cy="310"/>
            </a:xfrm>
            <a:custGeom>
              <a:avLst/>
              <a:gdLst/>
              <a:ahLst/>
              <a:cxnLst>
                <a:cxn ang="0">
                  <a:pos x="274" y="68"/>
                </a:cxn>
                <a:cxn ang="0">
                  <a:pos x="73" y="40"/>
                </a:cxn>
                <a:cxn ang="0">
                  <a:pos x="0" y="0"/>
                </a:cxn>
                <a:cxn ang="0">
                  <a:pos x="0" y="240"/>
                </a:cxn>
                <a:cxn ang="0">
                  <a:pos x="14" y="223"/>
                </a:cxn>
                <a:cxn ang="0">
                  <a:pos x="66" y="208"/>
                </a:cxn>
                <a:cxn ang="0">
                  <a:pos x="81" y="209"/>
                </a:cxn>
                <a:cxn ang="0">
                  <a:pos x="96" y="209"/>
                </a:cxn>
                <a:cxn ang="0">
                  <a:pos x="112" y="208"/>
                </a:cxn>
                <a:cxn ang="0">
                  <a:pos x="116" y="208"/>
                </a:cxn>
                <a:cxn ang="0">
                  <a:pos x="145" y="227"/>
                </a:cxn>
                <a:cxn ang="0">
                  <a:pos x="161" y="255"/>
                </a:cxn>
                <a:cxn ang="0">
                  <a:pos x="181" y="302"/>
                </a:cxn>
                <a:cxn ang="0">
                  <a:pos x="155" y="362"/>
                </a:cxn>
                <a:cxn ang="0">
                  <a:pos x="154" y="363"/>
                </a:cxn>
                <a:cxn ang="0">
                  <a:pos x="153" y="364"/>
                </a:cxn>
                <a:cxn ang="0">
                  <a:pos x="154" y="363"/>
                </a:cxn>
                <a:cxn ang="0">
                  <a:pos x="167" y="362"/>
                </a:cxn>
                <a:cxn ang="0">
                  <a:pos x="219" y="388"/>
                </a:cxn>
                <a:cxn ang="0">
                  <a:pos x="237" y="430"/>
                </a:cxn>
                <a:cxn ang="0">
                  <a:pos x="248" y="459"/>
                </a:cxn>
                <a:cxn ang="0">
                  <a:pos x="240" y="497"/>
                </a:cxn>
                <a:cxn ang="0">
                  <a:pos x="239" y="498"/>
                </a:cxn>
                <a:cxn ang="0">
                  <a:pos x="274" y="499"/>
                </a:cxn>
                <a:cxn ang="0">
                  <a:pos x="547" y="407"/>
                </a:cxn>
                <a:cxn ang="0">
                  <a:pos x="547" y="343"/>
                </a:cxn>
                <a:cxn ang="0">
                  <a:pos x="311" y="416"/>
                </a:cxn>
                <a:cxn ang="0">
                  <a:pos x="283" y="389"/>
                </a:cxn>
                <a:cxn ang="0">
                  <a:pos x="283" y="174"/>
                </a:cxn>
                <a:cxn ang="0">
                  <a:pos x="309" y="147"/>
                </a:cxn>
                <a:cxn ang="0">
                  <a:pos x="547" y="83"/>
                </a:cxn>
                <a:cxn ang="0">
                  <a:pos x="547" y="0"/>
                </a:cxn>
                <a:cxn ang="0">
                  <a:pos x="474" y="40"/>
                </a:cxn>
                <a:cxn ang="0">
                  <a:pos x="274" y="68"/>
                </a:cxn>
                <a:cxn ang="0">
                  <a:pos x="274" y="68"/>
                </a:cxn>
                <a:cxn ang="0">
                  <a:pos x="274" y="68"/>
                </a:cxn>
              </a:cxnLst>
              <a:rect l="0" t="0" r="r" b="b"/>
              <a:pathLst>
                <a:path w="547" h="499">
                  <a:moveTo>
                    <a:pt x="274" y="68"/>
                  </a:moveTo>
                  <a:cubicBezTo>
                    <a:pt x="198" y="68"/>
                    <a:pt x="127" y="58"/>
                    <a:pt x="73" y="40"/>
                  </a:cubicBezTo>
                  <a:cubicBezTo>
                    <a:pt x="37" y="28"/>
                    <a:pt x="14" y="14"/>
                    <a:pt x="0" y="0"/>
                  </a:cubicBezTo>
                  <a:cubicBezTo>
                    <a:pt x="0" y="240"/>
                    <a:pt x="0" y="240"/>
                    <a:pt x="0" y="240"/>
                  </a:cubicBezTo>
                  <a:cubicBezTo>
                    <a:pt x="4" y="234"/>
                    <a:pt x="8" y="228"/>
                    <a:pt x="14" y="223"/>
                  </a:cubicBezTo>
                  <a:cubicBezTo>
                    <a:pt x="30" y="210"/>
                    <a:pt x="49" y="208"/>
                    <a:pt x="66" y="208"/>
                  </a:cubicBezTo>
                  <a:cubicBezTo>
                    <a:pt x="71" y="208"/>
                    <a:pt x="76" y="209"/>
                    <a:pt x="81" y="209"/>
                  </a:cubicBezTo>
                  <a:cubicBezTo>
                    <a:pt x="86" y="209"/>
                    <a:pt x="91" y="209"/>
                    <a:pt x="96" y="209"/>
                  </a:cubicBezTo>
                  <a:cubicBezTo>
                    <a:pt x="102" y="209"/>
                    <a:pt x="107" y="209"/>
                    <a:pt x="112" y="208"/>
                  </a:cubicBezTo>
                  <a:cubicBezTo>
                    <a:pt x="114" y="208"/>
                    <a:pt x="115" y="208"/>
                    <a:pt x="116" y="208"/>
                  </a:cubicBezTo>
                  <a:cubicBezTo>
                    <a:pt x="129" y="208"/>
                    <a:pt x="141" y="216"/>
                    <a:pt x="145" y="227"/>
                  </a:cubicBezTo>
                  <a:cubicBezTo>
                    <a:pt x="149" y="237"/>
                    <a:pt x="155" y="246"/>
                    <a:pt x="161" y="255"/>
                  </a:cubicBezTo>
                  <a:cubicBezTo>
                    <a:pt x="170" y="269"/>
                    <a:pt x="179" y="284"/>
                    <a:pt x="181" y="302"/>
                  </a:cubicBezTo>
                  <a:cubicBezTo>
                    <a:pt x="184" y="324"/>
                    <a:pt x="175" y="344"/>
                    <a:pt x="155" y="362"/>
                  </a:cubicBezTo>
                  <a:cubicBezTo>
                    <a:pt x="155" y="362"/>
                    <a:pt x="154" y="362"/>
                    <a:pt x="154" y="363"/>
                  </a:cubicBezTo>
                  <a:cubicBezTo>
                    <a:pt x="153" y="363"/>
                    <a:pt x="153" y="363"/>
                    <a:pt x="153" y="364"/>
                  </a:cubicBezTo>
                  <a:cubicBezTo>
                    <a:pt x="153" y="364"/>
                    <a:pt x="153" y="363"/>
                    <a:pt x="154" y="363"/>
                  </a:cubicBezTo>
                  <a:cubicBezTo>
                    <a:pt x="158" y="363"/>
                    <a:pt x="163" y="362"/>
                    <a:pt x="167" y="362"/>
                  </a:cubicBezTo>
                  <a:cubicBezTo>
                    <a:pt x="190" y="362"/>
                    <a:pt x="207" y="371"/>
                    <a:pt x="219" y="388"/>
                  </a:cubicBezTo>
                  <a:cubicBezTo>
                    <a:pt x="228" y="400"/>
                    <a:pt x="233" y="415"/>
                    <a:pt x="237" y="430"/>
                  </a:cubicBezTo>
                  <a:cubicBezTo>
                    <a:pt x="241" y="441"/>
                    <a:pt x="244" y="451"/>
                    <a:pt x="248" y="459"/>
                  </a:cubicBezTo>
                  <a:cubicBezTo>
                    <a:pt x="254" y="472"/>
                    <a:pt x="251" y="488"/>
                    <a:pt x="240" y="497"/>
                  </a:cubicBezTo>
                  <a:cubicBezTo>
                    <a:pt x="240" y="498"/>
                    <a:pt x="240" y="498"/>
                    <a:pt x="239" y="498"/>
                  </a:cubicBezTo>
                  <a:cubicBezTo>
                    <a:pt x="251" y="499"/>
                    <a:pt x="262" y="499"/>
                    <a:pt x="274" y="499"/>
                  </a:cubicBezTo>
                  <a:cubicBezTo>
                    <a:pt x="425" y="499"/>
                    <a:pt x="547" y="458"/>
                    <a:pt x="547" y="407"/>
                  </a:cubicBezTo>
                  <a:cubicBezTo>
                    <a:pt x="547" y="343"/>
                    <a:pt x="547" y="343"/>
                    <a:pt x="547" y="343"/>
                  </a:cubicBezTo>
                  <a:cubicBezTo>
                    <a:pt x="496" y="406"/>
                    <a:pt x="367" y="415"/>
                    <a:pt x="311" y="416"/>
                  </a:cubicBezTo>
                  <a:cubicBezTo>
                    <a:pt x="296" y="416"/>
                    <a:pt x="283" y="404"/>
                    <a:pt x="283" y="389"/>
                  </a:cubicBezTo>
                  <a:cubicBezTo>
                    <a:pt x="283" y="174"/>
                    <a:pt x="283" y="174"/>
                    <a:pt x="283" y="174"/>
                  </a:cubicBezTo>
                  <a:cubicBezTo>
                    <a:pt x="283" y="160"/>
                    <a:pt x="295" y="148"/>
                    <a:pt x="309" y="147"/>
                  </a:cubicBezTo>
                  <a:cubicBezTo>
                    <a:pt x="367" y="144"/>
                    <a:pt x="505" y="131"/>
                    <a:pt x="547" y="83"/>
                  </a:cubicBezTo>
                  <a:cubicBezTo>
                    <a:pt x="547" y="0"/>
                    <a:pt x="547" y="0"/>
                    <a:pt x="547" y="0"/>
                  </a:cubicBezTo>
                  <a:cubicBezTo>
                    <a:pt x="533" y="14"/>
                    <a:pt x="510" y="28"/>
                    <a:pt x="474" y="40"/>
                  </a:cubicBezTo>
                  <a:cubicBezTo>
                    <a:pt x="420" y="58"/>
                    <a:pt x="349" y="68"/>
                    <a:pt x="274" y="68"/>
                  </a:cubicBezTo>
                  <a:close/>
                  <a:moveTo>
                    <a:pt x="274" y="68"/>
                  </a:moveTo>
                  <a:cubicBezTo>
                    <a:pt x="274" y="68"/>
                    <a:pt x="274" y="68"/>
                    <a:pt x="274" y="68"/>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0" name="Freeform 21"/>
            <p:cNvSpPr>
              <a:spLocks noEditPoints="1"/>
            </p:cNvSpPr>
            <p:nvPr/>
          </p:nvSpPr>
          <p:spPr bwMode="auto">
            <a:xfrm>
              <a:off x="3211" y="1466"/>
              <a:ext cx="335" cy="103"/>
            </a:xfrm>
            <a:custGeom>
              <a:avLst/>
              <a:gdLst/>
              <a:ahLst/>
              <a:cxnLst>
                <a:cxn ang="0">
                  <a:pos x="270" y="0"/>
                </a:cxn>
                <a:cxn ang="0">
                  <a:pos x="0" y="77"/>
                </a:cxn>
                <a:cxn ang="0">
                  <a:pos x="74" y="137"/>
                </a:cxn>
                <a:cxn ang="0">
                  <a:pos x="206" y="165"/>
                </a:cxn>
                <a:cxn ang="0">
                  <a:pos x="269" y="167"/>
                </a:cxn>
                <a:cxn ang="0">
                  <a:pos x="333" y="165"/>
                </a:cxn>
                <a:cxn ang="0">
                  <a:pos x="465" y="137"/>
                </a:cxn>
                <a:cxn ang="0">
                  <a:pos x="539" y="77"/>
                </a:cxn>
                <a:cxn ang="0">
                  <a:pos x="270" y="0"/>
                </a:cxn>
                <a:cxn ang="0">
                  <a:pos x="270" y="0"/>
                </a:cxn>
                <a:cxn ang="0">
                  <a:pos x="270" y="0"/>
                </a:cxn>
              </a:cxnLst>
              <a:rect l="0" t="0" r="r" b="b"/>
              <a:pathLst>
                <a:path w="539" h="167">
                  <a:moveTo>
                    <a:pt x="270" y="0"/>
                  </a:moveTo>
                  <a:cubicBezTo>
                    <a:pt x="133" y="0"/>
                    <a:pt x="20" y="34"/>
                    <a:pt x="0" y="77"/>
                  </a:cubicBezTo>
                  <a:cubicBezTo>
                    <a:pt x="2" y="98"/>
                    <a:pt x="30" y="120"/>
                    <a:pt x="74" y="137"/>
                  </a:cubicBezTo>
                  <a:cubicBezTo>
                    <a:pt x="111" y="151"/>
                    <a:pt x="157" y="160"/>
                    <a:pt x="206" y="165"/>
                  </a:cubicBezTo>
                  <a:cubicBezTo>
                    <a:pt x="227" y="166"/>
                    <a:pt x="248" y="167"/>
                    <a:pt x="269" y="167"/>
                  </a:cubicBezTo>
                  <a:cubicBezTo>
                    <a:pt x="291" y="167"/>
                    <a:pt x="312" y="166"/>
                    <a:pt x="333" y="165"/>
                  </a:cubicBezTo>
                  <a:cubicBezTo>
                    <a:pt x="382" y="160"/>
                    <a:pt x="428" y="151"/>
                    <a:pt x="465" y="137"/>
                  </a:cubicBezTo>
                  <a:cubicBezTo>
                    <a:pt x="509" y="120"/>
                    <a:pt x="537" y="98"/>
                    <a:pt x="539" y="77"/>
                  </a:cubicBezTo>
                  <a:cubicBezTo>
                    <a:pt x="519" y="34"/>
                    <a:pt x="406" y="0"/>
                    <a:pt x="270" y="0"/>
                  </a:cubicBezTo>
                  <a:close/>
                  <a:moveTo>
                    <a:pt x="270" y="0"/>
                  </a:moveTo>
                  <a:cubicBezTo>
                    <a:pt x="270" y="0"/>
                    <a:pt x="270" y="0"/>
                    <a:pt x="270" y="0"/>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1" name="Freeform 22"/>
            <p:cNvSpPr>
              <a:spLocks noEditPoints="1"/>
            </p:cNvSpPr>
            <p:nvPr/>
          </p:nvSpPr>
          <p:spPr bwMode="auto">
            <a:xfrm>
              <a:off x="3208" y="1538"/>
              <a:ext cx="340" cy="84"/>
            </a:xfrm>
            <a:custGeom>
              <a:avLst/>
              <a:gdLst/>
              <a:ahLst/>
              <a:cxnLst>
                <a:cxn ang="0">
                  <a:pos x="476" y="42"/>
                </a:cxn>
                <a:cxn ang="0">
                  <a:pos x="456" y="49"/>
                </a:cxn>
                <a:cxn ang="0">
                  <a:pos x="274" y="74"/>
                </a:cxn>
                <a:cxn ang="0">
                  <a:pos x="91" y="49"/>
                </a:cxn>
                <a:cxn ang="0">
                  <a:pos x="71" y="42"/>
                </a:cxn>
                <a:cxn ang="0">
                  <a:pos x="0" y="0"/>
                </a:cxn>
                <a:cxn ang="0">
                  <a:pos x="0" y="45"/>
                </a:cxn>
                <a:cxn ang="0">
                  <a:pos x="0" y="49"/>
                </a:cxn>
                <a:cxn ang="0">
                  <a:pos x="274" y="136"/>
                </a:cxn>
                <a:cxn ang="0">
                  <a:pos x="547" y="49"/>
                </a:cxn>
                <a:cxn ang="0">
                  <a:pos x="547" y="45"/>
                </a:cxn>
                <a:cxn ang="0">
                  <a:pos x="547" y="0"/>
                </a:cxn>
                <a:cxn ang="0">
                  <a:pos x="476" y="42"/>
                </a:cxn>
                <a:cxn ang="0">
                  <a:pos x="476" y="42"/>
                </a:cxn>
                <a:cxn ang="0">
                  <a:pos x="476" y="42"/>
                </a:cxn>
              </a:cxnLst>
              <a:rect l="0" t="0" r="r" b="b"/>
              <a:pathLst>
                <a:path w="547" h="136">
                  <a:moveTo>
                    <a:pt x="476" y="42"/>
                  </a:moveTo>
                  <a:cubicBezTo>
                    <a:pt x="470" y="44"/>
                    <a:pt x="463" y="47"/>
                    <a:pt x="456" y="49"/>
                  </a:cubicBezTo>
                  <a:cubicBezTo>
                    <a:pt x="405" y="65"/>
                    <a:pt x="341" y="74"/>
                    <a:pt x="274" y="74"/>
                  </a:cubicBezTo>
                  <a:cubicBezTo>
                    <a:pt x="207" y="74"/>
                    <a:pt x="142" y="65"/>
                    <a:pt x="91" y="49"/>
                  </a:cubicBezTo>
                  <a:cubicBezTo>
                    <a:pt x="84" y="47"/>
                    <a:pt x="77" y="44"/>
                    <a:pt x="71" y="42"/>
                  </a:cubicBezTo>
                  <a:cubicBezTo>
                    <a:pt x="39" y="30"/>
                    <a:pt x="15" y="16"/>
                    <a:pt x="0" y="0"/>
                  </a:cubicBezTo>
                  <a:cubicBezTo>
                    <a:pt x="0" y="45"/>
                    <a:pt x="0" y="45"/>
                    <a:pt x="0" y="45"/>
                  </a:cubicBezTo>
                  <a:cubicBezTo>
                    <a:pt x="0" y="46"/>
                    <a:pt x="0" y="47"/>
                    <a:pt x="0" y="49"/>
                  </a:cubicBezTo>
                  <a:cubicBezTo>
                    <a:pt x="6" y="98"/>
                    <a:pt x="126" y="136"/>
                    <a:pt x="274" y="136"/>
                  </a:cubicBezTo>
                  <a:cubicBezTo>
                    <a:pt x="421" y="136"/>
                    <a:pt x="541" y="97"/>
                    <a:pt x="547" y="49"/>
                  </a:cubicBezTo>
                  <a:cubicBezTo>
                    <a:pt x="547" y="47"/>
                    <a:pt x="547" y="46"/>
                    <a:pt x="547" y="45"/>
                  </a:cubicBezTo>
                  <a:cubicBezTo>
                    <a:pt x="547" y="0"/>
                    <a:pt x="547" y="0"/>
                    <a:pt x="547" y="0"/>
                  </a:cubicBezTo>
                  <a:cubicBezTo>
                    <a:pt x="532" y="16"/>
                    <a:pt x="508" y="30"/>
                    <a:pt x="476" y="42"/>
                  </a:cubicBezTo>
                  <a:close/>
                  <a:moveTo>
                    <a:pt x="476" y="42"/>
                  </a:moveTo>
                  <a:cubicBezTo>
                    <a:pt x="476" y="42"/>
                    <a:pt x="476" y="42"/>
                    <a:pt x="476" y="42"/>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2" name="Freeform 23"/>
            <p:cNvSpPr>
              <a:spLocks noEditPoints="1"/>
            </p:cNvSpPr>
            <p:nvPr/>
          </p:nvSpPr>
          <p:spPr bwMode="auto">
            <a:xfrm>
              <a:off x="3085" y="1705"/>
              <a:ext cx="31" cy="31"/>
            </a:xfrm>
            <a:custGeom>
              <a:avLst/>
              <a:gdLst/>
              <a:ahLst/>
              <a:cxnLst>
                <a:cxn ang="0">
                  <a:pos x="15" y="44"/>
                </a:cxn>
                <a:cxn ang="0">
                  <a:pos x="45" y="35"/>
                </a:cxn>
                <a:cxn ang="0">
                  <a:pos x="35" y="5"/>
                </a:cxn>
                <a:cxn ang="0">
                  <a:pos x="6" y="15"/>
                </a:cxn>
                <a:cxn ang="0">
                  <a:pos x="15" y="44"/>
                </a:cxn>
                <a:cxn ang="0">
                  <a:pos x="15" y="44"/>
                </a:cxn>
                <a:cxn ang="0">
                  <a:pos x="15" y="44"/>
                </a:cxn>
              </a:cxnLst>
              <a:rect l="0" t="0" r="r" b="b"/>
              <a:pathLst>
                <a:path w="50" h="50">
                  <a:moveTo>
                    <a:pt x="15" y="44"/>
                  </a:moveTo>
                  <a:cubicBezTo>
                    <a:pt x="26" y="50"/>
                    <a:pt x="39" y="45"/>
                    <a:pt x="45" y="35"/>
                  </a:cubicBezTo>
                  <a:cubicBezTo>
                    <a:pt x="50" y="24"/>
                    <a:pt x="46" y="11"/>
                    <a:pt x="35" y="5"/>
                  </a:cubicBezTo>
                  <a:cubicBezTo>
                    <a:pt x="24" y="0"/>
                    <a:pt x="11" y="4"/>
                    <a:pt x="6" y="15"/>
                  </a:cubicBezTo>
                  <a:cubicBezTo>
                    <a:pt x="0" y="25"/>
                    <a:pt x="5" y="39"/>
                    <a:pt x="15" y="44"/>
                  </a:cubicBezTo>
                  <a:close/>
                  <a:moveTo>
                    <a:pt x="15" y="44"/>
                  </a:moveTo>
                  <a:cubicBezTo>
                    <a:pt x="15" y="44"/>
                    <a:pt x="15" y="44"/>
                    <a:pt x="15" y="44"/>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3" name="Freeform 24"/>
            <p:cNvSpPr>
              <a:spLocks noEditPoints="1"/>
            </p:cNvSpPr>
            <p:nvPr/>
          </p:nvSpPr>
          <p:spPr bwMode="auto">
            <a:xfrm>
              <a:off x="3008" y="1662"/>
              <a:ext cx="75" cy="72"/>
            </a:xfrm>
            <a:custGeom>
              <a:avLst/>
              <a:gdLst/>
              <a:ahLst/>
              <a:cxnLst>
                <a:cxn ang="0">
                  <a:pos x="45" y="115"/>
                </a:cxn>
                <a:cxn ang="0">
                  <a:pos x="110" y="100"/>
                </a:cxn>
                <a:cxn ang="0">
                  <a:pos x="113" y="96"/>
                </a:cxn>
                <a:cxn ang="0">
                  <a:pos x="109" y="86"/>
                </a:cxn>
                <a:cxn ang="0">
                  <a:pos x="59" y="67"/>
                </a:cxn>
                <a:cxn ang="0">
                  <a:pos x="59" y="66"/>
                </a:cxn>
                <a:cxn ang="0">
                  <a:pos x="59" y="66"/>
                </a:cxn>
                <a:cxn ang="0">
                  <a:pos x="111" y="78"/>
                </a:cxn>
                <a:cxn ang="0">
                  <a:pos x="120" y="72"/>
                </a:cxn>
                <a:cxn ang="0">
                  <a:pos x="120" y="67"/>
                </a:cxn>
                <a:cxn ang="0">
                  <a:pos x="74" y="18"/>
                </a:cxn>
                <a:cxn ang="0">
                  <a:pos x="21" y="29"/>
                </a:cxn>
                <a:cxn ang="0">
                  <a:pos x="3" y="46"/>
                </a:cxn>
                <a:cxn ang="0">
                  <a:pos x="1" y="49"/>
                </a:cxn>
                <a:cxn ang="0">
                  <a:pos x="1" y="53"/>
                </a:cxn>
                <a:cxn ang="0">
                  <a:pos x="7" y="76"/>
                </a:cxn>
                <a:cxn ang="0">
                  <a:pos x="45" y="115"/>
                </a:cxn>
                <a:cxn ang="0">
                  <a:pos x="45" y="115"/>
                </a:cxn>
                <a:cxn ang="0">
                  <a:pos x="45" y="115"/>
                </a:cxn>
              </a:cxnLst>
              <a:rect l="0" t="0" r="r" b="b"/>
              <a:pathLst>
                <a:path w="121" h="116">
                  <a:moveTo>
                    <a:pt x="45" y="115"/>
                  </a:moveTo>
                  <a:cubicBezTo>
                    <a:pt x="54" y="115"/>
                    <a:pt x="93" y="110"/>
                    <a:pt x="110" y="100"/>
                  </a:cubicBezTo>
                  <a:cubicBezTo>
                    <a:pt x="112" y="99"/>
                    <a:pt x="113" y="98"/>
                    <a:pt x="113" y="96"/>
                  </a:cubicBezTo>
                  <a:cubicBezTo>
                    <a:pt x="115" y="92"/>
                    <a:pt x="113" y="88"/>
                    <a:pt x="109" y="86"/>
                  </a:cubicBezTo>
                  <a:cubicBezTo>
                    <a:pt x="59" y="67"/>
                    <a:pt x="59" y="67"/>
                    <a:pt x="59" y="67"/>
                  </a:cubicBezTo>
                  <a:cubicBezTo>
                    <a:pt x="59" y="67"/>
                    <a:pt x="58" y="67"/>
                    <a:pt x="59" y="66"/>
                  </a:cubicBezTo>
                  <a:cubicBezTo>
                    <a:pt x="59" y="66"/>
                    <a:pt x="59" y="66"/>
                    <a:pt x="59" y="66"/>
                  </a:cubicBezTo>
                  <a:cubicBezTo>
                    <a:pt x="111" y="78"/>
                    <a:pt x="111" y="78"/>
                    <a:pt x="111" y="78"/>
                  </a:cubicBezTo>
                  <a:cubicBezTo>
                    <a:pt x="115" y="78"/>
                    <a:pt x="119" y="76"/>
                    <a:pt x="120" y="72"/>
                  </a:cubicBezTo>
                  <a:cubicBezTo>
                    <a:pt x="121" y="71"/>
                    <a:pt x="121" y="69"/>
                    <a:pt x="120" y="67"/>
                  </a:cubicBezTo>
                  <a:cubicBezTo>
                    <a:pt x="112" y="49"/>
                    <a:pt x="82" y="23"/>
                    <a:pt x="74" y="18"/>
                  </a:cubicBezTo>
                  <a:cubicBezTo>
                    <a:pt x="50" y="0"/>
                    <a:pt x="36" y="14"/>
                    <a:pt x="21" y="29"/>
                  </a:cubicBezTo>
                  <a:cubicBezTo>
                    <a:pt x="16" y="35"/>
                    <a:pt x="10" y="41"/>
                    <a:pt x="3" y="46"/>
                  </a:cubicBezTo>
                  <a:cubicBezTo>
                    <a:pt x="2" y="46"/>
                    <a:pt x="1" y="47"/>
                    <a:pt x="1" y="49"/>
                  </a:cubicBezTo>
                  <a:cubicBezTo>
                    <a:pt x="0" y="50"/>
                    <a:pt x="0" y="52"/>
                    <a:pt x="1" y="53"/>
                  </a:cubicBezTo>
                  <a:cubicBezTo>
                    <a:pt x="4" y="61"/>
                    <a:pt x="6" y="69"/>
                    <a:pt x="7" y="76"/>
                  </a:cubicBezTo>
                  <a:cubicBezTo>
                    <a:pt x="11" y="97"/>
                    <a:pt x="15" y="116"/>
                    <a:pt x="45" y="115"/>
                  </a:cubicBezTo>
                  <a:close/>
                  <a:moveTo>
                    <a:pt x="45" y="115"/>
                  </a:moveTo>
                  <a:cubicBezTo>
                    <a:pt x="45" y="115"/>
                    <a:pt x="45" y="115"/>
                    <a:pt x="45" y="115"/>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4" name="Freeform 25"/>
            <p:cNvSpPr>
              <a:spLocks noEditPoints="1"/>
            </p:cNvSpPr>
            <p:nvPr/>
          </p:nvSpPr>
          <p:spPr bwMode="auto">
            <a:xfrm>
              <a:off x="3029" y="1733"/>
              <a:ext cx="68" cy="72"/>
            </a:xfrm>
            <a:custGeom>
              <a:avLst/>
              <a:gdLst/>
              <a:ahLst/>
              <a:cxnLst>
                <a:cxn ang="0">
                  <a:pos x="98" y="88"/>
                </a:cxn>
                <a:cxn ang="0">
                  <a:pos x="99" y="87"/>
                </a:cxn>
                <a:cxn ang="0">
                  <a:pos x="106" y="58"/>
                </a:cxn>
                <a:cxn ang="0">
                  <a:pos x="109" y="22"/>
                </a:cxn>
                <a:cxn ang="0">
                  <a:pos x="103" y="16"/>
                </a:cxn>
                <a:cxn ang="0">
                  <a:pos x="95" y="18"/>
                </a:cxn>
                <a:cxn ang="0">
                  <a:pos x="59" y="57"/>
                </a:cxn>
                <a:cxn ang="0">
                  <a:pos x="58" y="57"/>
                </a:cxn>
                <a:cxn ang="0">
                  <a:pos x="58" y="56"/>
                </a:cxn>
                <a:cxn ang="0">
                  <a:pos x="58" y="56"/>
                </a:cxn>
                <a:cxn ang="0">
                  <a:pos x="89" y="12"/>
                </a:cxn>
                <a:cxn ang="0">
                  <a:pos x="90" y="10"/>
                </a:cxn>
                <a:cxn ang="0">
                  <a:pos x="88" y="3"/>
                </a:cxn>
                <a:cxn ang="0">
                  <a:pos x="82" y="0"/>
                </a:cxn>
                <a:cxn ang="0">
                  <a:pos x="19" y="24"/>
                </a:cxn>
                <a:cxn ang="0">
                  <a:pos x="3" y="42"/>
                </a:cxn>
                <a:cxn ang="0">
                  <a:pos x="10" y="77"/>
                </a:cxn>
                <a:cxn ang="0">
                  <a:pos x="18" y="100"/>
                </a:cxn>
                <a:cxn ang="0">
                  <a:pos x="24" y="105"/>
                </a:cxn>
                <a:cxn ang="0">
                  <a:pos x="48" y="108"/>
                </a:cxn>
                <a:cxn ang="0">
                  <a:pos x="98" y="88"/>
                </a:cxn>
                <a:cxn ang="0">
                  <a:pos x="98" y="88"/>
                </a:cxn>
                <a:cxn ang="0">
                  <a:pos x="98" y="88"/>
                </a:cxn>
              </a:cxnLst>
              <a:rect l="0" t="0" r="r" b="b"/>
              <a:pathLst>
                <a:path w="110" h="116">
                  <a:moveTo>
                    <a:pt x="98" y="88"/>
                  </a:moveTo>
                  <a:cubicBezTo>
                    <a:pt x="98" y="88"/>
                    <a:pt x="99" y="88"/>
                    <a:pt x="99" y="87"/>
                  </a:cubicBezTo>
                  <a:cubicBezTo>
                    <a:pt x="100" y="83"/>
                    <a:pt x="103" y="72"/>
                    <a:pt x="106" y="58"/>
                  </a:cubicBezTo>
                  <a:cubicBezTo>
                    <a:pt x="108" y="47"/>
                    <a:pt x="110" y="32"/>
                    <a:pt x="109" y="22"/>
                  </a:cubicBezTo>
                  <a:cubicBezTo>
                    <a:pt x="108" y="19"/>
                    <a:pt x="106" y="16"/>
                    <a:pt x="103" y="16"/>
                  </a:cubicBezTo>
                  <a:cubicBezTo>
                    <a:pt x="100" y="15"/>
                    <a:pt x="97" y="16"/>
                    <a:pt x="95" y="18"/>
                  </a:cubicBezTo>
                  <a:cubicBezTo>
                    <a:pt x="59" y="57"/>
                    <a:pt x="59" y="57"/>
                    <a:pt x="59" y="57"/>
                  </a:cubicBezTo>
                  <a:cubicBezTo>
                    <a:pt x="59" y="57"/>
                    <a:pt x="59" y="57"/>
                    <a:pt x="58" y="57"/>
                  </a:cubicBezTo>
                  <a:cubicBezTo>
                    <a:pt x="58" y="57"/>
                    <a:pt x="58" y="57"/>
                    <a:pt x="58" y="56"/>
                  </a:cubicBezTo>
                  <a:cubicBezTo>
                    <a:pt x="58" y="56"/>
                    <a:pt x="58" y="56"/>
                    <a:pt x="58" y="56"/>
                  </a:cubicBezTo>
                  <a:cubicBezTo>
                    <a:pt x="89" y="12"/>
                    <a:pt x="89" y="12"/>
                    <a:pt x="89" y="12"/>
                  </a:cubicBezTo>
                  <a:cubicBezTo>
                    <a:pt x="89" y="12"/>
                    <a:pt x="89" y="11"/>
                    <a:pt x="90" y="10"/>
                  </a:cubicBezTo>
                  <a:cubicBezTo>
                    <a:pt x="90" y="8"/>
                    <a:pt x="90" y="5"/>
                    <a:pt x="88" y="3"/>
                  </a:cubicBezTo>
                  <a:cubicBezTo>
                    <a:pt x="87" y="1"/>
                    <a:pt x="85" y="0"/>
                    <a:pt x="82" y="0"/>
                  </a:cubicBezTo>
                  <a:cubicBezTo>
                    <a:pt x="62" y="1"/>
                    <a:pt x="27" y="19"/>
                    <a:pt x="19" y="24"/>
                  </a:cubicBezTo>
                  <a:cubicBezTo>
                    <a:pt x="11" y="29"/>
                    <a:pt x="6" y="35"/>
                    <a:pt x="3" y="42"/>
                  </a:cubicBezTo>
                  <a:cubicBezTo>
                    <a:pt x="0" y="53"/>
                    <a:pt x="5" y="65"/>
                    <a:pt x="10" y="77"/>
                  </a:cubicBezTo>
                  <a:cubicBezTo>
                    <a:pt x="13" y="85"/>
                    <a:pt x="16" y="92"/>
                    <a:pt x="18" y="100"/>
                  </a:cubicBezTo>
                  <a:cubicBezTo>
                    <a:pt x="19" y="103"/>
                    <a:pt x="21" y="105"/>
                    <a:pt x="24" y="105"/>
                  </a:cubicBezTo>
                  <a:cubicBezTo>
                    <a:pt x="32" y="105"/>
                    <a:pt x="40" y="107"/>
                    <a:pt x="48" y="108"/>
                  </a:cubicBezTo>
                  <a:cubicBezTo>
                    <a:pt x="69" y="112"/>
                    <a:pt x="88" y="116"/>
                    <a:pt x="98" y="88"/>
                  </a:cubicBezTo>
                  <a:close/>
                  <a:moveTo>
                    <a:pt x="98" y="88"/>
                  </a:moveTo>
                  <a:cubicBezTo>
                    <a:pt x="98" y="88"/>
                    <a:pt x="98" y="88"/>
                    <a:pt x="98" y="88"/>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5" name="Freeform 26"/>
            <p:cNvSpPr>
              <a:spLocks noEditPoints="1"/>
            </p:cNvSpPr>
            <p:nvPr/>
          </p:nvSpPr>
          <p:spPr bwMode="auto">
            <a:xfrm>
              <a:off x="3121" y="1660"/>
              <a:ext cx="74" cy="70"/>
            </a:xfrm>
            <a:custGeom>
              <a:avLst/>
              <a:gdLst/>
              <a:ahLst/>
              <a:cxnLst>
                <a:cxn ang="0">
                  <a:pos x="62" y="67"/>
                </a:cxn>
                <a:cxn ang="0">
                  <a:pos x="13" y="89"/>
                </a:cxn>
                <a:cxn ang="0">
                  <a:pos x="9" y="94"/>
                </a:cxn>
                <a:cxn ang="0">
                  <a:pos x="13" y="103"/>
                </a:cxn>
                <a:cxn ang="0">
                  <a:pos x="79" y="114"/>
                </a:cxn>
                <a:cxn ang="0">
                  <a:pos x="110" y="94"/>
                </a:cxn>
                <a:cxn ang="0">
                  <a:pos x="114" y="73"/>
                </a:cxn>
                <a:cxn ang="0">
                  <a:pos x="119" y="50"/>
                </a:cxn>
                <a:cxn ang="0">
                  <a:pos x="116" y="42"/>
                </a:cxn>
                <a:cxn ang="0">
                  <a:pos x="97" y="27"/>
                </a:cxn>
                <a:cxn ang="0">
                  <a:pos x="44" y="19"/>
                </a:cxn>
                <a:cxn ang="0">
                  <a:pos x="1" y="71"/>
                </a:cxn>
                <a:cxn ang="0">
                  <a:pos x="3" y="79"/>
                </a:cxn>
                <a:cxn ang="0">
                  <a:pos x="10" y="81"/>
                </a:cxn>
                <a:cxn ang="0">
                  <a:pos x="62" y="66"/>
                </a:cxn>
                <a:cxn ang="0">
                  <a:pos x="62" y="66"/>
                </a:cxn>
                <a:cxn ang="0">
                  <a:pos x="62" y="67"/>
                </a:cxn>
                <a:cxn ang="0">
                  <a:pos x="62" y="67"/>
                </a:cxn>
                <a:cxn ang="0">
                  <a:pos x="62" y="67"/>
                </a:cxn>
                <a:cxn ang="0">
                  <a:pos x="62" y="67"/>
                </a:cxn>
              </a:cxnLst>
              <a:rect l="0" t="0" r="r" b="b"/>
              <a:pathLst>
                <a:path w="120" h="114">
                  <a:moveTo>
                    <a:pt x="62" y="67"/>
                  </a:moveTo>
                  <a:cubicBezTo>
                    <a:pt x="13" y="89"/>
                    <a:pt x="13" y="89"/>
                    <a:pt x="13" y="89"/>
                  </a:cubicBezTo>
                  <a:cubicBezTo>
                    <a:pt x="11" y="90"/>
                    <a:pt x="10" y="92"/>
                    <a:pt x="9" y="94"/>
                  </a:cubicBezTo>
                  <a:cubicBezTo>
                    <a:pt x="8" y="97"/>
                    <a:pt x="10" y="101"/>
                    <a:pt x="13" y="103"/>
                  </a:cubicBezTo>
                  <a:cubicBezTo>
                    <a:pt x="30" y="112"/>
                    <a:pt x="70" y="114"/>
                    <a:pt x="79" y="114"/>
                  </a:cubicBezTo>
                  <a:cubicBezTo>
                    <a:pt x="96" y="114"/>
                    <a:pt x="105" y="108"/>
                    <a:pt x="110" y="94"/>
                  </a:cubicBezTo>
                  <a:cubicBezTo>
                    <a:pt x="112" y="88"/>
                    <a:pt x="113" y="81"/>
                    <a:pt x="114" y="73"/>
                  </a:cubicBezTo>
                  <a:cubicBezTo>
                    <a:pt x="115" y="65"/>
                    <a:pt x="116" y="57"/>
                    <a:pt x="119" y="50"/>
                  </a:cubicBezTo>
                  <a:cubicBezTo>
                    <a:pt x="120" y="47"/>
                    <a:pt x="119" y="44"/>
                    <a:pt x="116" y="42"/>
                  </a:cubicBezTo>
                  <a:cubicBezTo>
                    <a:pt x="109" y="38"/>
                    <a:pt x="103" y="33"/>
                    <a:pt x="97" y="27"/>
                  </a:cubicBezTo>
                  <a:cubicBezTo>
                    <a:pt x="81" y="13"/>
                    <a:pt x="67" y="0"/>
                    <a:pt x="44" y="19"/>
                  </a:cubicBezTo>
                  <a:cubicBezTo>
                    <a:pt x="37" y="25"/>
                    <a:pt x="8" y="52"/>
                    <a:pt x="1" y="71"/>
                  </a:cubicBezTo>
                  <a:cubicBezTo>
                    <a:pt x="0" y="73"/>
                    <a:pt x="1" y="76"/>
                    <a:pt x="3" y="79"/>
                  </a:cubicBezTo>
                  <a:cubicBezTo>
                    <a:pt x="5" y="81"/>
                    <a:pt x="8" y="82"/>
                    <a:pt x="10" y="81"/>
                  </a:cubicBezTo>
                  <a:cubicBezTo>
                    <a:pt x="62" y="66"/>
                    <a:pt x="62" y="66"/>
                    <a:pt x="62" y="66"/>
                  </a:cubicBezTo>
                  <a:cubicBezTo>
                    <a:pt x="62" y="66"/>
                    <a:pt x="62" y="66"/>
                    <a:pt x="62" y="66"/>
                  </a:cubicBezTo>
                  <a:cubicBezTo>
                    <a:pt x="62" y="66"/>
                    <a:pt x="62" y="66"/>
                    <a:pt x="62" y="67"/>
                  </a:cubicBezTo>
                  <a:cubicBezTo>
                    <a:pt x="62" y="67"/>
                    <a:pt x="62" y="67"/>
                    <a:pt x="62" y="67"/>
                  </a:cubicBezTo>
                  <a:close/>
                  <a:moveTo>
                    <a:pt x="62" y="67"/>
                  </a:moveTo>
                  <a:cubicBezTo>
                    <a:pt x="62" y="67"/>
                    <a:pt x="62" y="67"/>
                    <a:pt x="62" y="67"/>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6" name="Freeform 27"/>
            <p:cNvSpPr>
              <a:spLocks noEditPoints="1"/>
            </p:cNvSpPr>
            <p:nvPr/>
          </p:nvSpPr>
          <p:spPr bwMode="auto">
            <a:xfrm>
              <a:off x="3067" y="1623"/>
              <a:ext cx="72" cy="76"/>
            </a:xfrm>
            <a:custGeom>
              <a:avLst/>
              <a:gdLst/>
              <a:ahLst/>
              <a:cxnLst>
                <a:cxn ang="0">
                  <a:pos x="78" y="13"/>
                </a:cxn>
                <a:cxn ang="0">
                  <a:pos x="57" y="1"/>
                </a:cxn>
                <a:cxn ang="0">
                  <a:pos x="49" y="2"/>
                </a:cxn>
                <a:cxn ang="0">
                  <a:pos x="29" y="15"/>
                </a:cxn>
                <a:cxn ang="0">
                  <a:pos x="2" y="39"/>
                </a:cxn>
                <a:cxn ang="0">
                  <a:pos x="4" y="63"/>
                </a:cxn>
                <a:cxn ang="0">
                  <a:pos x="39" y="120"/>
                </a:cxn>
                <a:cxn ang="0">
                  <a:pos x="46" y="121"/>
                </a:cxn>
                <a:cxn ang="0">
                  <a:pos x="51" y="116"/>
                </a:cxn>
                <a:cxn ang="0">
                  <a:pos x="52" y="114"/>
                </a:cxn>
                <a:cxn ang="0">
                  <a:pos x="55" y="61"/>
                </a:cxn>
                <a:cxn ang="0">
                  <a:pos x="55" y="61"/>
                </a:cxn>
                <a:cxn ang="0">
                  <a:pos x="55" y="60"/>
                </a:cxn>
                <a:cxn ang="0">
                  <a:pos x="55" y="61"/>
                </a:cxn>
                <a:cxn ang="0">
                  <a:pos x="61" y="114"/>
                </a:cxn>
                <a:cxn ang="0">
                  <a:pos x="66" y="121"/>
                </a:cxn>
                <a:cxn ang="0">
                  <a:pos x="74" y="119"/>
                </a:cxn>
                <a:cxn ang="0">
                  <a:pos x="94" y="89"/>
                </a:cxn>
                <a:cxn ang="0">
                  <a:pos x="106" y="61"/>
                </a:cxn>
                <a:cxn ang="0">
                  <a:pos x="106" y="60"/>
                </a:cxn>
                <a:cxn ang="0">
                  <a:pos x="78" y="13"/>
                </a:cxn>
                <a:cxn ang="0">
                  <a:pos x="78" y="13"/>
                </a:cxn>
                <a:cxn ang="0">
                  <a:pos x="78" y="13"/>
                </a:cxn>
              </a:cxnLst>
              <a:rect l="0" t="0" r="r" b="b"/>
              <a:pathLst>
                <a:path w="115" h="122">
                  <a:moveTo>
                    <a:pt x="78" y="13"/>
                  </a:moveTo>
                  <a:cubicBezTo>
                    <a:pt x="71" y="10"/>
                    <a:pt x="64" y="6"/>
                    <a:pt x="57" y="1"/>
                  </a:cubicBezTo>
                  <a:cubicBezTo>
                    <a:pt x="55" y="0"/>
                    <a:pt x="52" y="0"/>
                    <a:pt x="49" y="2"/>
                  </a:cubicBezTo>
                  <a:cubicBezTo>
                    <a:pt x="43" y="7"/>
                    <a:pt x="36" y="11"/>
                    <a:pt x="29" y="15"/>
                  </a:cubicBezTo>
                  <a:cubicBezTo>
                    <a:pt x="17" y="22"/>
                    <a:pt x="6" y="28"/>
                    <a:pt x="2" y="39"/>
                  </a:cubicBezTo>
                  <a:cubicBezTo>
                    <a:pt x="0" y="46"/>
                    <a:pt x="1" y="53"/>
                    <a:pt x="4" y="63"/>
                  </a:cubicBezTo>
                  <a:cubicBezTo>
                    <a:pt x="7" y="71"/>
                    <a:pt x="24" y="107"/>
                    <a:pt x="39" y="120"/>
                  </a:cubicBezTo>
                  <a:cubicBezTo>
                    <a:pt x="41" y="122"/>
                    <a:pt x="44" y="122"/>
                    <a:pt x="46" y="121"/>
                  </a:cubicBezTo>
                  <a:cubicBezTo>
                    <a:pt x="49" y="121"/>
                    <a:pt x="51" y="119"/>
                    <a:pt x="51" y="116"/>
                  </a:cubicBezTo>
                  <a:cubicBezTo>
                    <a:pt x="52" y="116"/>
                    <a:pt x="52" y="115"/>
                    <a:pt x="52" y="114"/>
                  </a:cubicBezTo>
                  <a:cubicBezTo>
                    <a:pt x="55" y="61"/>
                    <a:pt x="55" y="61"/>
                    <a:pt x="55" y="61"/>
                  </a:cubicBezTo>
                  <a:cubicBezTo>
                    <a:pt x="55" y="61"/>
                    <a:pt x="55" y="61"/>
                    <a:pt x="55" y="61"/>
                  </a:cubicBezTo>
                  <a:cubicBezTo>
                    <a:pt x="55" y="60"/>
                    <a:pt x="55" y="60"/>
                    <a:pt x="55" y="60"/>
                  </a:cubicBezTo>
                  <a:cubicBezTo>
                    <a:pt x="55" y="60"/>
                    <a:pt x="55" y="61"/>
                    <a:pt x="55" y="61"/>
                  </a:cubicBezTo>
                  <a:cubicBezTo>
                    <a:pt x="61" y="114"/>
                    <a:pt x="61" y="114"/>
                    <a:pt x="61" y="114"/>
                  </a:cubicBezTo>
                  <a:cubicBezTo>
                    <a:pt x="61" y="117"/>
                    <a:pt x="63" y="119"/>
                    <a:pt x="66" y="121"/>
                  </a:cubicBezTo>
                  <a:cubicBezTo>
                    <a:pt x="68" y="122"/>
                    <a:pt x="72" y="121"/>
                    <a:pt x="74" y="119"/>
                  </a:cubicBezTo>
                  <a:cubicBezTo>
                    <a:pt x="81" y="112"/>
                    <a:pt x="89" y="99"/>
                    <a:pt x="94" y="89"/>
                  </a:cubicBezTo>
                  <a:cubicBezTo>
                    <a:pt x="100" y="76"/>
                    <a:pt x="104" y="65"/>
                    <a:pt x="106" y="61"/>
                  </a:cubicBezTo>
                  <a:cubicBezTo>
                    <a:pt x="106" y="60"/>
                    <a:pt x="106" y="60"/>
                    <a:pt x="106" y="60"/>
                  </a:cubicBezTo>
                  <a:cubicBezTo>
                    <a:pt x="115" y="32"/>
                    <a:pt x="97" y="23"/>
                    <a:pt x="78" y="13"/>
                  </a:cubicBezTo>
                  <a:close/>
                  <a:moveTo>
                    <a:pt x="78" y="13"/>
                  </a:moveTo>
                  <a:cubicBezTo>
                    <a:pt x="78" y="13"/>
                    <a:pt x="78" y="13"/>
                    <a:pt x="78" y="13"/>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7" name="Freeform 28"/>
            <p:cNvSpPr>
              <a:spLocks noEditPoints="1"/>
            </p:cNvSpPr>
            <p:nvPr/>
          </p:nvSpPr>
          <p:spPr bwMode="auto">
            <a:xfrm>
              <a:off x="3096" y="1745"/>
              <a:ext cx="107" cy="100"/>
            </a:xfrm>
            <a:custGeom>
              <a:avLst/>
              <a:gdLst/>
              <a:ahLst/>
              <a:cxnLst>
                <a:cxn ang="0">
                  <a:pos x="92" y="80"/>
                </a:cxn>
                <a:cxn ang="0">
                  <a:pos x="92" y="79"/>
                </a:cxn>
                <a:cxn ang="0">
                  <a:pos x="93" y="80"/>
                </a:cxn>
                <a:cxn ang="0">
                  <a:pos x="148" y="134"/>
                </a:cxn>
                <a:cxn ang="0">
                  <a:pos x="156" y="137"/>
                </a:cxn>
                <a:cxn ang="0">
                  <a:pos x="163" y="134"/>
                </a:cxn>
                <a:cxn ang="0">
                  <a:pos x="167" y="127"/>
                </a:cxn>
                <a:cxn ang="0">
                  <a:pos x="148" y="32"/>
                </a:cxn>
                <a:cxn ang="0">
                  <a:pos x="107" y="0"/>
                </a:cxn>
                <a:cxn ang="0">
                  <a:pos x="74" y="6"/>
                </a:cxn>
                <a:cxn ang="0">
                  <a:pos x="39" y="12"/>
                </a:cxn>
                <a:cxn ang="0">
                  <a:pos x="34" y="14"/>
                </a:cxn>
                <a:cxn ang="0">
                  <a:pos x="31" y="20"/>
                </a:cxn>
                <a:cxn ang="0">
                  <a:pos x="21" y="53"/>
                </a:cxn>
                <a:cxn ang="0">
                  <a:pos x="37" y="130"/>
                </a:cxn>
                <a:cxn ang="0">
                  <a:pos x="130" y="160"/>
                </a:cxn>
                <a:cxn ang="0">
                  <a:pos x="130" y="160"/>
                </a:cxn>
                <a:cxn ang="0">
                  <a:pos x="137" y="158"/>
                </a:cxn>
                <a:cxn ang="0">
                  <a:pos x="139" y="142"/>
                </a:cxn>
                <a:cxn ang="0">
                  <a:pos x="92" y="80"/>
                </a:cxn>
                <a:cxn ang="0">
                  <a:pos x="92" y="80"/>
                </a:cxn>
                <a:cxn ang="0">
                  <a:pos x="92" y="80"/>
                </a:cxn>
                <a:cxn ang="0">
                  <a:pos x="92" y="80"/>
                </a:cxn>
              </a:cxnLst>
              <a:rect l="0" t="0" r="r" b="b"/>
              <a:pathLst>
                <a:path w="171" h="160">
                  <a:moveTo>
                    <a:pt x="92" y="80"/>
                  </a:moveTo>
                  <a:cubicBezTo>
                    <a:pt x="92" y="79"/>
                    <a:pt x="92" y="79"/>
                    <a:pt x="92" y="79"/>
                  </a:cubicBezTo>
                  <a:cubicBezTo>
                    <a:pt x="92" y="79"/>
                    <a:pt x="93" y="79"/>
                    <a:pt x="93" y="80"/>
                  </a:cubicBezTo>
                  <a:cubicBezTo>
                    <a:pt x="148" y="134"/>
                    <a:pt x="148" y="134"/>
                    <a:pt x="148" y="134"/>
                  </a:cubicBezTo>
                  <a:cubicBezTo>
                    <a:pt x="150" y="136"/>
                    <a:pt x="153" y="137"/>
                    <a:pt x="156" y="137"/>
                  </a:cubicBezTo>
                  <a:cubicBezTo>
                    <a:pt x="159" y="137"/>
                    <a:pt x="161" y="136"/>
                    <a:pt x="163" y="134"/>
                  </a:cubicBezTo>
                  <a:cubicBezTo>
                    <a:pt x="166" y="133"/>
                    <a:pt x="167" y="130"/>
                    <a:pt x="167" y="127"/>
                  </a:cubicBezTo>
                  <a:cubicBezTo>
                    <a:pt x="171" y="99"/>
                    <a:pt x="153" y="44"/>
                    <a:pt x="148" y="32"/>
                  </a:cubicBezTo>
                  <a:cubicBezTo>
                    <a:pt x="138" y="7"/>
                    <a:pt x="123" y="0"/>
                    <a:pt x="107" y="0"/>
                  </a:cubicBezTo>
                  <a:cubicBezTo>
                    <a:pt x="97" y="0"/>
                    <a:pt x="85" y="3"/>
                    <a:pt x="74" y="6"/>
                  </a:cubicBezTo>
                  <a:cubicBezTo>
                    <a:pt x="63" y="9"/>
                    <a:pt x="51" y="11"/>
                    <a:pt x="39" y="12"/>
                  </a:cubicBezTo>
                  <a:cubicBezTo>
                    <a:pt x="37" y="12"/>
                    <a:pt x="36" y="13"/>
                    <a:pt x="34" y="14"/>
                  </a:cubicBezTo>
                  <a:cubicBezTo>
                    <a:pt x="33" y="16"/>
                    <a:pt x="31" y="18"/>
                    <a:pt x="31" y="20"/>
                  </a:cubicBezTo>
                  <a:cubicBezTo>
                    <a:pt x="29" y="31"/>
                    <a:pt x="25" y="42"/>
                    <a:pt x="21" y="53"/>
                  </a:cubicBezTo>
                  <a:cubicBezTo>
                    <a:pt x="10" y="82"/>
                    <a:pt x="0" y="109"/>
                    <a:pt x="37" y="130"/>
                  </a:cubicBezTo>
                  <a:cubicBezTo>
                    <a:pt x="50" y="136"/>
                    <a:pt x="101" y="160"/>
                    <a:pt x="130" y="160"/>
                  </a:cubicBezTo>
                  <a:cubicBezTo>
                    <a:pt x="130" y="160"/>
                    <a:pt x="130" y="160"/>
                    <a:pt x="130" y="160"/>
                  </a:cubicBezTo>
                  <a:cubicBezTo>
                    <a:pt x="133" y="160"/>
                    <a:pt x="135" y="159"/>
                    <a:pt x="137" y="158"/>
                  </a:cubicBezTo>
                  <a:cubicBezTo>
                    <a:pt x="142" y="154"/>
                    <a:pt x="143" y="147"/>
                    <a:pt x="139" y="142"/>
                  </a:cubicBezTo>
                  <a:cubicBezTo>
                    <a:pt x="92" y="80"/>
                    <a:pt x="92" y="80"/>
                    <a:pt x="92" y="80"/>
                  </a:cubicBezTo>
                  <a:cubicBezTo>
                    <a:pt x="92" y="80"/>
                    <a:pt x="92" y="80"/>
                    <a:pt x="92" y="80"/>
                  </a:cubicBezTo>
                  <a:close/>
                  <a:moveTo>
                    <a:pt x="92" y="80"/>
                  </a:moveTo>
                  <a:cubicBezTo>
                    <a:pt x="92" y="80"/>
                    <a:pt x="92" y="80"/>
                    <a:pt x="92" y="80"/>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8" name="Freeform 29"/>
            <p:cNvSpPr>
              <a:spLocks noEditPoints="1"/>
            </p:cNvSpPr>
            <p:nvPr/>
          </p:nvSpPr>
          <p:spPr bwMode="auto">
            <a:xfrm>
              <a:off x="3160" y="1893"/>
              <a:ext cx="105" cy="110"/>
            </a:xfrm>
            <a:custGeom>
              <a:avLst/>
              <a:gdLst/>
              <a:ahLst/>
              <a:cxnLst>
                <a:cxn ang="0">
                  <a:pos x="111" y="2"/>
                </a:cxn>
                <a:cxn ang="0">
                  <a:pos x="104" y="0"/>
                </a:cxn>
                <a:cxn ang="0">
                  <a:pos x="97" y="2"/>
                </a:cxn>
                <a:cxn ang="0">
                  <a:pos x="93" y="10"/>
                </a:cxn>
                <a:cxn ang="0">
                  <a:pos x="88" y="88"/>
                </a:cxn>
                <a:cxn ang="0">
                  <a:pos x="88" y="88"/>
                </a:cxn>
                <a:cxn ang="0">
                  <a:pos x="87" y="88"/>
                </a:cxn>
                <a:cxn ang="0">
                  <a:pos x="87" y="88"/>
                </a:cxn>
                <a:cxn ang="0">
                  <a:pos x="87" y="88"/>
                </a:cxn>
                <a:cxn ang="0">
                  <a:pos x="80" y="10"/>
                </a:cxn>
                <a:cxn ang="0">
                  <a:pos x="73" y="1"/>
                </a:cxn>
                <a:cxn ang="0">
                  <a:pos x="69" y="0"/>
                </a:cxn>
                <a:cxn ang="0">
                  <a:pos x="61" y="3"/>
                </a:cxn>
                <a:cxn ang="0">
                  <a:pos x="13" y="88"/>
                </a:cxn>
                <a:cxn ang="0">
                  <a:pos x="52" y="156"/>
                </a:cxn>
                <a:cxn ang="0">
                  <a:pos x="83" y="174"/>
                </a:cxn>
                <a:cxn ang="0">
                  <a:pos x="88" y="176"/>
                </a:cxn>
                <a:cxn ang="0">
                  <a:pos x="94" y="174"/>
                </a:cxn>
                <a:cxn ang="0">
                  <a:pos x="124" y="155"/>
                </a:cxn>
                <a:cxn ang="0">
                  <a:pos x="150" y="139"/>
                </a:cxn>
                <a:cxn ang="0">
                  <a:pos x="161" y="86"/>
                </a:cxn>
                <a:cxn ang="0">
                  <a:pos x="111" y="2"/>
                </a:cxn>
                <a:cxn ang="0">
                  <a:pos x="111" y="2"/>
                </a:cxn>
                <a:cxn ang="0">
                  <a:pos x="111" y="2"/>
                </a:cxn>
              </a:cxnLst>
              <a:rect l="0" t="0" r="r" b="b"/>
              <a:pathLst>
                <a:path w="169" h="176">
                  <a:moveTo>
                    <a:pt x="111" y="2"/>
                  </a:moveTo>
                  <a:cubicBezTo>
                    <a:pt x="109" y="1"/>
                    <a:pt x="106" y="0"/>
                    <a:pt x="104" y="0"/>
                  </a:cubicBezTo>
                  <a:cubicBezTo>
                    <a:pt x="101" y="0"/>
                    <a:pt x="99" y="1"/>
                    <a:pt x="97" y="2"/>
                  </a:cubicBezTo>
                  <a:cubicBezTo>
                    <a:pt x="94" y="4"/>
                    <a:pt x="93" y="7"/>
                    <a:pt x="93" y="10"/>
                  </a:cubicBezTo>
                  <a:cubicBezTo>
                    <a:pt x="88" y="88"/>
                    <a:pt x="88" y="88"/>
                    <a:pt x="88" y="88"/>
                  </a:cubicBezTo>
                  <a:cubicBezTo>
                    <a:pt x="88" y="88"/>
                    <a:pt x="88" y="88"/>
                    <a:pt x="88" y="88"/>
                  </a:cubicBezTo>
                  <a:cubicBezTo>
                    <a:pt x="87" y="88"/>
                    <a:pt x="87" y="88"/>
                    <a:pt x="87" y="88"/>
                  </a:cubicBezTo>
                  <a:cubicBezTo>
                    <a:pt x="87" y="88"/>
                    <a:pt x="87" y="88"/>
                    <a:pt x="87" y="88"/>
                  </a:cubicBezTo>
                  <a:cubicBezTo>
                    <a:pt x="87" y="88"/>
                    <a:pt x="87" y="88"/>
                    <a:pt x="87" y="88"/>
                  </a:cubicBezTo>
                  <a:cubicBezTo>
                    <a:pt x="80" y="10"/>
                    <a:pt x="80" y="10"/>
                    <a:pt x="80" y="10"/>
                  </a:cubicBezTo>
                  <a:cubicBezTo>
                    <a:pt x="79" y="6"/>
                    <a:pt x="77" y="3"/>
                    <a:pt x="73" y="1"/>
                  </a:cubicBezTo>
                  <a:cubicBezTo>
                    <a:pt x="72" y="0"/>
                    <a:pt x="70" y="0"/>
                    <a:pt x="69" y="0"/>
                  </a:cubicBezTo>
                  <a:cubicBezTo>
                    <a:pt x="66" y="0"/>
                    <a:pt x="63" y="1"/>
                    <a:pt x="61" y="3"/>
                  </a:cubicBezTo>
                  <a:cubicBezTo>
                    <a:pt x="40" y="22"/>
                    <a:pt x="18" y="75"/>
                    <a:pt x="13" y="88"/>
                  </a:cubicBezTo>
                  <a:cubicBezTo>
                    <a:pt x="0" y="128"/>
                    <a:pt x="25" y="142"/>
                    <a:pt x="52" y="156"/>
                  </a:cubicBezTo>
                  <a:cubicBezTo>
                    <a:pt x="63" y="161"/>
                    <a:pt x="73" y="167"/>
                    <a:pt x="83" y="174"/>
                  </a:cubicBezTo>
                  <a:cubicBezTo>
                    <a:pt x="84" y="175"/>
                    <a:pt x="86" y="176"/>
                    <a:pt x="88" y="176"/>
                  </a:cubicBezTo>
                  <a:cubicBezTo>
                    <a:pt x="90" y="176"/>
                    <a:pt x="92" y="175"/>
                    <a:pt x="94" y="174"/>
                  </a:cubicBezTo>
                  <a:cubicBezTo>
                    <a:pt x="103" y="166"/>
                    <a:pt x="113" y="161"/>
                    <a:pt x="124" y="155"/>
                  </a:cubicBezTo>
                  <a:cubicBezTo>
                    <a:pt x="133" y="150"/>
                    <a:pt x="142" y="145"/>
                    <a:pt x="150" y="139"/>
                  </a:cubicBezTo>
                  <a:cubicBezTo>
                    <a:pt x="166" y="125"/>
                    <a:pt x="169" y="109"/>
                    <a:pt x="161" y="86"/>
                  </a:cubicBezTo>
                  <a:cubicBezTo>
                    <a:pt x="156" y="73"/>
                    <a:pt x="133" y="21"/>
                    <a:pt x="111" y="2"/>
                  </a:cubicBezTo>
                  <a:close/>
                  <a:moveTo>
                    <a:pt x="111" y="2"/>
                  </a:moveTo>
                  <a:cubicBezTo>
                    <a:pt x="111" y="2"/>
                    <a:pt x="111" y="2"/>
                    <a:pt x="111" y="2"/>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9" name="Freeform 30"/>
            <p:cNvSpPr>
              <a:spLocks noEditPoints="1"/>
            </p:cNvSpPr>
            <p:nvPr/>
          </p:nvSpPr>
          <p:spPr bwMode="auto">
            <a:xfrm>
              <a:off x="3077" y="1847"/>
              <a:ext cx="108" cy="95"/>
            </a:xfrm>
            <a:custGeom>
              <a:avLst/>
              <a:gdLst/>
              <a:ahLst/>
              <a:cxnLst>
                <a:cxn ang="0">
                  <a:pos x="171" y="54"/>
                </a:cxn>
                <a:cxn ang="0">
                  <a:pos x="162" y="50"/>
                </a:cxn>
                <a:cxn ang="0">
                  <a:pos x="159" y="50"/>
                </a:cxn>
                <a:cxn ang="0">
                  <a:pos x="84" y="71"/>
                </a:cxn>
                <a:cxn ang="0">
                  <a:pos x="84" y="71"/>
                </a:cxn>
                <a:cxn ang="0">
                  <a:pos x="84" y="71"/>
                </a:cxn>
                <a:cxn ang="0">
                  <a:pos x="84" y="70"/>
                </a:cxn>
                <a:cxn ang="0">
                  <a:pos x="84" y="70"/>
                </a:cxn>
                <a:cxn ang="0">
                  <a:pos x="155" y="39"/>
                </a:cxn>
                <a:cxn ang="0">
                  <a:pos x="158" y="37"/>
                </a:cxn>
                <a:cxn ang="0">
                  <a:pos x="162" y="27"/>
                </a:cxn>
                <a:cxn ang="0">
                  <a:pos x="156" y="18"/>
                </a:cxn>
                <a:cxn ang="0">
                  <a:pos x="60" y="0"/>
                </a:cxn>
                <a:cxn ang="0">
                  <a:pos x="60" y="0"/>
                </a:cxn>
                <a:cxn ang="0">
                  <a:pos x="27" y="10"/>
                </a:cxn>
                <a:cxn ang="0">
                  <a:pos x="8" y="59"/>
                </a:cxn>
                <a:cxn ang="0">
                  <a:pos x="1" y="94"/>
                </a:cxn>
                <a:cxn ang="0">
                  <a:pos x="5" y="104"/>
                </a:cxn>
                <a:cxn ang="0">
                  <a:pos x="32" y="126"/>
                </a:cxn>
                <a:cxn ang="0">
                  <a:pos x="78" y="153"/>
                </a:cxn>
                <a:cxn ang="0">
                  <a:pos x="109" y="140"/>
                </a:cxn>
                <a:cxn ang="0">
                  <a:pos x="110" y="139"/>
                </a:cxn>
                <a:cxn ang="0">
                  <a:pos x="142" y="108"/>
                </a:cxn>
                <a:cxn ang="0">
                  <a:pos x="172" y="66"/>
                </a:cxn>
                <a:cxn ang="0">
                  <a:pos x="171" y="54"/>
                </a:cxn>
                <a:cxn ang="0">
                  <a:pos x="171" y="54"/>
                </a:cxn>
                <a:cxn ang="0">
                  <a:pos x="171" y="54"/>
                </a:cxn>
              </a:cxnLst>
              <a:rect l="0" t="0" r="r" b="b"/>
              <a:pathLst>
                <a:path w="174" h="153">
                  <a:moveTo>
                    <a:pt x="171" y="54"/>
                  </a:moveTo>
                  <a:cubicBezTo>
                    <a:pt x="169" y="51"/>
                    <a:pt x="165" y="50"/>
                    <a:pt x="162" y="50"/>
                  </a:cubicBezTo>
                  <a:cubicBezTo>
                    <a:pt x="161" y="50"/>
                    <a:pt x="160" y="50"/>
                    <a:pt x="159" y="50"/>
                  </a:cubicBezTo>
                  <a:cubicBezTo>
                    <a:pt x="84" y="71"/>
                    <a:pt x="84" y="71"/>
                    <a:pt x="84" y="71"/>
                  </a:cubicBezTo>
                  <a:cubicBezTo>
                    <a:pt x="84" y="71"/>
                    <a:pt x="84" y="71"/>
                    <a:pt x="84" y="71"/>
                  </a:cubicBezTo>
                  <a:cubicBezTo>
                    <a:pt x="84" y="71"/>
                    <a:pt x="84" y="71"/>
                    <a:pt x="84" y="71"/>
                  </a:cubicBezTo>
                  <a:cubicBezTo>
                    <a:pt x="84" y="71"/>
                    <a:pt x="83" y="70"/>
                    <a:pt x="84" y="70"/>
                  </a:cubicBezTo>
                  <a:cubicBezTo>
                    <a:pt x="84" y="70"/>
                    <a:pt x="84" y="70"/>
                    <a:pt x="84" y="70"/>
                  </a:cubicBezTo>
                  <a:cubicBezTo>
                    <a:pt x="155" y="39"/>
                    <a:pt x="155" y="39"/>
                    <a:pt x="155" y="39"/>
                  </a:cubicBezTo>
                  <a:cubicBezTo>
                    <a:pt x="156" y="38"/>
                    <a:pt x="157" y="38"/>
                    <a:pt x="158" y="37"/>
                  </a:cubicBezTo>
                  <a:cubicBezTo>
                    <a:pt x="161" y="35"/>
                    <a:pt x="162" y="31"/>
                    <a:pt x="162" y="27"/>
                  </a:cubicBezTo>
                  <a:cubicBezTo>
                    <a:pt x="161" y="23"/>
                    <a:pt x="159" y="20"/>
                    <a:pt x="156" y="18"/>
                  </a:cubicBezTo>
                  <a:cubicBezTo>
                    <a:pt x="131" y="5"/>
                    <a:pt x="74" y="0"/>
                    <a:pt x="60" y="0"/>
                  </a:cubicBezTo>
                  <a:cubicBezTo>
                    <a:pt x="60" y="0"/>
                    <a:pt x="60" y="0"/>
                    <a:pt x="60" y="0"/>
                  </a:cubicBezTo>
                  <a:cubicBezTo>
                    <a:pt x="46" y="0"/>
                    <a:pt x="35" y="4"/>
                    <a:pt x="27" y="10"/>
                  </a:cubicBezTo>
                  <a:cubicBezTo>
                    <a:pt x="14" y="21"/>
                    <a:pt x="11" y="40"/>
                    <a:pt x="8" y="59"/>
                  </a:cubicBezTo>
                  <a:cubicBezTo>
                    <a:pt x="7" y="71"/>
                    <a:pt x="5" y="82"/>
                    <a:pt x="1" y="94"/>
                  </a:cubicBezTo>
                  <a:cubicBezTo>
                    <a:pt x="0" y="98"/>
                    <a:pt x="1" y="102"/>
                    <a:pt x="5" y="104"/>
                  </a:cubicBezTo>
                  <a:cubicBezTo>
                    <a:pt x="15" y="111"/>
                    <a:pt x="24" y="119"/>
                    <a:pt x="32" y="126"/>
                  </a:cubicBezTo>
                  <a:cubicBezTo>
                    <a:pt x="47" y="140"/>
                    <a:pt x="61" y="153"/>
                    <a:pt x="78" y="153"/>
                  </a:cubicBezTo>
                  <a:cubicBezTo>
                    <a:pt x="87" y="153"/>
                    <a:pt x="97" y="149"/>
                    <a:pt x="109" y="140"/>
                  </a:cubicBezTo>
                  <a:cubicBezTo>
                    <a:pt x="109" y="140"/>
                    <a:pt x="110" y="139"/>
                    <a:pt x="110" y="139"/>
                  </a:cubicBezTo>
                  <a:cubicBezTo>
                    <a:pt x="115" y="135"/>
                    <a:pt x="128" y="123"/>
                    <a:pt x="142" y="108"/>
                  </a:cubicBezTo>
                  <a:cubicBezTo>
                    <a:pt x="153" y="97"/>
                    <a:pt x="167" y="80"/>
                    <a:pt x="172" y="66"/>
                  </a:cubicBezTo>
                  <a:cubicBezTo>
                    <a:pt x="174" y="62"/>
                    <a:pt x="174" y="57"/>
                    <a:pt x="171" y="54"/>
                  </a:cubicBezTo>
                  <a:close/>
                  <a:moveTo>
                    <a:pt x="171" y="54"/>
                  </a:moveTo>
                  <a:cubicBezTo>
                    <a:pt x="171" y="54"/>
                    <a:pt x="171" y="54"/>
                    <a:pt x="171" y="54"/>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0" name="Freeform 31"/>
            <p:cNvSpPr>
              <a:spLocks noEditPoints="1"/>
            </p:cNvSpPr>
            <p:nvPr/>
          </p:nvSpPr>
          <p:spPr bwMode="auto">
            <a:xfrm>
              <a:off x="3211" y="1737"/>
              <a:ext cx="105" cy="102"/>
            </a:xfrm>
            <a:custGeom>
              <a:avLst/>
              <a:gdLst/>
              <a:ahLst/>
              <a:cxnLst>
                <a:cxn ang="0">
                  <a:pos x="40" y="148"/>
                </a:cxn>
                <a:cxn ang="0">
                  <a:pos x="41" y="159"/>
                </a:cxn>
                <a:cxn ang="0">
                  <a:pos x="49" y="164"/>
                </a:cxn>
                <a:cxn ang="0">
                  <a:pos x="52" y="163"/>
                </a:cxn>
                <a:cxn ang="0">
                  <a:pos x="99" y="141"/>
                </a:cxn>
                <a:cxn ang="0">
                  <a:pos x="135" y="116"/>
                </a:cxn>
                <a:cxn ang="0">
                  <a:pos x="136" y="115"/>
                </a:cxn>
                <a:cxn ang="0">
                  <a:pos x="138" y="37"/>
                </a:cxn>
                <a:cxn ang="0">
                  <a:pos x="121" y="6"/>
                </a:cxn>
                <a:cxn ang="0">
                  <a:pos x="112" y="0"/>
                </a:cxn>
                <a:cxn ang="0">
                  <a:pos x="111" y="0"/>
                </a:cxn>
                <a:cxn ang="0">
                  <a:pos x="92" y="1"/>
                </a:cxn>
                <a:cxn ang="0">
                  <a:pos x="76" y="1"/>
                </a:cxn>
                <a:cxn ang="0">
                  <a:pos x="62" y="1"/>
                </a:cxn>
                <a:cxn ang="0">
                  <a:pos x="24" y="10"/>
                </a:cxn>
                <a:cxn ang="0">
                  <a:pos x="9" y="41"/>
                </a:cxn>
                <a:cxn ang="0">
                  <a:pos x="9" y="138"/>
                </a:cxn>
                <a:cxn ang="0">
                  <a:pos x="16" y="145"/>
                </a:cxn>
                <a:cxn ang="0">
                  <a:pos x="19" y="146"/>
                </a:cxn>
                <a:cxn ang="0">
                  <a:pos x="27" y="143"/>
                </a:cxn>
                <a:cxn ang="0">
                  <a:pos x="29" y="141"/>
                </a:cxn>
                <a:cxn ang="0">
                  <a:pos x="72" y="77"/>
                </a:cxn>
                <a:cxn ang="0">
                  <a:pos x="73" y="77"/>
                </a:cxn>
                <a:cxn ang="0">
                  <a:pos x="73" y="77"/>
                </a:cxn>
                <a:cxn ang="0">
                  <a:pos x="73" y="77"/>
                </a:cxn>
                <a:cxn ang="0">
                  <a:pos x="73" y="78"/>
                </a:cxn>
                <a:cxn ang="0">
                  <a:pos x="40" y="148"/>
                </a:cxn>
                <a:cxn ang="0">
                  <a:pos x="40" y="148"/>
                </a:cxn>
                <a:cxn ang="0">
                  <a:pos x="40" y="148"/>
                </a:cxn>
              </a:cxnLst>
              <a:rect l="0" t="0" r="r" b="b"/>
              <a:pathLst>
                <a:path w="169" h="164">
                  <a:moveTo>
                    <a:pt x="40" y="148"/>
                  </a:moveTo>
                  <a:cubicBezTo>
                    <a:pt x="38" y="152"/>
                    <a:pt x="38" y="156"/>
                    <a:pt x="41" y="159"/>
                  </a:cubicBezTo>
                  <a:cubicBezTo>
                    <a:pt x="43" y="162"/>
                    <a:pt x="46" y="164"/>
                    <a:pt x="49" y="164"/>
                  </a:cubicBezTo>
                  <a:cubicBezTo>
                    <a:pt x="50" y="164"/>
                    <a:pt x="51" y="164"/>
                    <a:pt x="52" y="163"/>
                  </a:cubicBezTo>
                  <a:cubicBezTo>
                    <a:pt x="67" y="160"/>
                    <a:pt x="86" y="150"/>
                    <a:pt x="99" y="141"/>
                  </a:cubicBezTo>
                  <a:cubicBezTo>
                    <a:pt x="116" y="130"/>
                    <a:pt x="130" y="120"/>
                    <a:pt x="135" y="116"/>
                  </a:cubicBezTo>
                  <a:cubicBezTo>
                    <a:pt x="136" y="115"/>
                    <a:pt x="136" y="115"/>
                    <a:pt x="136" y="115"/>
                  </a:cubicBezTo>
                  <a:cubicBezTo>
                    <a:pt x="169" y="87"/>
                    <a:pt x="154" y="62"/>
                    <a:pt x="138" y="37"/>
                  </a:cubicBezTo>
                  <a:cubicBezTo>
                    <a:pt x="132" y="27"/>
                    <a:pt x="125" y="17"/>
                    <a:pt x="121" y="6"/>
                  </a:cubicBezTo>
                  <a:cubicBezTo>
                    <a:pt x="119" y="2"/>
                    <a:pt x="116" y="0"/>
                    <a:pt x="112" y="0"/>
                  </a:cubicBezTo>
                  <a:cubicBezTo>
                    <a:pt x="112" y="0"/>
                    <a:pt x="112" y="0"/>
                    <a:pt x="111" y="0"/>
                  </a:cubicBezTo>
                  <a:cubicBezTo>
                    <a:pt x="105" y="1"/>
                    <a:pt x="98" y="1"/>
                    <a:pt x="92" y="1"/>
                  </a:cubicBezTo>
                  <a:cubicBezTo>
                    <a:pt x="86" y="1"/>
                    <a:pt x="81" y="1"/>
                    <a:pt x="76" y="1"/>
                  </a:cubicBezTo>
                  <a:cubicBezTo>
                    <a:pt x="71" y="1"/>
                    <a:pt x="66" y="1"/>
                    <a:pt x="62" y="1"/>
                  </a:cubicBezTo>
                  <a:cubicBezTo>
                    <a:pt x="47" y="1"/>
                    <a:pt x="34" y="2"/>
                    <a:pt x="24" y="10"/>
                  </a:cubicBezTo>
                  <a:cubicBezTo>
                    <a:pt x="17" y="17"/>
                    <a:pt x="11" y="27"/>
                    <a:pt x="9" y="41"/>
                  </a:cubicBezTo>
                  <a:cubicBezTo>
                    <a:pt x="6" y="54"/>
                    <a:pt x="0" y="111"/>
                    <a:pt x="9" y="138"/>
                  </a:cubicBezTo>
                  <a:cubicBezTo>
                    <a:pt x="10" y="142"/>
                    <a:pt x="13" y="145"/>
                    <a:pt x="16" y="145"/>
                  </a:cubicBezTo>
                  <a:cubicBezTo>
                    <a:pt x="17" y="146"/>
                    <a:pt x="18" y="146"/>
                    <a:pt x="19" y="146"/>
                  </a:cubicBezTo>
                  <a:cubicBezTo>
                    <a:pt x="22" y="146"/>
                    <a:pt x="24" y="145"/>
                    <a:pt x="27" y="143"/>
                  </a:cubicBezTo>
                  <a:cubicBezTo>
                    <a:pt x="27" y="143"/>
                    <a:pt x="28" y="142"/>
                    <a:pt x="29" y="141"/>
                  </a:cubicBezTo>
                  <a:cubicBezTo>
                    <a:pt x="72" y="77"/>
                    <a:pt x="72" y="77"/>
                    <a:pt x="72" y="77"/>
                  </a:cubicBezTo>
                  <a:cubicBezTo>
                    <a:pt x="73" y="77"/>
                    <a:pt x="73" y="77"/>
                    <a:pt x="73" y="77"/>
                  </a:cubicBezTo>
                  <a:cubicBezTo>
                    <a:pt x="73" y="77"/>
                    <a:pt x="73" y="77"/>
                    <a:pt x="73" y="77"/>
                  </a:cubicBezTo>
                  <a:cubicBezTo>
                    <a:pt x="73" y="77"/>
                    <a:pt x="73" y="77"/>
                    <a:pt x="73" y="77"/>
                  </a:cubicBezTo>
                  <a:cubicBezTo>
                    <a:pt x="74" y="77"/>
                    <a:pt x="74" y="77"/>
                    <a:pt x="73" y="78"/>
                  </a:cubicBezTo>
                  <a:lnTo>
                    <a:pt x="40" y="148"/>
                  </a:lnTo>
                  <a:close/>
                  <a:moveTo>
                    <a:pt x="40" y="148"/>
                  </a:moveTo>
                  <a:cubicBezTo>
                    <a:pt x="40" y="148"/>
                    <a:pt x="40" y="148"/>
                    <a:pt x="40" y="148"/>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1" name="Freeform 32"/>
            <p:cNvSpPr>
              <a:spLocks noEditPoints="1"/>
            </p:cNvSpPr>
            <p:nvPr/>
          </p:nvSpPr>
          <p:spPr bwMode="auto">
            <a:xfrm>
              <a:off x="3241" y="1834"/>
              <a:ext cx="110" cy="95"/>
            </a:xfrm>
            <a:custGeom>
              <a:avLst/>
              <a:gdLst/>
              <a:ahLst/>
              <a:cxnLst>
                <a:cxn ang="0">
                  <a:pos x="163" y="52"/>
                </a:cxn>
                <a:cxn ang="0">
                  <a:pos x="114" y="0"/>
                </a:cxn>
                <a:cxn ang="0">
                  <a:pos x="104" y="1"/>
                </a:cxn>
                <a:cxn ang="0">
                  <a:pos x="11" y="32"/>
                </a:cxn>
                <a:cxn ang="0">
                  <a:pos x="7" y="43"/>
                </a:cxn>
                <a:cxn ang="0">
                  <a:pos x="15" y="52"/>
                </a:cxn>
                <a:cxn ang="0">
                  <a:pos x="90" y="73"/>
                </a:cxn>
                <a:cxn ang="0">
                  <a:pos x="90" y="73"/>
                </a:cxn>
                <a:cxn ang="0">
                  <a:pos x="90" y="74"/>
                </a:cxn>
                <a:cxn ang="0">
                  <a:pos x="90" y="74"/>
                </a:cxn>
                <a:cxn ang="0">
                  <a:pos x="90" y="74"/>
                </a:cxn>
                <a:cxn ang="0">
                  <a:pos x="13" y="64"/>
                </a:cxn>
                <a:cxn ang="0">
                  <a:pos x="11" y="64"/>
                </a:cxn>
                <a:cxn ang="0">
                  <a:pos x="4" y="67"/>
                </a:cxn>
                <a:cxn ang="0">
                  <a:pos x="0" y="77"/>
                </a:cxn>
                <a:cxn ang="0">
                  <a:pos x="1" y="81"/>
                </a:cxn>
                <a:cxn ang="0">
                  <a:pos x="75" y="145"/>
                </a:cxn>
                <a:cxn ang="0">
                  <a:pos x="102" y="154"/>
                </a:cxn>
                <a:cxn ang="0">
                  <a:pos x="128" y="144"/>
                </a:cxn>
                <a:cxn ang="0">
                  <a:pos x="149" y="121"/>
                </a:cxn>
                <a:cxn ang="0">
                  <a:pos x="157" y="112"/>
                </a:cxn>
                <a:cxn ang="0">
                  <a:pos x="173" y="96"/>
                </a:cxn>
                <a:cxn ang="0">
                  <a:pos x="175" y="85"/>
                </a:cxn>
                <a:cxn ang="0">
                  <a:pos x="163" y="52"/>
                </a:cxn>
                <a:cxn ang="0">
                  <a:pos x="163" y="52"/>
                </a:cxn>
                <a:cxn ang="0">
                  <a:pos x="163" y="52"/>
                </a:cxn>
              </a:cxnLst>
              <a:rect l="0" t="0" r="r" b="b"/>
              <a:pathLst>
                <a:path w="177" h="154">
                  <a:moveTo>
                    <a:pt x="163" y="52"/>
                  </a:moveTo>
                  <a:cubicBezTo>
                    <a:pt x="155" y="25"/>
                    <a:pt x="147" y="0"/>
                    <a:pt x="114" y="0"/>
                  </a:cubicBezTo>
                  <a:cubicBezTo>
                    <a:pt x="111" y="0"/>
                    <a:pt x="107" y="0"/>
                    <a:pt x="104" y="1"/>
                  </a:cubicBezTo>
                  <a:cubicBezTo>
                    <a:pt x="90" y="3"/>
                    <a:pt x="34" y="15"/>
                    <a:pt x="11" y="32"/>
                  </a:cubicBezTo>
                  <a:cubicBezTo>
                    <a:pt x="8" y="35"/>
                    <a:pt x="6" y="39"/>
                    <a:pt x="7" y="43"/>
                  </a:cubicBezTo>
                  <a:cubicBezTo>
                    <a:pt x="8" y="47"/>
                    <a:pt x="11" y="51"/>
                    <a:pt x="15" y="52"/>
                  </a:cubicBezTo>
                  <a:cubicBezTo>
                    <a:pt x="90" y="73"/>
                    <a:pt x="90" y="73"/>
                    <a:pt x="90" y="73"/>
                  </a:cubicBezTo>
                  <a:cubicBezTo>
                    <a:pt x="90" y="73"/>
                    <a:pt x="90" y="73"/>
                    <a:pt x="90" y="73"/>
                  </a:cubicBezTo>
                  <a:cubicBezTo>
                    <a:pt x="90" y="73"/>
                    <a:pt x="90" y="73"/>
                    <a:pt x="90" y="74"/>
                  </a:cubicBezTo>
                  <a:cubicBezTo>
                    <a:pt x="90" y="74"/>
                    <a:pt x="90" y="74"/>
                    <a:pt x="90" y="74"/>
                  </a:cubicBezTo>
                  <a:cubicBezTo>
                    <a:pt x="90" y="74"/>
                    <a:pt x="90" y="74"/>
                    <a:pt x="90" y="74"/>
                  </a:cubicBezTo>
                  <a:cubicBezTo>
                    <a:pt x="13" y="64"/>
                    <a:pt x="13" y="64"/>
                    <a:pt x="13" y="64"/>
                  </a:cubicBezTo>
                  <a:cubicBezTo>
                    <a:pt x="12" y="64"/>
                    <a:pt x="12" y="64"/>
                    <a:pt x="11" y="64"/>
                  </a:cubicBezTo>
                  <a:cubicBezTo>
                    <a:pt x="9" y="64"/>
                    <a:pt x="6" y="65"/>
                    <a:pt x="4" y="67"/>
                  </a:cubicBezTo>
                  <a:cubicBezTo>
                    <a:pt x="1" y="69"/>
                    <a:pt x="0" y="73"/>
                    <a:pt x="0" y="77"/>
                  </a:cubicBezTo>
                  <a:cubicBezTo>
                    <a:pt x="0" y="78"/>
                    <a:pt x="1" y="80"/>
                    <a:pt x="1" y="81"/>
                  </a:cubicBezTo>
                  <a:cubicBezTo>
                    <a:pt x="16" y="106"/>
                    <a:pt x="63" y="138"/>
                    <a:pt x="75" y="145"/>
                  </a:cubicBezTo>
                  <a:cubicBezTo>
                    <a:pt x="85" y="151"/>
                    <a:pt x="94" y="154"/>
                    <a:pt x="102" y="154"/>
                  </a:cubicBezTo>
                  <a:cubicBezTo>
                    <a:pt x="111" y="154"/>
                    <a:pt x="120" y="151"/>
                    <a:pt x="128" y="144"/>
                  </a:cubicBezTo>
                  <a:cubicBezTo>
                    <a:pt x="135" y="138"/>
                    <a:pt x="142" y="130"/>
                    <a:pt x="149" y="121"/>
                  </a:cubicBezTo>
                  <a:cubicBezTo>
                    <a:pt x="152" y="118"/>
                    <a:pt x="154" y="115"/>
                    <a:pt x="157" y="112"/>
                  </a:cubicBezTo>
                  <a:cubicBezTo>
                    <a:pt x="162" y="106"/>
                    <a:pt x="167" y="101"/>
                    <a:pt x="173" y="96"/>
                  </a:cubicBezTo>
                  <a:cubicBezTo>
                    <a:pt x="176" y="93"/>
                    <a:pt x="177" y="88"/>
                    <a:pt x="175" y="85"/>
                  </a:cubicBezTo>
                  <a:cubicBezTo>
                    <a:pt x="170" y="74"/>
                    <a:pt x="166" y="63"/>
                    <a:pt x="163" y="52"/>
                  </a:cubicBezTo>
                  <a:close/>
                  <a:moveTo>
                    <a:pt x="163" y="52"/>
                  </a:moveTo>
                  <a:cubicBezTo>
                    <a:pt x="163" y="52"/>
                    <a:pt x="163" y="52"/>
                    <a:pt x="163" y="52"/>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2" name="Freeform 33"/>
            <p:cNvSpPr>
              <a:spLocks noEditPoints="1"/>
            </p:cNvSpPr>
            <p:nvPr/>
          </p:nvSpPr>
          <p:spPr bwMode="auto">
            <a:xfrm>
              <a:off x="3188" y="1839"/>
              <a:ext cx="43" cy="39"/>
            </a:xfrm>
            <a:custGeom>
              <a:avLst/>
              <a:gdLst/>
              <a:ahLst/>
              <a:cxnLst>
                <a:cxn ang="0">
                  <a:pos x="33" y="0"/>
                </a:cxn>
                <a:cxn ang="0">
                  <a:pos x="20" y="4"/>
                </a:cxn>
                <a:cxn ang="0">
                  <a:pos x="9" y="48"/>
                </a:cxn>
                <a:cxn ang="0">
                  <a:pos x="36" y="63"/>
                </a:cxn>
                <a:cxn ang="0">
                  <a:pos x="52" y="59"/>
                </a:cxn>
                <a:cxn ang="0">
                  <a:pos x="59" y="53"/>
                </a:cxn>
                <a:cxn ang="0">
                  <a:pos x="63" y="15"/>
                </a:cxn>
                <a:cxn ang="0">
                  <a:pos x="36" y="0"/>
                </a:cxn>
                <a:cxn ang="0">
                  <a:pos x="33" y="0"/>
                </a:cxn>
                <a:cxn ang="0">
                  <a:pos x="33" y="0"/>
                </a:cxn>
                <a:cxn ang="0">
                  <a:pos x="33" y="0"/>
                </a:cxn>
              </a:cxnLst>
              <a:rect l="0" t="0" r="r" b="b"/>
              <a:pathLst>
                <a:path w="70" h="63">
                  <a:moveTo>
                    <a:pt x="33" y="0"/>
                  </a:moveTo>
                  <a:cubicBezTo>
                    <a:pt x="28" y="0"/>
                    <a:pt x="24" y="2"/>
                    <a:pt x="20" y="4"/>
                  </a:cubicBezTo>
                  <a:cubicBezTo>
                    <a:pt x="5" y="13"/>
                    <a:pt x="0" y="33"/>
                    <a:pt x="9" y="48"/>
                  </a:cubicBezTo>
                  <a:cubicBezTo>
                    <a:pt x="15" y="58"/>
                    <a:pt x="25" y="63"/>
                    <a:pt x="36" y="63"/>
                  </a:cubicBezTo>
                  <a:cubicBezTo>
                    <a:pt x="41" y="63"/>
                    <a:pt x="47" y="62"/>
                    <a:pt x="52" y="59"/>
                  </a:cubicBezTo>
                  <a:cubicBezTo>
                    <a:pt x="55" y="57"/>
                    <a:pt x="57" y="55"/>
                    <a:pt x="59" y="53"/>
                  </a:cubicBezTo>
                  <a:cubicBezTo>
                    <a:pt x="68" y="43"/>
                    <a:pt x="70" y="27"/>
                    <a:pt x="63" y="15"/>
                  </a:cubicBezTo>
                  <a:cubicBezTo>
                    <a:pt x="57" y="5"/>
                    <a:pt x="46" y="0"/>
                    <a:pt x="36" y="0"/>
                  </a:cubicBezTo>
                  <a:cubicBezTo>
                    <a:pt x="35" y="0"/>
                    <a:pt x="34" y="0"/>
                    <a:pt x="33" y="0"/>
                  </a:cubicBezTo>
                  <a:close/>
                  <a:moveTo>
                    <a:pt x="33" y="0"/>
                  </a:moveTo>
                  <a:cubicBezTo>
                    <a:pt x="33" y="0"/>
                    <a:pt x="33" y="0"/>
                    <a:pt x="33" y="0"/>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63" name="Group 29"/>
          <p:cNvGrpSpPr/>
          <p:nvPr/>
        </p:nvGrpSpPr>
        <p:grpSpPr bwMode="auto">
          <a:xfrm>
            <a:off x="2224723" y="1767872"/>
            <a:ext cx="1137920" cy="605059"/>
            <a:chOff x="798970" y="1704791"/>
            <a:chExt cx="826143" cy="800130"/>
          </a:xfrm>
        </p:grpSpPr>
        <p:sp>
          <p:nvSpPr>
            <p:cNvPr id="64" name="Text Placeholder 3"/>
            <p:cNvSpPr txBox="1">
              <a:spLocks noChangeArrowheads="1"/>
            </p:cNvSpPr>
            <p:nvPr/>
          </p:nvSpPr>
          <p:spPr bwMode="auto">
            <a:xfrm>
              <a:off x="798970" y="1704791"/>
              <a:ext cx="558623"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2505">
                <a:defRPr>
                  <a:solidFill>
                    <a:schemeClr val="tx1"/>
                  </a:solidFill>
                  <a:latin typeface="Calibri" panose="020F0502020204030204" pitchFamily="34" charset="0"/>
                  <a:ea typeface="宋体" panose="02010600030101010101" pitchFamily="2" charset="-122"/>
                </a:defRPr>
              </a:lvl1pPr>
              <a:lvl2pPr defTabSz="992505">
                <a:defRPr>
                  <a:solidFill>
                    <a:schemeClr val="tx1"/>
                  </a:solidFill>
                  <a:latin typeface="Calibri" panose="020F0502020204030204" pitchFamily="34" charset="0"/>
                  <a:ea typeface="宋体" panose="02010600030101010101" pitchFamily="2" charset="-122"/>
                </a:defRPr>
              </a:lvl2pPr>
              <a:lvl3pPr defTabSz="992505">
                <a:defRPr>
                  <a:solidFill>
                    <a:schemeClr val="tx1"/>
                  </a:solidFill>
                  <a:latin typeface="Calibri" panose="020F0502020204030204" pitchFamily="34" charset="0"/>
                  <a:ea typeface="宋体" panose="02010600030101010101" pitchFamily="2" charset="-122"/>
                </a:defRPr>
              </a:lvl3pPr>
              <a:lvl4pPr defTabSz="992505">
                <a:defRPr>
                  <a:solidFill>
                    <a:schemeClr val="tx1"/>
                  </a:solidFill>
                  <a:latin typeface="Calibri" panose="020F0502020204030204" pitchFamily="34" charset="0"/>
                  <a:ea typeface="宋体" panose="02010600030101010101" pitchFamily="2" charset="-122"/>
                </a:defRPr>
              </a:lvl4pPr>
              <a:lvl5pPr defTabSz="992505">
                <a:defRPr>
                  <a:solidFill>
                    <a:schemeClr val="tx1"/>
                  </a:solidFill>
                  <a:latin typeface="Calibri" panose="020F0502020204030204" pitchFamily="34" charset="0"/>
                  <a:ea typeface="宋体" panose="02010600030101010101" pitchFamily="2" charset="-122"/>
                </a:defRPr>
              </a:lvl5pPr>
              <a:lvl6pPr marL="30257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34829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9401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43973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lnSpc>
                  <a:spcPct val="120000"/>
                </a:lnSpc>
                <a:spcBef>
                  <a:spcPct val="20000"/>
                </a:spcBef>
              </a:pPr>
              <a:r>
                <a:rPr lang="zh-CN" altLang="en-US" sz="10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相关标题文字</a:t>
              </a:r>
              <a:endParaRPr lang="en-US" altLang="en-US" sz="10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65"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66" name="Group 29"/>
          <p:cNvGrpSpPr/>
          <p:nvPr/>
        </p:nvGrpSpPr>
        <p:grpSpPr bwMode="auto">
          <a:xfrm>
            <a:off x="4270534" y="1767872"/>
            <a:ext cx="1136808" cy="605059"/>
            <a:chOff x="798970" y="1704791"/>
            <a:chExt cx="826143" cy="800130"/>
          </a:xfrm>
        </p:grpSpPr>
        <p:sp>
          <p:nvSpPr>
            <p:cNvPr id="67" name="Text Placeholder 3"/>
            <p:cNvSpPr txBox="1">
              <a:spLocks noChangeArrowheads="1"/>
            </p:cNvSpPr>
            <p:nvPr/>
          </p:nvSpPr>
          <p:spPr bwMode="auto">
            <a:xfrm>
              <a:off x="798970" y="1704791"/>
              <a:ext cx="559169"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2505">
                <a:defRPr>
                  <a:solidFill>
                    <a:schemeClr val="tx1"/>
                  </a:solidFill>
                  <a:latin typeface="Calibri" panose="020F0502020204030204" pitchFamily="34" charset="0"/>
                  <a:ea typeface="宋体" panose="02010600030101010101" pitchFamily="2" charset="-122"/>
                </a:defRPr>
              </a:lvl1pPr>
              <a:lvl2pPr defTabSz="992505">
                <a:defRPr>
                  <a:solidFill>
                    <a:schemeClr val="tx1"/>
                  </a:solidFill>
                  <a:latin typeface="Calibri" panose="020F0502020204030204" pitchFamily="34" charset="0"/>
                  <a:ea typeface="宋体" panose="02010600030101010101" pitchFamily="2" charset="-122"/>
                </a:defRPr>
              </a:lvl2pPr>
              <a:lvl3pPr defTabSz="992505">
                <a:defRPr>
                  <a:solidFill>
                    <a:schemeClr val="tx1"/>
                  </a:solidFill>
                  <a:latin typeface="Calibri" panose="020F0502020204030204" pitchFamily="34" charset="0"/>
                  <a:ea typeface="宋体" panose="02010600030101010101" pitchFamily="2" charset="-122"/>
                </a:defRPr>
              </a:lvl3pPr>
              <a:lvl4pPr defTabSz="992505">
                <a:defRPr>
                  <a:solidFill>
                    <a:schemeClr val="tx1"/>
                  </a:solidFill>
                  <a:latin typeface="Calibri" panose="020F0502020204030204" pitchFamily="34" charset="0"/>
                  <a:ea typeface="宋体" panose="02010600030101010101" pitchFamily="2" charset="-122"/>
                </a:defRPr>
              </a:lvl4pPr>
              <a:lvl5pPr defTabSz="992505">
                <a:defRPr>
                  <a:solidFill>
                    <a:schemeClr val="tx1"/>
                  </a:solidFill>
                  <a:latin typeface="Calibri" panose="020F0502020204030204" pitchFamily="34" charset="0"/>
                  <a:ea typeface="宋体" panose="02010600030101010101" pitchFamily="2" charset="-122"/>
                </a:defRPr>
              </a:lvl5pPr>
              <a:lvl6pPr marL="30257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34829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9401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43973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lnSpc>
                  <a:spcPct val="120000"/>
                </a:lnSpc>
                <a:spcBef>
                  <a:spcPct val="20000"/>
                </a:spcBef>
              </a:pPr>
              <a:r>
                <a:rPr lang="zh-CN"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相关标题文字</a:t>
              </a:r>
              <a:endParaRPr lang="en-US"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68"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69" name="Group 29"/>
          <p:cNvGrpSpPr/>
          <p:nvPr/>
        </p:nvGrpSpPr>
        <p:grpSpPr bwMode="auto">
          <a:xfrm>
            <a:off x="6315234" y="1767872"/>
            <a:ext cx="1137920" cy="605059"/>
            <a:chOff x="798970" y="1704791"/>
            <a:chExt cx="826143" cy="800130"/>
          </a:xfrm>
        </p:grpSpPr>
        <p:sp>
          <p:nvSpPr>
            <p:cNvPr id="70" name="Text Placeholder 3"/>
            <p:cNvSpPr txBox="1">
              <a:spLocks noChangeArrowheads="1"/>
            </p:cNvSpPr>
            <p:nvPr/>
          </p:nvSpPr>
          <p:spPr bwMode="auto">
            <a:xfrm>
              <a:off x="798970" y="1704791"/>
              <a:ext cx="558623"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2505">
                <a:defRPr>
                  <a:solidFill>
                    <a:schemeClr val="tx1"/>
                  </a:solidFill>
                  <a:latin typeface="Calibri" panose="020F0502020204030204" pitchFamily="34" charset="0"/>
                  <a:ea typeface="宋体" panose="02010600030101010101" pitchFamily="2" charset="-122"/>
                </a:defRPr>
              </a:lvl1pPr>
              <a:lvl2pPr defTabSz="992505">
                <a:defRPr>
                  <a:solidFill>
                    <a:schemeClr val="tx1"/>
                  </a:solidFill>
                  <a:latin typeface="Calibri" panose="020F0502020204030204" pitchFamily="34" charset="0"/>
                  <a:ea typeface="宋体" panose="02010600030101010101" pitchFamily="2" charset="-122"/>
                </a:defRPr>
              </a:lvl2pPr>
              <a:lvl3pPr defTabSz="992505">
                <a:defRPr>
                  <a:solidFill>
                    <a:schemeClr val="tx1"/>
                  </a:solidFill>
                  <a:latin typeface="Calibri" panose="020F0502020204030204" pitchFamily="34" charset="0"/>
                  <a:ea typeface="宋体" panose="02010600030101010101" pitchFamily="2" charset="-122"/>
                </a:defRPr>
              </a:lvl3pPr>
              <a:lvl4pPr defTabSz="992505">
                <a:defRPr>
                  <a:solidFill>
                    <a:schemeClr val="tx1"/>
                  </a:solidFill>
                  <a:latin typeface="Calibri" panose="020F0502020204030204" pitchFamily="34" charset="0"/>
                  <a:ea typeface="宋体" panose="02010600030101010101" pitchFamily="2" charset="-122"/>
                </a:defRPr>
              </a:lvl4pPr>
              <a:lvl5pPr defTabSz="992505">
                <a:defRPr>
                  <a:solidFill>
                    <a:schemeClr val="tx1"/>
                  </a:solidFill>
                  <a:latin typeface="Calibri" panose="020F0502020204030204" pitchFamily="34" charset="0"/>
                  <a:ea typeface="宋体" panose="02010600030101010101" pitchFamily="2" charset="-122"/>
                </a:defRPr>
              </a:lvl5pPr>
              <a:lvl6pPr marL="30257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34829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9401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43973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lnSpc>
                  <a:spcPct val="120000"/>
                </a:lnSpc>
                <a:spcBef>
                  <a:spcPct val="20000"/>
                </a:spcBef>
              </a:pPr>
              <a:r>
                <a:rPr lang="zh-CN"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相关标题文字</a:t>
              </a:r>
              <a:endParaRPr lang="en-US"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1"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72" name="Text Placeholder 3"/>
          <p:cNvSpPr txBox="1"/>
          <p:nvPr/>
        </p:nvSpPr>
        <p:spPr>
          <a:xfrm>
            <a:off x="1516577" y="3188324"/>
            <a:ext cx="599523" cy="775597"/>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693420" eaLnBrk="1" hangingPunct="1">
              <a:lnSpc>
                <a:spcPct val="120000"/>
              </a:lnSpc>
              <a:spcBef>
                <a:spcPct val="20000"/>
              </a:spcBef>
              <a:defRPr/>
            </a:pPr>
            <a:r>
              <a:rPr lang="en-US" sz="4200" noProof="1">
                <a:solidFill>
                  <a:srgbClr val="00A4E3"/>
                </a:solidFill>
                <a:latin typeface="Arial" panose="020B0604020202020204" pitchFamily="34" charset="0"/>
                <a:ea typeface="微软雅黑" panose="020B0503020204020204" pitchFamily="34" charset="-122"/>
                <a:cs typeface="+mn-ea"/>
                <a:sym typeface="Arial" panose="020B0604020202020204" pitchFamily="34" charset="0"/>
              </a:rPr>
              <a:t>04</a:t>
            </a:r>
          </a:p>
        </p:txBody>
      </p:sp>
      <p:sp>
        <p:nvSpPr>
          <p:cNvPr id="73" name="Text Placeholder 3"/>
          <p:cNvSpPr txBox="1"/>
          <p:nvPr/>
        </p:nvSpPr>
        <p:spPr>
          <a:xfrm>
            <a:off x="3560166" y="3188324"/>
            <a:ext cx="599523" cy="775597"/>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693420" eaLnBrk="1" hangingPunct="1">
              <a:lnSpc>
                <a:spcPct val="120000"/>
              </a:lnSpc>
              <a:spcBef>
                <a:spcPct val="20000"/>
              </a:spcBef>
              <a:defRPr/>
            </a:pPr>
            <a:r>
              <a:rPr lang="en-US" sz="4200" noProof="1">
                <a:solidFill>
                  <a:srgbClr val="00A4E3"/>
                </a:solidFill>
                <a:latin typeface="Arial" panose="020B0604020202020204" pitchFamily="34" charset="0"/>
                <a:ea typeface="微软雅黑" panose="020B0503020204020204" pitchFamily="34" charset="-122"/>
                <a:cs typeface="+mn-ea"/>
                <a:sym typeface="Arial" panose="020B0604020202020204" pitchFamily="34" charset="0"/>
              </a:rPr>
              <a:t>05</a:t>
            </a:r>
          </a:p>
        </p:txBody>
      </p:sp>
      <p:sp>
        <p:nvSpPr>
          <p:cNvPr id="74" name="Text Placeholder 3"/>
          <p:cNvSpPr txBox="1"/>
          <p:nvPr/>
        </p:nvSpPr>
        <p:spPr>
          <a:xfrm>
            <a:off x="5689321" y="3188324"/>
            <a:ext cx="599523" cy="775597"/>
          </a:xfrm>
          <a:prstGeom prst="rect">
            <a:avLst/>
          </a:prstGeom>
        </p:spPr>
        <p:txBody>
          <a:bodyPr wrap="none" lIns="0" tIns="0" rIns="0" bIns="0" anchor="ctr">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693420" eaLnBrk="1" hangingPunct="1">
              <a:lnSpc>
                <a:spcPct val="120000"/>
              </a:lnSpc>
              <a:spcBef>
                <a:spcPct val="20000"/>
              </a:spcBef>
              <a:defRPr/>
            </a:pPr>
            <a:r>
              <a:rPr lang="en-US" sz="4200" noProof="1">
                <a:solidFill>
                  <a:srgbClr val="00A4E3"/>
                </a:solidFill>
                <a:latin typeface="Arial" panose="020B0604020202020204" pitchFamily="34" charset="0"/>
                <a:ea typeface="微软雅黑" panose="020B0503020204020204" pitchFamily="34" charset="-122"/>
                <a:cs typeface="+mn-ea"/>
                <a:sym typeface="Arial" panose="020B0604020202020204" pitchFamily="34" charset="0"/>
              </a:rPr>
              <a:t>06</a:t>
            </a:r>
          </a:p>
        </p:txBody>
      </p:sp>
      <p:grpSp>
        <p:nvGrpSpPr>
          <p:cNvPr id="75" name="Group 29"/>
          <p:cNvGrpSpPr/>
          <p:nvPr/>
        </p:nvGrpSpPr>
        <p:grpSpPr bwMode="auto">
          <a:xfrm>
            <a:off x="2224723" y="3427326"/>
            <a:ext cx="1137920" cy="605059"/>
            <a:chOff x="798970" y="1704791"/>
            <a:chExt cx="826143" cy="800130"/>
          </a:xfrm>
        </p:grpSpPr>
        <p:sp>
          <p:nvSpPr>
            <p:cNvPr id="76" name="Text Placeholder 3"/>
            <p:cNvSpPr txBox="1">
              <a:spLocks noChangeArrowheads="1"/>
            </p:cNvSpPr>
            <p:nvPr/>
          </p:nvSpPr>
          <p:spPr bwMode="auto">
            <a:xfrm>
              <a:off x="798970" y="1704791"/>
              <a:ext cx="558623"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2505">
                <a:defRPr>
                  <a:solidFill>
                    <a:schemeClr val="tx1"/>
                  </a:solidFill>
                  <a:latin typeface="Calibri" panose="020F0502020204030204" pitchFamily="34" charset="0"/>
                  <a:ea typeface="宋体" panose="02010600030101010101" pitchFamily="2" charset="-122"/>
                </a:defRPr>
              </a:lvl1pPr>
              <a:lvl2pPr defTabSz="992505">
                <a:defRPr>
                  <a:solidFill>
                    <a:schemeClr val="tx1"/>
                  </a:solidFill>
                  <a:latin typeface="Calibri" panose="020F0502020204030204" pitchFamily="34" charset="0"/>
                  <a:ea typeface="宋体" panose="02010600030101010101" pitchFamily="2" charset="-122"/>
                </a:defRPr>
              </a:lvl2pPr>
              <a:lvl3pPr defTabSz="992505">
                <a:defRPr>
                  <a:solidFill>
                    <a:schemeClr val="tx1"/>
                  </a:solidFill>
                  <a:latin typeface="Calibri" panose="020F0502020204030204" pitchFamily="34" charset="0"/>
                  <a:ea typeface="宋体" panose="02010600030101010101" pitchFamily="2" charset="-122"/>
                </a:defRPr>
              </a:lvl3pPr>
              <a:lvl4pPr defTabSz="992505">
                <a:defRPr>
                  <a:solidFill>
                    <a:schemeClr val="tx1"/>
                  </a:solidFill>
                  <a:latin typeface="Calibri" panose="020F0502020204030204" pitchFamily="34" charset="0"/>
                  <a:ea typeface="宋体" panose="02010600030101010101" pitchFamily="2" charset="-122"/>
                </a:defRPr>
              </a:lvl4pPr>
              <a:lvl5pPr defTabSz="992505">
                <a:defRPr>
                  <a:solidFill>
                    <a:schemeClr val="tx1"/>
                  </a:solidFill>
                  <a:latin typeface="Calibri" panose="020F0502020204030204" pitchFamily="34" charset="0"/>
                  <a:ea typeface="宋体" panose="02010600030101010101" pitchFamily="2" charset="-122"/>
                </a:defRPr>
              </a:lvl5pPr>
              <a:lvl6pPr marL="30257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34829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9401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43973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lnSpc>
                  <a:spcPct val="120000"/>
                </a:lnSpc>
                <a:spcBef>
                  <a:spcPct val="20000"/>
                </a:spcBef>
              </a:pPr>
              <a:r>
                <a:rPr lang="zh-CN"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相关标题文字</a:t>
              </a:r>
              <a:endParaRPr lang="en-US"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77"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78" name="Group 29"/>
          <p:cNvGrpSpPr/>
          <p:nvPr/>
        </p:nvGrpSpPr>
        <p:grpSpPr bwMode="auto">
          <a:xfrm>
            <a:off x="4270534" y="3427326"/>
            <a:ext cx="1136808" cy="605059"/>
            <a:chOff x="798970" y="1704791"/>
            <a:chExt cx="826143" cy="800130"/>
          </a:xfrm>
        </p:grpSpPr>
        <p:sp>
          <p:nvSpPr>
            <p:cNvPr id="79" name="Text Placeholder 3"/>
            <p:cNvSpPr txBox="1">
              <a:spLocks noChangeArrowheads="1"/>
            </p:cNvSpPr>
            <p:nvPr/>
          </p:nvSpPr>
          <p:spPr bwMode="auto">
            <a:xfrm>
              <a:off x="798970" y="1704791"/>
              <a:ext cx="559169"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2505">
                <a:defRPr>
                  <a:solidFill>
                    <a:schemeClr val="tx1"/>
                  </a:solidFill>
                  <a:latin typeface="Calibri" panose="020F0502020204030204" pitchFamily="34" charset="0"/>
                  <a:ea typeface="宋体" panose="02010600030101010101" pitchFamily="2" charset="-122"/>
                </a:defRPr>
              </a:lvl1pPr>
              <a:lvl2pPr defTabSz="992505">
                <a:defRPr>
                  <a:solidFill>
                    <a:schemeClr val="tx1"/>
                  </a:solidFill>
                  <a:latin typeface="Calibri" panose="020F0502020204030204" pitchFamily="34" charset="0"/>
                  <a:ea typeface="宋体" panose="02010600030101010101" pitchFamily="2" charset="-122"/>
                </a:defRPr>
              </a:lvl2pPr>
              <a:lvl3pPr defTabSz="992505">
                <a:defRPr>
                  <a:solidFill>
                    <a:schemeClr val="tx1"/>
                  </a:solidFill>
                  <a:latin typeface="Calibri" panose="020F0502020204030204" pitchFamily="34" charset="0"/>
                  <a:ea typeface="宋体" panose="02010600030101010101" pitchFamily="2" charset="-122"/>
                </a:defRPr>
              </a:lvl3pPr>
              <a:lvl4pPr defTabSz="992505">
                <a:defRPr>
                  <a:solidFill>
                    <a:schemeClr val="tx1"/>
                  </a:solidFill>
                  <a:latin typeface="Calibri" panose="020F0502020204030204" pitchFamily="34" charset="0"/>
                  <a:ea typeface="宋体" panose="02010600030101010101" pitchFamily="2" charset="-122"/>
                </a:defRPr>
              </a:lvl4pPr>
              <a:lvl5pPr defTabSz="992505">
                <a:defRPr>
                  <a:solidFill>
                    <a:schemeClr val="tx1"/>
                  </a:solidFill>
                  <a:latin typeface="Calibri" panose="020F0502020204030204" pitchFamily="34" charset="0"/>
                  <a:ea typeface="宋体" panose="02010600030101010101" pitchFamily="2" charset="-122"/>
                </a:defRPr>
              </a:lvl5pPr>
              <a:lvl6pPr marL="30257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34829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9401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43973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lnSpc>
                  <a:spcPct val="120000"/>
                </a:lnSpc>
                <a:spcBef>
                  <a:spcPct val="20000"/>
                </a:spcBef>
              </a:pPr>
              <a:r>
                <a:rPr lang="zh-CN"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相关标题文字</a:t>
              </a:r>
              <a:endParaRPr lang="en-US"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80"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81" name="Group 29"/>
          <p:cNvGrpSpPr/>
          <p:nvPr/>
        </p:nvGrpSpPr>
        <p:grpSpPr bwMode="auto">
          <a:xfrm>
            <a:off x="6315234" y="3427326"/>
            <a:ext cx="1137920" cy="605059"/>
            <a:chOff x="798970" y="1704791"/>
            <a:chExt cx="826143" cy="800130"/>
          </a:xfrm>
        </p:grpSpPr>
        <p:sp>
          <p:nvSpPr>
            <p:cNvPr id="82" name="Text Placeholder 3"/>
            <p:cNvSpPr txBox="1">
              <a:spLocks noChangeArrowheads="1"/>
            </p:cNvSpPr>
            <p:nvPr/>
          </p:nvSpPr>
          <p:spPr bwMode="auto">
            <a:xfrm>
              <a:off x="798970" y="1704791"/>
              <a:ext cx="558623" cy="2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92505">
                <a:defRPr>
                  <a:solidFill>
                    <a:schemeClr val="tx1"/>
                  </a:solidFill>
                  <a:latin typeface="Calibri" panose="020F0502020204030204" pitchFamily="34" charset="0"/>
                  <a:ea typeface="宋体" panose="02010600030101010101" pitchFamily="2" charset="-122"/>
                </a:defRPr>
              </a:lvl1pPr>
              <a:lvl2pPr defTabSz="992505">
                <a:defRPr>
                  <a:solidFill>
                    <a:schemeClr val="tx1"/>
                  </a:solidFill>
                  <a:latin typeface="Calibri" panose="020F0502020204030204" pitchFamily="34" charset="0"/>
                  <a:ea typeface="宋体" panose="02010600030101010101" pitchFamily="2" charset="-122"/>
                </a:defRPr>
              </a:lvl2pPr>
              <a:lvl3pPr defTabSz="992505">
                <a:defRPr>
                  <a:solidFill>
                    <a:schemeClr val="tx1"/>
                  </a:solidFill>
                  <a:latin typeface="Calibri" panose="020F0502020204030204" pitchFamily="34" charset="0"/>
                  <a:ea typeface="宋体" panose="02010600030101010101" pitchFamily="2" charset="-122"/>
                </a:defRPr>
              </a:lvl3pPr>
              <a:lvl4pPr defTabSz="992505">
                <a:defRPr>
                  <a:solidFill>
                    <a:schemeClr val="tx1"/>
                  </a:solidFill>
                  <a:latin typeface="Calibri" panose="020F0502020204030204" pitchFamily="34" charset="0"/>
                  <a:ea typeface="宋体" panose="02010600030101010101" pitchFamily="2" charset="-122"/>
                </a:defRPr>
              </a:lvl4pPr>
              <a:lvl5pPr defTabSz="992505">
                <a:defRPr>
                  <a:solidFill>
                    <a:schemeClr val="tx1"/>
                  </a:solidFill>
                  <a:latin typeface="Calibri" panose="020F0502020204030204" pitchFamily="34" charset="0"/>
                  <a:ea typeface="宋体" panose="02010600030101010101" pitchFamily="2" charset="-122"/>
                </a:defRPr>
              </a:lvl5pPr>
              <a:lvl6pPr marL="30257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34829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9401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4397375" indent="-739775" defTabSz="992505"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lnSpc>
                  <a:spcPct val="120000"/>
                </a:lnSpc>
                <a:spcBef>
                  <a:spcPct val="20000"/>
                </a:spcBef>
              </a:pPr>
              <a:r>
                <a:rPr lang="zh-CN"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rPr>
                <a:t>相关标题文字</a:t>
              </a:r>
              <a:endParaRPr lang="en-US" altLang="en-US" sz="100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83" name="Text Placeholder 3"/>
            <p:cNvSpPr txBox="1">
              <a:spLocks noChangeArrowheads="1"/>
            </p:cNvSpPr>
            <p:nvPr/>
          </p:nvSpPr>
          <p:spPr bwMode="auto">
            <a:xfrm>
              <a:off x="798971" y="1935625"/>
              <a:ext cx="826142" cy="569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just" eaLnBrk="1" hangingPunct="1">
                <a:lnSpc>
                  <a:spcPct val="120000"/>
                </a:lnSpc>
              </a:pPr>
              <a:r>
                <a:rPr lang="zh-CN" altLang="en-US" sz="800" dirty="0">
                  <a:solidFill>
                    <a:schemeClr val="bg1">
                      <a:lumMod val="85000"/>
                    </a:schemeClr>
                  </a:solidFill>
                  <a:latin typeface="微软雅黑" panose="020B0503020204020204" pitchFamily="34" charset="-122"/>
                  <a:ea typeface="微软雅黑" panose="020B0503020204020204" pitchFamily="34" charset="-122"/>
                </a:rPr>
                <a:t>轻点此处输入文字内容，</a:t>
              </a:r>
              <a:r>
                <a:rPr lang="en-US" altLang="zh-CN" sz="800" dirty="0">
                  <a:solidFill>
                    <a:schemeClr val="bg1">
                      <a:lumMod val="85000"/>
                    </a:schemeClr>
                  </a:solidFill>
                  <a:latin typeface="微软雅黑" panose="020B0503020204020204" pitchFamily="34" charset="-122"/>
                  <a:ea typeface="微软雅黑" panose="020B0503020204020204" pitchFamily="34" charset="-122"/>
                </a:rPr>
                <a:t>PPT</a:t>
              </a:r>
              <a:r>
                <a:rPr lang="zh-CN" altLang="en-US" sz="800" dirty="0">
                  <a:solidFill>
                    <a:schemeClr val="bg1">
                      <a:lumMod val="85000"/>
                    </a:schemeClr>
                  </a:solidFill>
                  <a:latin typeface="微软雅黑" panose="020B0503020204020204" pitchFamily="34" charset="-122"/>
                  <a:ea typeface="微软雅黑" panose="020B0503020204020204" pitchFamily="34" charset="-122"/>
                </a:rPr>
                <a:t>模板所有文字图片都可编辑</a:t>
              </a:r>
              <a:endParaRPr lang="en-US" altLang="en-US" sz="600" dirty="0">
                <a:solidFill>
                  <a:schemeClr val="bg1">
                    <a:lumMod val="8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84" name="Group 36"/>
          <p:cNvGrpSpPr>
            <a:grpSpLocks noChangeAspect="1"/>
          </p:cNvGrpSpPr>
          <p:nvPr/>
        </p:nvGrpSpPr>
        <p:grpSpPr bwMode="auto">
          <a:xfrm>
            <a:off x="1570200" y="3853013"/>
            <a:ext cx="574013" cy="526373"/>
            <a:chOff x="419" y="2309"/>
            <a:chExt cx="507" cy="467"/>
          </a:xfrm>
          <a:solidFill>
            <a:srgbClr val="00AEEF"/>
          </a:solidFill>
        </p:grpSpPr>
        <p:sp>
          <p:nvSpPr>
            <p:cNvPr id="85" name="Freeform 37"/>
            <p:cNvSpPr>
              <a:spLocks noEditPoints="1"/>
            </p:cNvSpPr>
            <p:nvPr/>
          </p:nvSpPr>
          <p:spPr bwMode="auto">
            <a:xfrm>
              <a:off x="445" y="2309"/>
              <a:ext cx="481" cy="467"/>
            </a:xfrm>
            <a:custGeom>
              <a:avLst/>
              <a:gdLst/>
              <a:ahLst/>
              <a:cxnLst>
                <a:cxn ang="0">
                  <a:pos x="465" y="361"/>
                </a:cxn>
                <a:cxn ang="0">
                  <a:pos x="439" y="387"/>
                </a:cxn>
                <a:cxn ang="0">
                  <a:pos x="360" y="308"/>
                </a:cxn>
                <a:cxn ang="0">
                  <a:pos x="406" y="261"/>
                </a:cxn>
                <a:cxn ang="0">
                  <a:pos x="384" y="236"/>
                </a:cxn>
                <a:cxn ang="0">
                  <a:pos x="356" y="264"/>
                </a:cxn>
                <a:cxn ang="0">
                  <a:pos x="162" y="71"/>
                </a:cxn>
                <a:cxn ang="0">
                  <a:pos x="148" y="83"/>
                </a:cxn>
                <a:cxn ang="0">
                  <a:pos x="136" y="70"/>
                </a:cxn>
                <a:cxn ang="0">
                  <a:pos x="118" y="87"/>
                </a:cxn>
                <a:cxn ang="0">
                  <a:pos x="31" y="0"/>
                </a:cxn>
                <a:cxn ang="0">
                  <a:pos x="0" y="2"/>
                </a:cxn>
                <a:cxn ang="0">
                  <a:pos x="103" y="104"/>
                </a:cxn>
                <a:cxn ang="0">
                  <a:pos x="85" y="120"/>
                </a:cxn>
                <a:cxn ang="0">
                  <a:pos x="99" y="134"/>
                </a:cxn>
                <a:cxn ang="0">
                  <a:pos x="85" y="146"/>
                </a:cxn>
                <a:cxn ang="0">
                  <a:pos x="280" y="341"/>
                </a:cxn>
                <a:cxn ang="0">
                  <a:pos x="252" y="368"/>
                </a:cxn>
                <a:cxn ang="0">
                  <a:pos x="274" y="391"/>
                </a:cxn>
                <a:cxn ang="0">
                  <a:pos x="321" y="344"/>
                </a:cxn>
                <a:cxn ang="0">
                  <a:pos x="403" y="424"/>
                </a:cxn>
                <a:cxn ang="0">
                  <a:pos x="377" y="450"/>
                </a:cxn>
                <a:cxn ang="0">
                  <a:pos x="394" y="467"/>
                </a:cxn>
                <a:cxn ang="0">
                  <a:pos x="481" y="379"/>
                </a:cxn>
                <a:cxn ang="0">
                  <a:pos x="465" y="361"/>
                </a:cxn>
                <a:cxn ang="0">
                  <a:pos x="290" y="318"/>
                </a:cxn>
                <a:cxn ang="0">
                  <a:pos x="217" y="245"/>
                </a:cxn>
                <a:cxn ang="0">
                  <a:pos x="261" y="203"/>
                </a:cxn>
                <a:cxn ang="0">
                  <a:pos x="333" y="275"/>
                </a:cxn>
                <a:cxn ang="0">
                  <a:pos x="290" y="318"/>
                </a:cxn>
                <a:cxn ang="0">
                  <a:pos x="290" y="318"/>
                </a:cxn>
                <a:cxn ang="0">
                  <a:pos x="290" y="318"/>
                </a:cxn>
              </a:cxnLst>
              <a:rect l="0" t="0" r="r" b="b"/>
              <a:pathLst>
                <a:path w="481" h="467">
                  <a:moveTo>
                    <a:pt x="465" y="361"/>
                  </a:moveTo>
                  <a:lnTo>
                    <a:pt x="439" y="387"/>
                  </a:lnTo>
                  <a:lnTo>
                    <a:pt x="360" y="308"/>
                  </a:lnTo>
                  <a:lnTo>
                    <a:pt x="406" y="261"/>
                  </a:lnTo>
                  <a:lnTo>
                    <a:pt x="384" y="236"/>
                  </a:lnTo>
                  <a:lnTo>
                    <a:pt x="356" y="264"/>
                  </a:lnTo>
                  <a:lnTo>
                    <a:pt x="162" y="71"/>
                  </a:lnTo>
                  <a:lnTo>
                    <a:pt x="148" y="83"/>
                  </a:lnTo>
                  <a:lnTo>
                    <a:pt x="136" y="70"/>
                  </a:lnTo>
                  <a:lnTo>
                    <a:pt x="118" y="87"/>
                  </a:lnTo>
                  <a:lnTo>
                    <a:pt x="31" y="0"/>
                  </a:lnTo>
                  <a:lnTo>
                    <a:pt x="0" y="2"/>
                  </a:lnTo>
                  <a:lnTo>
                    <a:pt x="103" y="104"/>
                  </a:lnTo>
                  <a:lnTo>
                    <a:pt x="85" y="120"/>
                  </a:lnTo>
                  <a:lnTo>
                    <a:pt x="99" y="134"/>
                  </a:lnTo>
                  <a:lnTo>
                    <a:pt x="85" y="146"/>
                  </a:lnTo>
                  <a:lnTo>
                    <a:pt x="280" y="341"/>
                  </a:lnTo>
                  <a:lnTo>
                    <a:pt x="252" y="368"/>
                  </a:lnTo>
                  <a:lnTo>
                    <a:pt x="274" y="391"/>
                  </a:lnTo>
                  <a:lnTo>
                    <a:pt x="321" y="344"/>
                  </a:lnTo>
                  <a:lnTo>
                    <a:pt x="403" y="424"/>
                  </a:lnTo>
                  <a:lnTo>
                    <a:pt x="377" y="450"/>
                  </a:lnTo>
                  <a:lnTo>
                    <a:pt x="394" y="467"/>
                  </a:lnTo>
                  <a:lnTo>
                    <a:pt x="481" y="379"/>
                  </a:lnTo>
                  <a:lnTo>
                    <a:pt x="465" y="361"/>
                  </a:lnTo>
                  <a:close/>
                  <a:moveTo>
                    <a:pt x="290" y="318"/>
                  </a:moveTo>
                  <a:lnTo>
                    <a:pt x="217" y="245"/>
                  </a:lnTo>
                  <a:lnTo>
                    <a:pt x="261" y="203"/>
                  </a:lnTo>
                  <a:lnTo>
                    <a:pt x="333" y="275"/>
                  </a:lnTo>
                  <a:lnTo>
                    <a:pt x="290" y="318"/>
                  </a:lnTo>
                  <a:close/>
                  <a:moveTo>
                    <a:pt x="290" y="318"/>
                  </a:moveTo>
                  <a:lnTo>
                    <a:pt x="290" y="318"/>
                  </a:lnTo>
                  <a:close/>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86" name="Freeform 38"/>
            <p:cNvSpPr>
              <a:spLocks noEditPoints="1"/>
            </p:cNvSpPr>
            <p:nvPr/>
          </p:nvSpPr>
          <p:spPr bwMode="auto">
            <a:xfrm>
              <a:off x="445" y="2309"/>
              <a:ext cx="481" cy="467"/>
            </a:xfrm>
            <a:custGeom>
              <a:avLst/>
              <a:gdLst/>
              <a:ahLst/>
              <a:cxnLst>
                <a:cxn ang="0">
                  <a:pos x="465" y="361"/>
                </a:cxn>
                <a:cxn ang="0">
                  <a:pos x="439" y="387"/>
                </a:cxn>
                <a:cxn ang="0">
                  <a:pos x="360" y="308"/>
                </a:cxn>
                <a:cxn ang="0">
                  <a:pos x="406" y="261"/>
                </a:cxn>
                <a:cxn ang="0">
                  <a:pos x="384" y="236"/>
                </a:cxn>
                <a:cxn ang="0">
                  <a:pos x="356" y="264"/>
                </a:cxn>
                <a:cxn ang="0">
                  <a:pos x="162" y="71"/>
                </a:cxn>
                <a:cxn ang="0">
                  <a:pos x="148" y="83"/>
                </a:cxn>
                <a:cxn ang="0">
                  <a:pos x="136" y="70"/>
                </a:cxn>
                <a:cxn ang="0">
                  <a:pos x="118" y="87"/>
                </a:cxn>
                <a:cxn ang="0">
                  <a:pos x="31" y="0"/>
                </a:cxn>
                <a:cxn ang="0">
                  <a:pos x="0" y="2"/>
                </a:cxn>
                <a:cxn ang="0">
                  <a:pos x="103" y="104"/>
                </a:cxn>
                <a:cxn ang="0">
                  <a:pos x="85" y="120"/>
                </a:cxn>
                <a:cxn ang="0">
                  <a:pos x="99" y="134"/>
                </a:cxn>
                <a:cxn ang="0">
                  <a:pos x="85" y="146"/>
                </a:cxn>
                <a:cxn ang="0">
                  <a:pos x="280" y="341"/>
                </a:cxn>
                <a:cxn ang="0">
                  <a:pos x="252" y="368"/>
                </a:cxn>
                <a:cxn ang="0">
                  <a:pos x="274" y="391"/>
                </a:cxn>
                <a:cxn ang="0">
                  <a:pos x="321" y="344"/>
                </a:cxn>
                <a:cxn ang="0">
                  <a:pos x="403" y="424"/>
                </a:cxn>
                <a:cxn ang="0">
                  <a:pos x="377" y="450"/>
                </a:cxn>
                <a:cxn ang="0">
                  <a:pos x="394" y="467"/>
                </a:cxn>
                <a:cxn ang="0">
                  <a:pos x="481" y="379"/>
                </a:cxn>
                <a:cxn ang="0">
                  <a:pos x="465" y="361"/>
                </a:cxn>
                <a:cxn ang="0">
                  <a:pos x="290" y="318"/>
                </a:cxn>
                <a:cxn ang="0">
                  <a:pos x="217" y="245"/>
                </a:cxn>
                <a:cxn ang="0">
                  <a:pos x="261" y="203"/>
                </a:cxn>
                <a:cxn ang="0">
                  <a:pos x="333" y="275"/>
                </a:cxn>
                <a:cxn ang="0">
                  <a:pos x="290" y="318"/>
                </a:cxn>
                <a:cxn ang="0">
                  <a:pos x="290" y="318"/>
                </a:cxn>
                <a:cxn ang="0">
                  <a:pos x="290" y="318"/>
                </a:cxn>
              </a:cxnLst>
              <a:rect l="0" t="0" r="r" b="b"/>
              <a:pathLst>
                <a:path w="481" h="467">
                  <a:moveTo>
                    <a:pt x="465" y="361"/>
                  </a:moveTo>
                  <a:lnTo>
                    <a:pt x="439" y="387"/>
                  </a:lnTo>
                  <a:lnTo>
                    <a:pt x="360" y="308"/>
                  </a:lnTo>
                  <a:lnTo>
                    <a:pt x="406" y="261"/>
                  </a:lnTo>
                  <a:lnTo>
                    <a:pt x="384" y="236"/>
                  </a:lnTo>
                  <a:lnTo>
                    <a:pt x="356" y="264"/>
                  </a:lnTo>
                  <a:lnTo>
                    <a:pt x="162" y="71"/>
                  </a:lnTo>
                  <a:lnTo>
                    <a:pt x="148" y="83"/>
                  </a:lnTo>
                  <a:lnTo>
                    <a:pt x="136" y="70"/>
                  </a:lnTo>
                  <a:lnTo>
                    <a:pt x="118" y="87"/>
                  </a:lnTo>
                  <a:lnTo>
                    <a:pt x="31" y="0"/>
                  </a:lnTo>
                  <a:lnTo>
                    <a:pt x="0" y="2"/>
                  </a:lnTo>
                  <a:lnTo>
                    <a:pt x="103" y="104"/>
                  </a:lnTo>
                  <a:lnTo>
                    <a:pt x="85" y="120"/>
                  </a:lnTo>
                  <a:lnTo>
                    <a:pt x="99" y="134"/>
                  </a:lnTo>
                  <a:lnTo>
                    <a:pt x="85" y="146"/>
                  </a:lnTo>
                  <a:lnTo>
                    <a:pt x="280" y="341"/>
                  </a:lnTo>
                  <a:lnTo>
                    <a:pt x="252" y="368"/>
                  </a:lnTo>
                  <a:lnTo>
                    <a:pt x="274" y="391"/>
                  </a:lnTo>
                  <a:lnTo>
                    <a:pt x="321" y="344"/>
                  </a:lnTo>
                  <a:lnTo>
                    <a:pt x="403" y="424"/>
                  </a:lnTo>
                  <a:lnTo>
                    <a:pt x="377" y="450"/>
                  </a:lnTo>
                  <a:lnTo>
                    <a:pt x="394" y="467"/>
                  </a:lnTo>
                  <a:lnTo>
                    <a:pt x="481" y="379"/>
                  </a:lnTo>
                  <a:lnTo>
                    <a:pt x="465" y="361"/>
                  </a:lnTo>
                  <a:moveTo>
                    <a:pt x="290" y="318"/>
                  </a:moveTo>
                  <a:lnTo>
                    <a:pt x="217" y="245"/>
                  </a:lnTo>
                  <a:lnTo>
                    <a:pt x="261" y="203"/>
                  </a:lnTo>
                  <a:lnTo>
                    <a:pt x="333" y="275"/>
                  </a:lnTo>
                  <a:lnTo>
                    <a:pt x="290" y="318"/>
                  </a:lnTo>
                  <a:moveTo>
                    <a:pt x="290" y="318"/>
                  </a:moveTo>
                  <a:lnTo>
                    <a:pt x="290" y="318"/>
                  </a:ln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87" name="Freeform 39"/>
            <p:cNvSpPr>
              <a:spLocks noEditPoints="1"/>
            </p:cNvSpPr>
            <p:nvPr/>
          </p:nvSpPr>
          <p:spPr bwMode="auto">
            <a:xfrm>
              <a:off x="419" y="2321"/>
              <a:ext cx="49" cy="101"/>
            </a:xfrm>
            <a:custGeom>
              <a:avLst/>
              <a:gdLst/>
              <a:ahLst/>
              <a:cxnLst>
                <a:cxn ang="0">
                  <a:pos x="0" y="35"/>
                </a:cxn>
                <a:cxn ang="0">
                  <a:pos x="14" y="58"/>
                </a:cxn>
                <a:cxn ang="0">
                  <a:pos x="28" y="35"/>
                </a:cxn>
                <a:cxn ang="0">
                  <a:pos x="14" y="0"/>
                </a:cxn>
                <a:cxn ang="0">
                  <a:pos x="0" y="35"/>
                </a:cxn>
                <a:cxn ang="0">
                  <a:pos x="0" y="35"/>
                </a:cxn>
                <a:cxn ang="0">
                  <a:pos x="0" y="35"/>
                </a:cxn>
              </a:cxnLst>
              <a:rect l="0" t="0" r="r" b="b"/>
              <a:pathLst>
                <a:path w="28" h="58">
                  <a:moveTo>
                    <a:pt x="0" y="35"/>
                  </a:moveTo>
                  <a:cubicBezTo>
                    <a:pt x="0" y="51"/>
                    <a:pt x="6" y="58"/>
                    <a:pt x="14" y="58"/>
                  </a:cubicBezTo>
                  <a:cubicBezTo>
                    <a:pt x="22" y="58"/>
                    <a:pt x="28" y="51"/>
                    <a:pt x="28" y="35"/>
                  </a:cubicBezTo>
                  <a:cubicBezTo>
                    <a:pt x="28" y="18"/>
                    <a:pt x="14" y="0"/>
                    <a:pt x="14" y="0"/>
                  </a:cubicBezTo>
                  <a:cubicBezTo>
                    <a:pt x="14" y="0"/>
                    <a:pt x="0" y="18"/>
                    <a:pt x="0" y="35"/>
                  </a:cubicBezTo>
                  <a:close/>
                  <a:moveTo>
                    <a:pt x="0" y="35"/>
                  </a:moveTo>
                  <a:cubicBezTo>
                    <a:pt x="0" y="35"/>
                    <a:pt x="0" y="35"/>
                    <a:pt x="0" y="35"/>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88" name="Group 42"/>
          <p:cNvGrpSpPr>
            <a:grpSpLocks noChangeAspect="1"/>
          </p:cNvGrpSpPr>
          <p:nvPr/>
        </p:nvGrpSpPr>
        <p:grpSpPr bwMode="auto">
          <a:xfrm>
            <a:off x="3573224" y="3857137"/>
            <a:ext cx="584868" cy="554652"/>
            <a:chOff x="2111" y="2341"/>
            <a:chExt cx="485" cy="462"/>
          </a:xfrm>
          <a:solidFill>
            <a:srgbClr val="00AEEF"/>
          </a:solidFill>
        </p:grpSpPr>
        <p:sp>
          <p:nvSpPr>
            <p:cNvPr id="89" name="Freeform 43"/>
            <p:cNvSpPr>
              <a:spLocks noEditPoints="1"/>
            </p:cNvSpPr>
            <p:nvPr/>
          </p:nvSpPr>
          <p:spPr bwMode="auto">
            <a:xfrm>
              <a:off x="2111" y="2341"/>
              <a:ext cx="485" cy="462"/>
            </a:xfrm>
            <a:custGeom>
              <a:avLst/>
              <a:gdLst/>
              <a:ahLst/>
              <a:cxnLst>
                <a:cxn ang="0">
                  <a:pos x="45" y="0"/>
                </a:cxn>
                <a:cxn ang="0">
                  <a:pos x="39" y="6"/>
                </a:cxn>
                <a:cxn ang="0">
                  <a:pos x="39" y="58"/>
                </a:cxn>
                <a:cxn ang="0">
                  <a:pos x="45" y="64"/>
                </a:cxn>
                <a:cxn ang="0">
                  <a:pos x="71" y="64"/>
                </a:cxn>
                <a:cxn ang="0">
                  <a:pos x="65" y="84"/>
                </a:cxn>
                <a:cxn ang="0">
                  <a:pos x="38" y="89"/>
                </a:cxn>
                <a:cxn ang="0">
                  <a:pos x="32" y="89"/>
                </a:cxn>
                <a:cxn ang="0">
                  <a:pos x="16" y="73"/>
                </a:cxn>
                <a:cxn ang="0">
                  <a:pos x="16" y="61"/>
                </a:cxn>
                <a:cxn ang="0">
                  <a:pos x="25" y="45"/>
                </a:cxn>
                <a:cxn ang="0">
                  <a:pos x="12" y="29"/>
                </a:cxn>
                <a:cxn ang="0">
                  <a:pos x="0" y="45"/>
                </a:cxn>
                <a:cxn ang="0">
                  <a:pos x="9" y="61"/>
                </a:cxn>
                <a:cxn ang="0">
                  <a:pos x="9" y="73"/>
                </a:cxn>
                <a:cxn ang="0">
                  <a:pos x="32" y="97"/>
                </a:cxn>
                <a:cxn ang="0">
                  <a:pos x="38" y="97"/>
                </a:cxn>
                <a:cxn ang="0">
                  <a:pos x="43" y="97"/>
                </a:cxn>
                <a:cxn ang="0">
                  <a:pos x="70" y="89"/>
                </a:cxn>
                <a:cxn ang="0">
                  <a:pos x="78" y="64"/>
                </a:cxn>
                <a:cxn ang="0">
                  <a:pos x="96" y="64"/>
                </a:cxn>
                <a:cxn ang="0">
                  <a:pos x="102" y="58"/>
                </a:cxn>
                <a:cxn ang="0">
                  <a:pos x="102" y="6"/>
                </a:cxn>
                <a:cxn ang="0">
                  <a:pos x="96" y="0"/>
                </a:cxn>
                <a:cxn ang="0">
                  <a:pos x="45" y="0"/>
                </a:cxn>
                <a:cxn ang="0">
                  <a:pos x="72" y="54"/>
                </a:cxn>
                <a:cxn ang="0">
                  <a:pos x="49" y="32"/>
                </a:cxn>
                <a:cxn ang="0">
                  <a:pos x="72" y="10"/>
                </a:cxn>
                <a:cxn ang="0">
                  <a:pos x="94" y="32"/>
                </a:cxn>
                <a:cxn ang="0">
                  <a:pos x="72" y="54"/>
                </a:cxn>
                <a:cxn ang="0">
                  <a:pos x="72" y="54"/>
                </a:cxn>
                <a:cxn ang="0">
                  <a:pos x="72" y="54"/>
                </a:cxn>
              </a:cxnLst>
              <a:rect l="0" t="0" r="r" b="b"/>
              <a:pathLst>
                <a:path w="102" h="97">
                  <a:moveTo>
                    <a:pt x="45" y="0"/>
                  </a:moveTo>
                  <a:cubicBezTo>
                    <a:pt x="42" y="0"/>
                    <a:pt x="39" y="3"/>
                    <a:pt x="39" y="6"/>
                  </a:cubicBezTo>
                  <a:cubicBezTo>
                    <a:pt x="39" y="58"/>
                    <a:pt x="39" y="58"/>
                    <a:pt x="39" y="58"/>
                  </a:cubicBezTo>
                  <a:cubicBezTo>
                    <a:pt x="39" y="61"/>
                    <a:pt x="42" y="64"/>
                    <a:pt x="45" y="64"/>
                  </a:cubicBezTo>
                  <a:cubicBezTo>
                    <a:pt x="71" y="64"/>
                    <a:pt x="71" y="64"/>
                    <a:pt x="71" y="64"/>
                  </a:cubicBezTo>
                  <a:cubicBezTo>
                    <a:pt x="71" y="73"/>
                    <a:pt x="69" y="80"/>
                    <a:pt x="65" y="84"/>
                  </a:cubicBezTo>
                  <a:cubicBezTo>
                    <a:pt x="59" y="90"/>
                    <a:pt x="48" y="90"/>
                    <a:pt x="38" y="89"/>
                  </a:cubicBezTo>
                  <a:cubicBezTo>
                    <a:pt x="36" y="89"/>
                    <a:pt x="34" y="89"/>
                    <a:pt x="32" y="89"/>
                  </a:cubicBezTo>
                  <a:cubicBezTo>
                    <a:pt x="17" y="89"/>
                    <a:pt x="16" y="74"/>
                    <a:pt x="16" y="73"/>
                  </a:cubicBezTo>
                  <a:cubicBezTo>
                    <a:pt x="16" y="61"/>
                    <a:pt x="16" y="61"/>
                    <a:pt x="16" y="61"/>
                  </a:cubicBezTo>
                  <a:cubicBezTo>
                    <a:pt x="21" y="59"/>
                    <a:pt x="25" y="53"/>
                    <a:pt x="25" y="45"/>
                  </a:cubicBezTo>
                  <a:cubicBezTo>
                    <a:pt x="25" y="36"/>
                    <a:pt x="19" y="29"/>
                    <a:pt x="12" y="29"/>
                  </a:cubicBezTo>
                  <a:cubicBezTo>
                    <a:pt x="6" y="29"/>
                    <a:pt x="0" y="36"/>
                    <a:pt x="0" y="45"/>
                  </a:cubicBezTo>
                  <a:cubicBezTo>
                    <a:pt x="0" y="52"/>
                    <a:pt x="4" y="58"/>
                    <a:pt x="9" y="61"/>
                  </a:cubicBezTo>
                  <a:cubicBezTo>
                    <a:pt x="9" y="73"/>
                    <a:pt x="9" y="73"/>
                    <a:pt x="9" y="73"/>
                  </a:cubicBezTo>
                  <a:cubicBezTo>
                    <a:pt x="9" y="81"/>
                    <a:pt x="14" y="97"/>
                    <a:pt x="32" y="97"/>
                  </a:cubicBezTo>
                  <a:cubicBezTo>
                    <a:pt x="34" y="97"/>
                    <a:pt x="36" y="97"/>
                    <a:pt x="38" y="97"/>
                  </a:cubicBezTo>
                  <a:cubicBezTo>
                    <a:pt x="39" y="97"/>
                    <a:pt x="41" y="97"/>
                    <a:pt x="43" y="97"/>
                  </a:cubicBezTo>
                  <a:cubicBezTo>
                    <a:pt x="53" y="97"/>
                    <a:pt x="63" y="96"/>
                    <a:pt x="70" y="89"/>
                  </a:cubicBezTo>
                  <a:cubicBezTo>
                    <a:pt x="75" y="84"/>
                    <a:pt x="78" y="76"/>
                    <a:pt x="78" y="64"/>
                  </a:cubicBezTo>
                  <a:cubicBezTo>
                    <a:pt x="96" y="64"/>
                    <a:pt x="96" y="64"/>
                    <a:pt x="96" y="64"/>
                  </a:cubicBezTo>
                  <a:cubicBezTo>
                    <a:pt x="100" y="64"/>
                    <a:pt x="102" y="61"/>
                    <a:pt x="102" y="58"/>
                  </a:cubicBezTo>
                  <a:cubicBezTo>
                    <a:pt x="102" y="6"/>
                    <a:pt x="102" y="6"/>
                    <a:pt x="102" y="6"/>
                  </a:cubicBezTo>
                  <a:cubicBezTo>
                    <a:pt x="102" y="3"/>
                    <a:pt x="100" y="0"/>
                    <a:pt x="96" y="0"/>
                  </a:cubicBezTo>
                  <a:lnTo>
                    <a:pt x="45" y="0"/>
                  </a:lnTo>
                  <a:close/>
                  <a:moveTo>
                    <a:pt x="72" y="54"/>
                  </a:moveTo>
                  <a:cubicBezTo>
                    <a:pt x="59" y="54"/>
                    <a:pt x="49" y="44"/>
                    <a:pt x="49" y="32"/>
                  </a:cubicBezTo>
                  <a:cubicBezTo>
                    <a:pt x="49" y="20"/>
                    <a:pt x="59" y="10"/>
                    <a:pt x="72" y="10"/>
                  </a:cubicBezTo>
                  <a:cubicBezTo>
                    <a:pt x="84" y="10"/>
                    <a:pt x="94" y="20"/>
                    <a:pt x="94" y="32"/>
                  </a:cubicBezTo>
                  <a:cubicBezTo>
                    <a:pt x="94" y="44"/>
                    <a:pt x="84" y="54"/>
                    <a:pt x="72" y="54"/>
                  </a:cubicBezTo>
                  <a:close/>
                  <a:moveTo>
                    <a:pt x="72" y="54"/>
                  </a:moveTo>
                  <a:cubicBezTo>
                    <a:pt x="72" y="54"/>
                    <a:pt x="72" y="54"/>
                    <a:pt x="72" y="54"/>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0" name="Freeform 44"/>
            <p:cNvSpPr>
              <a:spLocks noEditPoints="1"/>
            </p:cNvSpPr>
            <p:nvPr/>
          </p:nvSpPr>
          <p:spPr bwMode="auto">
            <a:xfrm>
              <a:off x="2372" y="2413"/>
              <a:ext cx="162" cy="161"/>
            </a:xfrm>
            <a:custGeom>
              <a:avLst/>
              <a:gdLst/>
              <a:ahLst/>
              <a:cxnLst>
                <a:cxn ang="0">
                  <a:pos x="17" y="0"/>
                </a:cxn>
                <a:cxn ang="0">
                  <a:pos x="0" y="17"/>
                </a:cxn>
                <a:cxn ang="0">
                  <a:pos x="17" y="34"/>
                </a:cxn>
                <a:cxn ang="0">
                  <a:pos x="34" y="17"/>
                </a:cxn>
                <a:cxn ang="0">
                  <a:pos x="17" y="0"/>
                </a:cxn>
                <a:cxn ang="0">
                  <a:pos x="17" y="30"/>
                </a:cxn>
                <a:cxn ang="0">
                  <a:pos x="4" y="17"/>
                </a:cxn>
                <a:cxn ang="0">
                  <a:pos x="17" y="4"/>
                </a:cxn>
                <a:cxn ang="0">
                  <a:pos x="30" y="17"/>
                </a:cxn>
                <a:cxn ang="0">
                  <a:pos x="17" y="30"/>
                </a:cxn>
                <a:cxn ang="0">
                  <a:pos x="17" y="30"/>
                </a:cxn>
                <a:cxn ang="0">
                  <a:pos x="17" y="30"/>
                </a:cxn>
              </a:cxnLst>
              <a:rect l="0" t="0" r="r" b="b"/>
              <a:pathLst>
                <a:path w="34" h="34">
                  <a:moveTo>
                    <a:pt x="17" y="0"/>
                  </a:moveTo>
                  <a:cubicBezTo>
                    <a:pt x="7" y="0"/>
                    <a:pt x="0" y="8"/>
                    <a:pt x="0" y="17"/>
                  </a:cubicBezTo>
                  <a:cubicBezTo>
                    <a:pt x="0" y="26"/>
                    <a:pt x="7" y="34"/>
                    <a:pt x="17" y="34"/>
                  </a:cubicBezTo>
                  <a:cubicBezTo>
                    <a:pt x="26" y="34"/>
                    <a:pt x="34" y="26"/>
                    <a:pt x="34" y="17"/>
                  </a:cubicBezTo>
                  <a:cubicBezTo>
                    <a:pt x="34" y="8"/>
                    <a:pt x="26" y="0"/>
                    <a:pt x="17" y="0"/>
                  </a:cubicBezTo>
                  <a:close/>
                  <a:moveTo>
                    <a:pt x="17" y="30"/>
                  </a:moveTo>
                  <a:cubicBezTo>
                    <a:pt x="10" y="30"/>
                    <a:pt x="4" y="24"/>
                    <a:pt x="4" y="17"/>
                  </a:cubicBezTo>
                  <a:cubicBezTo>
                    <a:pt x="4" y="10"/>
                    <a:pt x="10" y="4"/>
                    <a:pt x="17" y="4"/>
                  </a:cubicBezTo>
                  <a:cubicBezTo>
                    <a:pt x="24" y="4"/>
                    <a:pt x="30" y="10"/>
                    <a:pt x="30" y="17"/>
                  </a:cubicBezTo>
                  <a:cubicBezTo>
                    <a:pt x="30" y="24"/>
                    <a:pt x="24" y="30"/>
                    <a:pt x="17" y="30"/>
                  </a:cubicBezTo>
                  <a:close/>
                  <a:moveTo>
                    <a:pt x="17" y="30"/>
                  </a:moveTo>
                  <a:cubicBezTo>
                    <a:pt x="17" y="30"/>
                    <a:pt x="17" y="30"/>
                    <a:pt x="17" y="30"/>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1" name="Freeform 45"/>
            <p:cNvSpPr>
              <a:spLocks noEditPoints="1"/>
            </p:cNvSpPr>
            <p:nvPr/>
          </p:nvSpPr>
          <p:spPr bwMode="auto">
            <a:xfrm>
              <a:off x="2482" y="2451"/>
              <a:ext cx="9" cy="14"/>
            </a:xfrm>
            <a:custGeom>
              <a:avLst/>
              <a:gdLst/>
              <a:ahLst/>
              <a:cxnLst>
                <a:cxn ang="0">
                  <a:pos x="2" y="2"/>
                </a:cxn>
                <a:cxn ang="0">
                  <a:pos x="1" y="3"/>
                </a:cxn>
                <a:cxn ang="0">
                  <a:pos x="0" y="2"/>
                </a:cxn>
                <a:cxn ang="0">
                  <a:pos x="1" y="0"/>
                </a:cxn>
                <a:cxn ang="0">
                  <a:pos x="2" y="2"/>
                </a:cxn>
                <a:cxn ang="0">
                  <a:pos x="2" y="2"/>
                </a:cxn>
                <a:cxn ang="0">
                  <a:pos x="2" y="2"/>
                </a:cxn>
              </a:cxnLst>
              <a:rect l="0" t="0" r="r" b="b"/>
              <a:pathLst>
                <a:path w="2" h="3">
                  <a:moveTo>
                    <a:pt x="2" y="2"/>
                  </a:moveTo>
                  <a:cubicBezTo>
                    <a:pt x="2" y="2"/>
                    <a:pt x="2" y="3"/>
                    <a:pt x="1" y="3"/>
                  </a:cubicBezTo>
                  <a:cubicBezTo>
                    <a:pt x="1" y="3"/>
                    <a:pt x="0" y="2"/>
                    <a:pt x="0" y="2"/>
                  </a:cubicBezTo>
                  <a:cubicBezTo>
                    <a:pt x="0" y="1"/>
                    <a:pt x="1" y="0"/>
                    <a:pt x="1" y="0"/>
                  </a:cubicBezTo>
                  <a:cubicBezTo>
                    <a:pt x="2" y="0"/>
                    <a:pt x="2" y="1"/>
                    <a:pt x="2" y="2"/>
                  </a:cubicBezTo>
                  <a:close/>
                  <a:moveTo>
                    <a:pt x="2" y="2"/>
                  </a:moveTo>
                  <a:cubicBezTo>
                    <a:pt x="2" y="2"/>
                    <a:pt x="2" y="2"/>
                    <a:pt x="2" y="2"/>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2" name="Freeform 46"/>
            <p:cNvSpPr>
              <a:spLocks noEditPoints="1"/>
            </p:cNvSpPr>
            <p:nvPr/>
          </p:nvSpPr>
          <p:spPr bwMode="auto">
            <a:xfrm>
              <a:off x="2410" y="2522"/>
              <a:ext cx="10" cy="10"/>
            </a:xfrm>
            <a:custGeom>
              <a:avLst/>
              <a:gdLst/>
              <a:ahLst/>
              <a:cxnLst>
                <a:cxn ang="0">
                  <a:pos x="1" y="1"/>
                </a:cxn>
                <a:cxn ang="0">
                  <a:pos x="1" y="2"/>
                </a:cxn>
                <a:cxn ang="0">
                  <a:pos x="2" y="2"/>
                </a:cxn>
                <a:cxn ang="0">
                  <a:pos x="2" y="1"/>
                </a:cxn>
                <a:cxn ang="0">
                  <a:pos x="1" y="1"/>
                </a:cxn>
                <a:cxn ang="0">
                  <a:pos x="1" y="1"/>
                </a:cxn>
                <a:cxn ang="0">
                  <a:pos x="1" y="1"/>
                </a:cxn>
              </a:cxnLst>
              <a:rect l="0" t="0" r="r" b="b"/>
              <a:pathLst>
                <a:path w="2" h="2">
                  <a:moveTo>
                    <a:pt x="1" y="1"/>
                  </a:moveTo>
                  <a:cubicBezTo>
                    <a:pt x="0" y="1"/>
                    <a:pt x="0" y="2"/>
                    <a:pt x="1" y="2"/>
                  </a:cubicBezTo>
                  <a:cubicBezTo>
                    <a:pt x="1" y="2"/>
                    <a:pt x="2" y="2"/>
                    <a:pt x="2" y="2"/>
                  </a:cubicBezTo>
                  <a:cubicBezTo>
                    <a:pt x="2" y="2"/>
                    <a:pt x="2" y="1"/>
                    <a:pt x="2" y="1"/>
                  </a:cubicBezTo>
                  <a:cubicBezTo>
                    <a:pt x="2" y="0"/>
                    <a:pt x="1" y="0"/>
                    <a:pt x="1" y="1"/>
                  </a:cubicBezTo>
                  <a:close/>
                  <a:moveTo>
                    <a:pt x="1" y="1"/>
                  </a:moveTo>
                  <a:cubicBezTo>
                    <a:pt x="1" y="1"/>
                    <a:pt x="1" y="1"/>
                    <a:pt x="1"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3" name="Freeform 47"/>
            <p:cNvSpPr>
              <a:spLocks noEditPoints="1"/>
            </p:cNvSpPr>
            <p:nvPr/>
          </p:nvSpPr>
          <p:spPr bwMode="auto">
            <a:xfrm>
              <a:off x="2496" y="2489"/>
              <a:ext cx="9" cy="9"/>
            </a:xfrm>
            <a:custGeom>
              <a:avLst/>
              <a:gdLst/>
              <a:ahLst/>
              <a:cxnLst>
                <a:cxn ang="0">
                  <a:pos x="2" y="1"/>
                </a:cxn>
                <a:cxn ang="0">
                  <a:pos x="1" y="2"/>
                </a:cxn>
                <a:cxn ang="0">
                  <a:pos x="0" y="1"/>
                </a:cxn>
                <a:cxn ang="0">
                  <a:pos x="1" y="0"/>
                </a:cxn>
                <a:cxn ang="0">
                  <a:pos x="2" y="1"/>
                </a:cxn>
                <a:cxn ang="0">
                  <a:pos x="2" y="1"/>
                </a:cxn>
                <a:cxn ang="0">
                  <a:pos x="2" y="1"/>
                </a:cxn>
              </a:cxnLst>
              <a:rect l="0" t="0" r="r" b="b"/>
              <a:pathLst>
                <a:path w="2" h="2">
                  <a:moveTo>
                    <a:pt x="2" y="1"/>
                  </a:moveTo>
                  <a:cubicBezTo>
                    <a:pt x="2" y="1"/>
                    <a:pt x="2" y="2"/>
                    <a:pt x="1" y="2"/>
                  </a:cubicBezTo>
                  <a:cubicBezTo>
                    <a:pt x="1" y="2"/>
                    <a:pt x="0" y="1"/>
                    <a:pt x="0" y="1"/>
                  </a:cubicBezTo>
                  <a:cubicBezTo>
                    <a:pt x="0" y="0"/>
                    <a:pt x="1" y="0"/>
                    <a:pt x="1" y="0"/>
                  </a:cubicBezTo>
                  <a:cubicBezTo>
                    <a:pt x="2" y="0"/>
                    <a:pt x="2" y="0"/>
                    <a:pt x="2" y="1"/>
                  </a:cubicBezTo>
                  <a:close/>
                  <a:moveTo>
                    <a:pt x="2" y="1"/>
                  </a:moveTo>
                  <a:cubicBezTo>
                    <a:pt x="2" y="1"/>
                    <a:pt x="2" y="1"/>
                    <a:pt x="2"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4" name="Freeform 48"/>
            <p:cNvSpPr>
              <a:spLocks noEditPoints="1"/>
            </p:cNvSpPr>
            <p:nvPr/>
          </p:nvSpPr>
          <p:spPr bwMode="auto">
            <a:xfrm>
              <a:off x="2396" y="2489"/>
              <a:ext cx="10" cy="9"/>
            </a:xfrm>
            <a:custGeom>
              <a:avLst/>
              <a:gdLst/>
              <a:ahLst/>
              <a:cxnLst>
                <a:cxn ang="0">
                  <a:pos x="2" y="1"/>
                </a:cxn>
                <a:cxn ang="0">
                  <a:pos x="1" y="2"/>
                </a:cxn>
                <a:cxn ang="0">
                  <a:pos x="0" y="1"/>
                </a:cxn>
                <a:cxn ang="0">
                  <a:pos x="1" y="0"/>
                </a:cxn>
                <a:cxn ang="0">
                  <a:pos x="2" y="1"/>
                </a:cxn>
                <a:cxn ang="0">
                  <a:pos x="2" y="1"/>
                </a:cxn>
                <a:cxn ang="0">
                  <a:pos x="2" y="1"/>
                </a:cxn>
              </a:cxnLst>
              <a:rect l="0" t="0" r="r" b="b"/>
              <a:pathLst>
                <a:path w="2" h="2">
                  <a:moveTo>
                    <a:pt x="2" y="1"/>
                  </a:moveTo>
                  <a:cubicBezTo>
                    <a:pt x="2" y="1"/>
                    <a:pt x="2" y="2"/>
                    <a:pt x="1" y="2"/>
                  </a:cubicBezTo>
                  <a:cubicBezTo>
                    <a:pt x="1" y="2"/>
                    <a:pt x="0" y="1"/>
                    <a:pt x="0" y="1"/>
                  </a:cubicBezTo>
                  <a:cubicBezTo>
                    <a:pt x="0" y="0"/>
                    <a:pt x="1" y="0"/>
                    <a:pt x="1" y="0"/>
                  </a:cubicBezTo>
                  <a:cubicBezTo>
                    <a:pt x="2" y="0"/>
                    <a:pt x="2" y="0"/>
                    <a:pt x="2" y="1"/>
                  </a:cubicBezTo>
                  <a:close/>
                  <a:moveTo>
                    <a:pt x="2" y="1"/>
                  </a:moveTo>
                  <a:cubicBezTo>
                    <a:pt x="2" y="1"/>
                    <a:pt x="2" y="1"/>
                    <a:pt x="2"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5" name="Freeform 49"/>
            <p:cNvSpPr>
              <a:spLocks noEditPoints="1"/>
            </p:cNvSpPr>
            <p:nvPr/>
          </p:nvSpPr>
          <p:spPr bwMode="auto">
            <a:xfrm>
              <a:off x="2482" y="2522"/>
              <a:ext cx="9" cy="10"/>
            </a:xfrm>
            <a:custGeom>
              <a:avLst/>
              <a:gdLst/>
              <a:ahLst/>
              <a:cxnLst>
                <a:cxn ang="0">
                  <a:pos x="0" y="1"/>
                </a:cxn>
                <a:cxn ang="0">
                  <a:pos x="0" y="2"/>
                </a:cxn>
                <a:cxn ang="0">
                  <a:pos x="2" y="2"/>
                </a:cxn>
                <a:cxn ang="0">
                  <a:pos x="2" y="1"/>
                </a:cxn>
                <a:cxn ang="0">
                  <a:pos x="0" y="1"/>
                </a:cxn>
                <a:cxn ang="0">
                  <a:pos x="0" y="1"/>
                </a:cxn>
                <a:cxn ang="0">
                  <a:pos x="0" y="1"/>
                </a:cxn>
              </a:cxnLst>
              <a:rect l="0" t="0" r="r" b="b"/>
              <a:pathLst>
                <a:path w="2" h="2">
                  <a:moveTo>
                    <a:pt x="0" y="1"/>
                  </a:moveTo>
                  <a:cubicBezTo>
                    <a:pt x="0" y="1"/>
                    <a:pt x="0" y="2"/>
                    <a:pt x="0" y="2"/>
                  </a:cubicBezTo>
                  <a:cubicBezTo>
                    <a:pt x="1" y="2"/>
                    <a:pt x="1" y="2"/>
                    <a:pt x="2" y="2"/>
                  </a:cubicBezTo>
                  <a:cubicBezTo>
                    <a:pt x="2" y="2"/>
                    <a:pt x="2" y="1"/>
                    <a:pt x="2" y="1"/>
                  </a:cubicBezTo>
                  <a:cubicBezTo>
                    <a:pt x="1" y="0"/>
                    <a:pt x="1" y="0"/>
                    <a:pt x="0" y="1"/>
                  </a:cubicBezTo>
                  <a:close/>
                  <a:moveTo>
                    <a:pt x="0" y="1"/>
                  </a:moveTo>
                  <a:cubicBezTo>
                    <a:pt x="0" y="1"/>
                    <a:pt x="0" y="1"/>
                    <a:pt x="0"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6" name="Freeform 50"/>
            <p:cNvSpPr>
              <a:spLocks noEditPoints="1"/>
            </p:cNvSpPr>
            <p:nvPr/>
          </p:nvSpPr>
          <p:spPr bwMode="auto">
            <a:xfrm>
              <a:off x="2410" y="2451"/>
              <a:ext cx="10" cy="14"/>
            </a:xfrm>
            <a:custGeom>
              <a:avLst/>
              <a:gdLst/>
              <a:ahLst/>
              <a:cxnLst>
                <a:cxn ang="0">
                  <a:pos x="2" y="2"/>
                </a:cxn>
                <a:cxn ang="0">
                  <a:pos x="1" y="3"/>
                </a:cxn>
                <a:cxn ang="0">
                  <a:pos x="0" y="2"/>
                </a:cxn>
                <a:cxn ang="0">
                  <a:pos x="1" y="0"/>
                </a:cxn>
                <a:cxn ang="0">
                  <a:pos x="2" y="2"/>
                </a:cxn>
                <a:cxn ang="0">
                  <a:pos x="2" y="2"/>
                </a:cxn>
                <a:cxn ang="0">
                  <a:pos x="2" y="2"/>
                </a:cxn>
              </a:cxnLst>
              <a:rect l="0" t="0" r="r" b="b"/>
              <a:pathLst>
                <a:path w="2" h="3">
                  <a:moveTo>
                    <a:pt x="2" y="2"/>
                  </a:moveTo>
                  <a:cubicBezTo>
                    <a:pt x="2" y="2"/>
                    <a:pt x="2" y="3"/>
                    <a:pt x="1" y="3"/>
                  </a:cubicBezTo>
                  <a:cubicBezTo>
                    <a:pt x="1" y="3"/>
                    <a:pt x="0" y="2"/>
                    <a:pt x="0" y="2"/>
                  </a:cubicBezTo>
                  <a:cubicBezTo>
                    <a:pt x="0" y="1"/>
                    <a:pt x="1" y="0"/>
                    <a:pt x="1" y="0"/>
                  </a:cubicBezTo>
                  <a:cubicBezTo>
                    <a:pt x="2" y="0"/>
                    <a:pt x="2" y="1"/>
                    <a:pt x="2" y="2"/>
                  </a:cubicBezTo>
                  <a:close/>
                  <a:moveTo>
                    <a:pt x="2" y="2"/>
                  </a:moveTo>
                  <a:cubicBezTo>
                    <a:pt x="2" y="2"/>
                    <a:pt x="2" y="2"/>
                    <a:pt x="2" y="2"/>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7" name="Freeform 51"/>
            <p:cNvSpPr>
              <a:spLocks noEditPoints="1"/>
            </p:cNvSpPr>
            <p:nvPr/>
          </p:nvSpPr>
          <p:spPr bwMode="auto">
            <a:xfrm>
              <a:off x="2439" y="2455"/>
              <a:ext cx="28" cy="53"/>
            </a:xfrm>
            <a:custGeom>
              <a:avLst/>
              <a:gdLst/>
              <a:ahLst/>
              <a:cxnLst>
                <a:cxn ang="0">
                  <a:pos x="4" y="5"/>
                </a:cxn>
                <a:cxn ang="0">
                  <a:pos x="4" y="2"/>
                </a:cxn>
                <a:cxn ang="0">
                  <a:pos x="3" y="0"/>
                </a:cxn>
                <a:cxn ang="0">
                  <a:pos x="2" y="2"/>
                </a:cxn>
                <a:cxn ang="0">
                  <a:pos x="2" y="5"/>
                </a:cxn>
                <a:cxn ang="0">
                  <a:pos x="0" y="8"/>
                </a:cxn>
                <a:cxn ang="0">
                  <a:pos x="3" y="11"/>
                </a:cxn>
                <a:cxn ang="0">
                  <a:pos x="6" y="8"/>
                </a:cxn>
                <a:cxn ang="0">
                  <a:pos x="4" y="5"/>
                </a:cxn>
                <a:cxn ang="0">
                  <a:pos x="4" y="5"/>
                </a:cxn>
                <a:cxn ang="0">
                  <a:pos x="4" y="5"/>
                </a:cxn>
              </a:cxnLst>
              <a:rect l="0" t="0" r="r" b="b"/>
              <a:pathLst>
                <a:path w="6" h="11">
                  <a:moveTo>
                    <a:pt x="4" y="5"/>
                  </a:moveTo>
                  <a:cubicBezTo>
                    <a:pt x="4" y="2"/>
                    <a:pt x="4" y="2"/>
                    <a:pt x="4" y="2"/>
                  </a:cubicBezTo>
                  <a:cubicBezTo>
                    <a:pt x="4" y="1"/>
                    <a:pt x="4" y="0"/>
                    <a:pt x="3" y="0"/>
                  </a:cubicBezTo>
                  <a:cubicBezTo>
                    <a:pt x="2" y="0"/>
                    <a:pt x="2" y="1"/>
                    <a:pt x="2" y="2"/>
                  </a:cubicBezTo>
                  <a:cubicBezTo>
                    <a:pt x="2" y="5"/>
                    <a:pt x="2" y="5"/>
                    <a:pt x="2" y="5"/>
                  </a:cubicBezTo>
                  <a:cubicBezTo>
                    <a:pt x="0" y="6"/>
                    <a:pt x="0" y="7"/>
                    <a:pt x="0" y="8"/>
                  </a:cubicBezTo>
                  <a:cubicBezTo>
                    <a:pt x="0" y="10"/>
                    <a:pt x="1" y="11"/>
                    <a:pt x="3" y="11"/>
                  </a:cubicBezTo>
                  <a:cubicBezTo>
                    <a:pt x="4" y="11"/>
                    <a:pt x="6" y="10"/>
                    <a:pt x="6" y="8"/>
                  </a:cubicBezTo>
                  <a:cubicBezTo>
                    <a:pt x="6" y="7"/>
                    <a:pt x="5" y="6"/>
                    <a:pt x="4" y="5"/>
                  </a:cubicBezTo>
                  <a:close/>
                  <a:moveTo>
                    <a:pt x="4" y="5"/>
                  </a:moveTo>
                  <a:cubicBezTo>
                    <a:pt x="4" y="5"/>
                    <a:pt x="4" y="5"/>
                    <a:pt x="4" y="5"/>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8" name="Freeform 52"/>
            <p:cNvSpPr>
              <a:spLocks noEditPoints="1"/>
            </p:cNvSpPr>
            <p:nvPr/>
          </p:nvSpPr>
          <p:spPr bwMode="auto">
            <a:xfrm>
              <a:off x="2448" y="2436"/>
              <a:ext cx="10" cy="10"/>
            </a:xfrm>
            <a:custGeom>
              <a:avLst/>
              <a:gdLst/>
              <a:ahLst/>
              <a:cxnLst>
                <a:cxn ang="0">
                  <a:pos x="2" y="1"/>
                </a:cxn>
                <a:cxn ang="0">
                  <a:pos x="1" y="2"/>
                </a:cxn>
                <a:cxn ang="0">
                  <a:pos x="0" y="1"/>
                </a:cxn>
                <a:cxn ang="0">
                  <a:pos x="1" y="0"/>
                </a:cxn>
                <a:cxn ang="0">
                  <a:pos x="2" y="1"/>
                </a:cxn>
                <a:cxn ang="0">
                  <a:pos x="2" y="1"/>
                </a:cxn>
                <a:cxn ang="0">
                  <a:pos x="2" y="1"/>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9" name="Freeform 53"/>
            <p:cNvSpPr>
              <a:spLocks noEditPoints="1"/>
            </p:cNvSpPr>
            <p:nvPr/>
          </p:nvSpPr>
          <p:spPr bwMode="auto">
            <a:xfrm>
              <a:off x="2448" y="2536"/>
              <a:ext cx="10" cy="10"/>
            </a:xfrm>
            <a:custGeom>
              <a:avLst/>
              <a:gdLst/>
              <a:ahLst/>
              <a:cxnLst>
                <a:cxn ang="0">
                  <a:pos x="2" y="1"/>
                </a:cxn>
                <a:cxn ang="0">
                  <a:pos x="1" y="2"/>
                </a:cxn>
                <a:cxn ang="0">
                  <a:pos x="0" y="1"/>
                </a:cxn>
                <a:cxn ang="0">
                  <a:pos x="1" y="0"/>
                </a:cxn>
                <a:cxn ang="0">
                  <a:pos x="2" y="1"/>
                </a:cxn>
                <a:cxn ang="0">
                  <a:pos x="2" y="1"/>
                </a:cxn>
                <a:cxn ang="0">
                  <a:pos x="2" y="1"/>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100" name="Group 107"/>
          <p:cNvGrpSpPr/>
          <p:nvPr/>
        </p:nvGrpSpPr>
        <p:grpSpPr>
          <a:xfrm>
            <a:off x="5734522" y="3901551"/>
            <a:ext cx="509806" cy="510230"/>
            <a:chOff x="7839075" y="1611313"/>
            <a:chExt cx="896938" cy="901700"/>
          </a:xfrm>
          <a:solidFill>
            <a:srgbClr val="00AEEF"/>
          </a:solidFill>
        </p:grpSpPr>
        <p:sp>
          <p:nvSpPr>
            <p:cNvPr id="101" name="Freeform 73"/>
            <p:cNvSpPr>
              <a:spLocks noEditPoints="1"/>
            </p:cNvSpPr>
            <p:nvPr/>
          </p:nvSpPr>
          <p:spPr bwMode="auto">
            <a:xfrm>
              <a:off x="7839075" y="1611313"/>
              <a:ext cx="896938" cy="901700"/>
            </a:xfrm>
            <a:custGeom>
              <a:avLst/>
              <a:gdLst/>
              <a:ahLst/>
              <a:cxnLst>
                <a:cxn ang="0">
                  <a:pos x="289" y="212"/>
                </a:cxn>
                <a:cxn ang="0">
                  <a:pos x="105" y="28"/>
                </a:cxn>
                <a:cxn ang="0">
                  <a:pos x="111" y="22"/>
                </a:cxn>
                <a:cxn ang="0">
                  <a:pos x="89" y="0"/>
                </a:cxn>
                <a:cxn ang="0">
                  <a:pos x="0" y="89"/>
                </a:cxn>
                <a:cxn ang="0">
                  <a:pos x="22" y="111"/>
                </a:cxn>
                <a:cxn ang="0">
                  <a:pos x="28" y="105"/>
                </a:cxn>
                <a:cxn ang="0">
                  <a:pos x="212" y="290"/>
                </a:cxn>
                <a:cxn ang="0">
                  <a:pos x="289" y="290"/>
                </a:cxn>
                <a:cxn ang="0">
                  <a:pos x="289" y="212"/>
                </a:cxn>
                <a:cxn ang="0">
                  <a:pos x="273" y="273"/>
                </a:cxn>
                <a:cxn ang="0">
                  <a:pos x="226" y="273"/>
                </a:cxn>
                <a:cxn ang="0">
                  <a:pos x="52" y="99"/>
                </a:cxn>
                <a:cxn ang="0">
                  <a:pos x="99" y="52"/>
                </a:cxn>
                <a:cxn ang="0">
                  <a:pos x="273" y="226"/>
                </a:cxn>
                <a:cxn ang="0">
                  <a:pos x="273" y="273"/>
                </a:cxn>
                <a:cxn ang="0">
                  <a:pos x="273" y="273"/>
                </a:cxn>
                <a:cxn ang="0">
                  <a:pos x="273" y="273"/>
                </a:cxn>
              </a:cxnLst>
              <a:rect l="0" t="0" r="r" b="b"/>
              <a:pathLst>
                <a:path w="310" h="311">
                  <a:moveTo>
                    <a:pt x="289" y="212"/>
                  </a:moveTo>
                  <a:cubicBezTo>
                    <a:pt x="105" y="28"/>
                    <a:pt x="105" y="28"/>
                    <a:pt x="105" y="28"/>
                  </a:cubicBezTo>
                  <a:cubicBezTo>
                    <a:pt x="111" y="22"/>
                    <a:pt x="111" y="22"/>
                    <a:pt x="111" y="22"/>
                  </a:cubicBezTo>
                  <a:cubicBezTo>
                    <a:pt x="89" y="0"/>
                    <a:pt x="89" y="0"/>
                    <a:pt x="89" y="0"/>
                  </a:cubicBezTo>
                  <a:cubicBezTo>
                    <a:pt x="0" y="89"/>
                    <a:pt x="0" y="89"/>
                    <a:pt x="0" y="89"/>
                  </a:cubicBezTo>
                  <a:cubicBezTo>
                    <a:pt x="22" y="111"/>
                    <a:pt x="22" y="111"/>
                    <a:pt x="22" y="111"/>
                  </a:cubicBezTo>
                  <a:cubicBezTo>
                    <a:pt x="28" y="105"/>
                    <a:pt x="28" y="105"/>
                    <a:pt x="28" y="105"/>
                  </a:cubicBezTo>
                  <a:cubicBezTo>
                    <a:pt x="212" y="290"/>
                    <a:pt x="212" y="290"/>
                    <a:pt x="212" y="290"/>
                  </a:cubicBezTo>
                  <a:cubicBezTo>
                    <a:pt x="233" y="311"/>
                    <a:pt x="268" y="311"/>
                    <a:pt x="289" y="290"/>
                  </a:cubicBezTo>
                  <a:cubicBezTo>
                    <a:pt x="310" y="268"/>
                    <a:pt x="310" y="234"/>
                    <a:pt x="289" y="212"/>
                  </a:cubicBezTo>
                  <a:close/>
                  <a:moveTo>
                    <a:pt x="273" y="273"/>
                  </a:moveTo>
                  <a:cubicBezTo>
                    <a:pt x="260" y="286"/>
                    <a:pt x="239" y="286"/>
                    <a:pt x="226" y="273"/>
                  </a:cubicBezTo>
                  <a:cubicBezTo>
                    <a:pt x="52" y="99"/>
                    <a:pt x="52" y="99"/>
                    <a:pt x="52" y="99"/>
                  </a:cubicBezTo>
                  <a:cubicBezTo>
                    <a:pt x="99" y="52"/>
                    <a:pt x="99" y="52"/>
                    <a:pt x="99" y="52"/>
                  </a:cubicBezTo>
                  <a:cubicBezTo>
                    <a:pt x="273" y="226"/>
                    <a:pt x="273" y="226"/>
                    <a:pt x="273" y="226"/>
                  </a:cubicBezTo>
                  <a:cubicBezTo>
                    <a:pt x="286" y="239"/>
                    <a:pt x="286" y="260"/>
                    <a:pt x="273" y="273"/>
                  </a:cubicBezTo>
                  <a:close/>
                  <a:moveTo>
                    <a:pt x="273" y="273"/>
                  </a:moveTo>
                  <a:cubicBezTo>
                    <a:pt x="273" y="273"/>
                    <a:pt x="273" y="273"/>
                    <a:pt x="273" y="273"/>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02" name="Freeform 74"/>
            <p:cNvSpPr>
              <a:spLocks noEditPoints="1"/>
            </p:cNvSpPr>
            <p:nvPr/>
          </p:nvSpPr>
          <p:spPr bwMode="auto">
            <a:xfrm>
              <a:off x="8175625" y="1993900"/>
              <a:ext cx="447675" cy="403225"/>
            </a:xfrm>
            <a:custGeom>
              <a:avLst/>
              <a:gdLst/>
              <a:ahLst/>
              <a:cxnLst>
                <a:cxn ang="0">
                  <a:pos x="56" y="13"/>
                </a:cxn>
                <a:cxn ang="0">
                  <a:pos x="31" y="9"/>
                </a:cxn>
                <a:cxn ang="0">
                  <a:pos x="0" y="12"/>
                </a:cxn>
                <a:cxn ang="0">
                  <a:pos x="120" y="131"/>
                </a:cxn>
                <a:cxn ang="0">
                  <a:pos x="147" y="131"/>
                </a:cxn>
                <a:cxn ang="0">
                  <a:pos x="147" y="104"/>
                </a:cxn>
                <a:cxn ang="0">
                  <a:pos x="56" y="13"/>
                </a:cxn>
                <a:cxn ang="0">
                  <a:pos x="56" y="13"/>
                </a:cxn>
                <a:cxn ang="0">
                  <a:pos x="56" y="13"/>
                </a:cxn>
              </a:cxnLst>
              <a:rect l="0" t="0" r="r" b="b"/>
              <a:pathLst>
                <a:path w="155" h="139">
                  <a:moveTo>
                    <a:pt x="56" y="13"/>
                  </a:moveTo>
                  <a:cubicBezTo>
                    <a:pt x="56" y="13"/>
                    <a:pt x="42" y="0"/>
                    <a:pt x="31" y="9"/>
                  </a:cubicBezTo>
                  <a:cubicBezTo>
                    <a:pt x="19" y="18"/>
                    <a:pt x="0" y="12"/>
                    <a:pt x="0" y="12"/>
                  </a:cubicBezTo>
                  <a:cubicBezTo>
                    <a:pt x="120" y="131"/>
                    <a:pt x="120" y="131"/>
                    <a:pt x="120" y="131"/>
                  </a:cubicBezTo>
                  <a:cubicBezTo>
                    <a:pt x="127" y="139"/>
                    <a:pt x="139" y="139"/>
                    <a:pt x="147" y="131"/>
                  </a:cubicBezTo>
                  <a:cubicBezTo>
                    <a:pt x="155" y="124"/>
                    <a:pt x="155" y="111"/>
                    <a:pt x="147" y="104"/>
                  </a:cubicBezTo>
                  <a:lnTo>
                    <a:pt x="56" y="13"/>
                  </a:lnTo>
                  <a:close/>
                  <a:moveTo>
                    <a:pt x="56" y="13"/>
                  </a:moveTo>
                  <a:cubicBezTo>
                    <a:pt x="56" y="13"/>
                    <a:pt x="56" y="13"/>
                    <a:pt x="56" y="13"/>
                  </a:cubicBezTo>
                </a:path>
              </a:pathLst>
            </a:custGeom>
            <a:grpFill/>
            <a:ln w="9525">
              <a:noFill/>
              <a:round/>
            </a:ln>
          </p:spPr>
          <p:txBody>
            <a:bodyPr lIns="99229" tIns="49615" rIns="99229" bIns="49615"/>
            <a:lstStyle/>
            <a:p>
              <a:pPr eaLnBrk="1" hangingPunct="1">
                <a:lnSpc>
                  <a:spcPct val="120000"/>
                </a:lnSpc>
                <a:defRPr/>
              </a:pPr>
              <a:endParaRPr lang="en-US" sz="1700" noProof="1">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103" name="平行四边形 102"/>
          <p:cNvSpPr/>
          <p:nvPr/>
        </p:nvSpPr>
        <p:spPr>
          <a:xfrm flipV="1">
            <a:off x="-1475936" y="431982"/>
            <a:ext cx="2844237"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 name="平行四边形 103"/>
          <p:cNvSpPr/>
          <p:nvPr/>
        </p:nvSpPr>
        <p:spPr>
          <a:xfrm flipV="1">
            <a:off x="1332298" y="431982"/>
            <a:ext cx="864072" cy="72006"/>
          </a:xfrm>
          <a:prstGeom prst="parallelogram">
            <a:avLst>
              <a:gd name="adj" fmla="val 220818"/>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5" name="平行四边形 104"/>
          <p:cNvSpPr/>
          <p:nvPr/>
        </p:nvSpPr>
        <p:spPr>
          <a:xfrm flipV="1">
            <a:off x="2196370" y="431982"/>
            <a:ext cx="648054" cy="72005"/>
          </a:xfrm>
          <a:prstGeom prst="parallelogram">
            <a:avLst>
              <a:gd name="adj" fmla="val 220818"/>
            </a:avLst>
          </a:prstGeom>
          <a:solidFill>
            <a:srgbClr val="1442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 name="平行四边形 105"/>
          <p:cNvSpPr/>
          <p:nvPr/>
        </p:nvSpPr>
        <p:spPr>
          <a:xfrm flipV="1">
            <a:off x="2844424" y="431980"/>
            <a:ext cx="360030" cy="72005"/>
          </a:xfrm>
          <a:prstGeom prst="parallelogram">
            <a:avLst>
              <a:gd name="adj" fmla="val 220818"/>
            </a:avLst>
          </a:prstGeom>
          <a:solidFill>
            <a:srgbClr val="133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07" name="直接连接符 106"/>
          <p:cNvCxnSpPr/>
          <p:nvPr/>
        </p:nvCxnSpPr>
        <p:spPr>
          <a:xfrm>
            <a:off x="-395846" y="575994"/>
            <a:ext cx="7776648" cy="0"/>
          </a:xfrm>
          <a:prstGeom prst="line">
            <a:avLst/>
          </a:prstGeom>
          <a:ln>
            <a:gradFill flip="none" rotWithShape="1">
              <a:gsLst>
                <a:gs pos="0">
                  <a:srgbClr val="14427A"/>
                </a:gs>
                <a:gs pos="49000">
                  <a:srgbClr val="041830"/>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08" name="TextBox 10"/>
          <p:cNvSpPr txBox="1"/>
          <p:nvPr/>
        </p:nvSpPr>
        <p:spPr>
          <a:xfrm>
            <a:off x="324214" y="71952"/>
            <a:ext cx="1531188" cy="276999"/>
          </a:xfrm>
          <a:prstGeom prst="rect">
            <a:avLst/>
          </a:prstGeom>
          <a:noFill/>
        </p:spPr>
        <p:txBody>
          <a:bodyPr wrap="none" rtlCol="0">
            <a:spAutoFit/>
          </a:bodyPr>
          <a:lstStyle/>
          <a:p>
            <a:r>
              <a:rPr lang="zh-CN" altLang="en-US" sz="1200" spc="300" dirty="0">
                <a:solidFill>
                  <a:srgbClr val="0070C0"/>
                </a:solidFill>
                <a:latin typeface="黑体" panose="02010609060101010101" pitchFamily="2" charset="-122"/>
                <a:ea typeface="黑体" panose="02010609060101010101" pitchFamily="2" charset="-122"/>
              </a:rPr>
              <a:t>请在此添加标题</a:t>
            </a:r>
          </a:p>
        </p:txBody>
      </p:sp>
      <p:grpSp>
        <p:nvGrpSpPr>
          <p:cNvPr id="109" name="Group 7"/>
          <p:cNvGrpSpPr/>
          <p:nvPr/>
        </p:nvGrpSpPr>
        <p:grpSpPr bwMode="auto">
          <a:xfrm>
            <a:off x="180202" y="181952"/>
            <a:ext cx="216018" cy="113981"/>
            <a:chOff x="0" y="0"/>
            <a:chExt cx="1041399" cy="549275"/>
          </a:xfrm>
          <a:solidFill>
            <a:srgbClr val="133E73"/>
          </a:solidFill>
        </p:grpSpPr>
        <p:sp>
          <p:nvSpPr>
            <p:cNvPr id="110" name="Freeform 16"/>
            <p:cNvSpPr/>
            <p:nvPr/>
          </p:nvSpPr>
          <p:spPr bwMode="auto">
            <a:xfrm>
              <a:off x="0" y="0"/>
              <a:ext cx="361950" cy="549275"/>
            </a:xfrm>
            <a:custGeom>
              <a:avLst/>
              <a:gdLst>
                <a:gd name="T0" fmla="*/ 4 w 400"/>
                <a:gd name="T1" fmla="*/ 92 h 608"/>
                <a:gd name="T2" fmla="*/ 96 w 400"/>
                <a:gd name="T3" fmla="*/ 0 h 608"/>
                <a:gd name="T4" fmla="*/ 400 w 400"/>
                <a:gd name="T5" fmla="*/ 304 h 608"/>
                <a:gd name="T6" fmla="*/ 96 w 400"/>
                <a:gd name="T7" fmla="*/ 608 h 608"/>
                <a:gd name="T8" fmla="*/ 0 w 400"/>
                <a:gd name="T9" fmla="*/ 512 h 608"/>
                <a:gd name="T10" fmla="*/ 212 w 400"/>
                <a:gd name="T11" fmla="*/ 300 h 608"/>
                <a:gd name="T12" fmla="*/ 4 w 400"/>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400" h="608">
                  <a:moveTo>
                    <a:pt x="4" y="92"/>
                  </a:moveTo>
                  <a:lnTo>
                    <a:pt x="96" y="0"/>
                  </a:lnTo>
                  <a:lnTo>
                    <a:pt x="400"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1" name="Freeform 17"/>
            <p:cNvSpPr/>
            <p:nvPr/>
          </p:nvSpPr>
          <p:spPr bwMode="auto">
            <a:xfrm>
              <a:off x="338137" y="0"/>
              <a:ext cx="360362" cy="549275"/>
            </a:xfrm>
            <a:custGeom>
              <a:avLst/>
              <a:gdLst>
                <a:gd name="T0" fmla="*/ 4 w 399"/>
                <a:gd name="T1" fmla="*/ 92 h 608"/>
                <a:gd name="T2" fmla="*/ 96 w 399"/>
                <a:gd name="T3" fmla="*/ 0 h 608"/>
                <a:gd name="T4" fmla="*/ 399 w 399"/>
                <a:gd name="T5" fmla="*/ 304 h 608"/>
                <a:gd name="T6" fmla="*/ 96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6" y="0"/>
                  </a:lnTo>
                  <a:lnTo>
                    <a:pt x="399" y="304"/>
                  </a:lnTo>
                  <a:lnTo>
                    <a:pt x="96"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112" name="Freeform 18"/>
            <p:cNvSpPr/>
            <p:nvPr/>
          </p:nvSpPr>
          <p:spPr bwMode="auto">
            <a:xfrm>
              <a:off x="681037" y="0"/>
              <a:ext cx="360362" cy="549275"/>
            </a:xfrm>
            <a:custGeom>
              <a:avLst/>
              <a:gdLst>
                <a:gd name="T0" fmla="*/ 4 w 399"/>
                <a:gd name="T1" fmla="*/ 92 h 608"/>
                <a:gd name="T2" fmla="*/ 95 w 399"/>
                <a:gd name="T3" fmla="*/ 0 h 608"/>
                <a:gd name="T4" fmla="*/ 399 w 399"/>
                <a:gd name="T5" fmla="*/ 304 h 608"/>
                <a:gd name="T6" fmla="*/ 95 w 399"/>
                <a:gd name="T7" fmla="*/ 608 h 608"/>
                <a:gd name="T8" fmla="*/ 0 w 399"/>
                <a:gd name="T9" fmla="*/ 512 h 608"/>
                <a:gd name="T10" fmla="*/ 212 w 399"/>
                <a:gd name="T11" fmla="*/ 300 h 608"/>
                <a:gd name="T12" fmla="*/ 4 w 399"/>
                <a:gd name="T13" fmla="*/ 92 h 608"/>
              </a:gdLst>
              <a:ahLst/>
              <a:cxnLst>
                <a:cxn ang="0">
                  <a:pos x="T0" y="T1"/>
                </a:cxn>
                <a:cxn ang="0">
                  <a:pos x="T2" y="T3"/>
                </a:cxn>
                <a:cxn ang="0">
                  <a:pos x="T4" y="T5"/>
                </a:cxn>
                <a:cxn ang="0">
                  <a:pos x="T6" y="T7"/>
                </a:cxn>
                <a:cxn ang="0">
                  <a:pos x="T8" y="T9"/>
                </a:cxn>
                <a:cxn ang="0">
                  <a:pos x="T10" y="T11"/>
                </a:cxn>
                <a:cxn ang="0">
                  <a:pos x="T12" y="T13"/>
                </a:cxn>
              </a:cxnLst>
              <a:rect l="0" t="0" r="r" b="b"/>
              <a:pathLst>
                <a:path w="399" h="608">
                  <a:moveTo>
                    <a:pt x="4" y="92"/>
                  </a:moveTo>
                  <a:lnTo>
                    <a:pt x="95" y="0"/>
                  </a:lnTo>
                  <a:lnTo>
                    <a:pt x="399" y="304"/>
                  </a:lnTo>
                  <a:lnTo>
                    <a:pt x="95" y="608"/>
                  </a:lnTo>
                  <a:lnTo>
                    <a:pt x="0" y="512"/>
                  </a:lnTo>
                  <a:lnTo>
                    <a:pt x="212" y="300"/>
                  </a:lnTo>
                  <a:lnTo>
                    <a:pt x="4" y="9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9"/>
                                        </p:tgtEl>
                                        <p:attrNameLst>
                                          <p:attrName>style.visibility</p:attrName>
                                        </p:attrNameLst>
                                      </p:cBhvr>
                                      <p:to>
                                        <p:strVal val="visible"/>
                                      </p:to>
                                    </p:set>
                                    <p:anim calcmode="lin" valueType="num">
                                      <p:cBhvr additive="base">
                                        <p:cTn id="7" dur="500" fill="hold"/>
                                        <p:tgtEl>
                                          <p:spTgt spid="109"/>
                                        </p:tgtEl>
                                        <p:attrNameLst>
                                          <p:attrName>ppt_x</p:attrName>
                                        </p:attrNameLst>
                                      </p:cBhvr>
                                      <p:tavLst>
                                        <p:tav tm="0">
                                          <p:val>
                                            <p:strVal val="0-#ppt_w/2"/>
                                          </p:val>
                                        </p:tav>
                                        <p:tav tm="100000">
                                          <p:val>
                                            <p:strVal val="#ppt_x"/>
                                          </p:val>
                                        </p:tav>
                                      </p:tavLst>
                                    </p:anim>
                                    <p:anim calcmode="lin" valueType="num">
                                      <p:cBhvr additive="base">
                                        <p:cTn id="8" dur="500" fill="hold"/>
                                        <p:tgtEl>
                                          <p:spTgt spid="10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1" presetClass="entr" presetSubtype="0" fill="hold" grpId="0" nodeType="afterEffect">
                                  <p:stCondLst>
                                    <p:cond delay="0"/>
                                  </p:stCondLst>
                                  <p:iterate type="lt">
                                    <p:tmPct val="10000"/>
                                  </p:iterate>
                                  <p:childTnLst>
                                    <p:set>
                                      <p:cBhvr>
                                        <p:cTn id="11" dur="1" fill="hold">
                                          <p:stCondLst>
                                            <p:cond delay="0"/>
                                          </p:stCondLst>
                                        </p:cTn>
                                        <p:tgtEl>
                                          <p:spTgt spid="108"/>
                                        </p:tgtEl>
                                        <p:attrNameLst>
                                          <p:attrName>style.visibility</p:attrName>
                                        </p:attrNameLst>
                                      </p:cBhvr>
                                      <p:to>
                                        <p:strVal val="visible"/>
                                      </p:to>
                                    </p:set>
                                    <p:anim calcmode="lin" valueType="num">
                                      <p:cBhvr>
                                        <p:cTn id="12" dur="500" fill="hold"/>
                                        <p:tgtEl>
                                          <p:spTgt spid="108"/>
                                        </p:tgtEl>
                                        <p:attrNameLst>
                                          <p:attrName>ppt_x</p:attrName>
                                        </p:attrNameLst>
                                      </p:cBhvr>
                                      <p:tavLst>
                                        <p:tav tm="0">
                                          <p:val>
                                            <p:strVal val="#ppt_x"/>
                                          </p:val>
                                        </p:tav>
                                        <p:tav tm="50000">
                                          <p:val>
                                            <p:strVal val="#ppt_x+.1"/>
                                          </p:val>
                                        </p:tav>
                                        <p:tav tm="100000">
                                          <p:val>
                                            <p:strVal val="#ppt_x"/>
                                          </p:val>
                                        </p:tav>
                                      </p:tavLst>
                                    </p:anim>
                                    <p:anim calcmode="lin" valueType="num">
                                      <p:cBhvr>
                                        <p:cTn id="13" dur="500" fill="hold"/>
                                        <p:tgtEl>
                                          <p:spTgt spid="108"/>
                                        </p:tgtEl>
                                        <p:attrNameLst>
                                          <p:attrName>ppt_y</p:attrName>
                                        </p:attrNameLst>
                                      </p:cBhvr>
                                      <p:tavLst>
                                        <p:tav tm="0">
                                          <p:val>
                                            <p:strVal val="#ppt_y"/>
                                          </p:val>
                                        </p:tav>
                                        <p:tav tm="100000">
                                          <p:val>
                                            <p:strVal val="#ppt_y"/>
                                          </p:val>
                                        </p:tav>
                                      </p:tavLst>
                                    </p:anim>
                                    <p:anim calcmode="lin" valueType="num">
                                      <p:cBhvr>
                                        <p:cTn id="14" dur="500" fill="hold"/>
                                        <p:tgtEl>
                                          <p:spTgt spid="108"/>
                                        </p:tgtEl>
                                        <p:attrNameLst>
                                          <p:attrName>ppt_h</p:attrName>
                                        </p:attrNameLst>
                                      </p:cBhvr>
                                      <p:tavLst>
                                        <p:tav tm="0">
                                          <p:val>
                                            <p:strVal val="#ppt_h/10"/>
                                          </p:val>
                                        </p:tav>
                                        <p:tav tm="50000">
                                          <p:val>
                                            <p:strVal val="#ppt_h+.01"/>
                                          </p:val>
                                        </p:tav>
                                        <p:tav tm="100000">
                                          <p:val>
                                            <p:strVal val="#ppt_h"/>
                                          </p:val>
                                        </p:tav>
                                      </p:tavLst>
                                    </p:anim>
                                    <p:anim calcmode="lin" valueType="num">
                                      <p:cBhvr>
                                        <p:cTn id="15" dur="500" fill="hold"/>
                                        <p:tgtEl>
                                          <p:spTgt spid="108"/>
                                        </p:tgtEl>
                                        <p:attrNameLst>
                                          <p:attrName>ppt_w</p:attrName>
                                        </p:attrNameLst>
                                      </p:cBhvr>
                                      <p:tavLst>
                                        <p:tav tm="0">
                                          <p:val>
                                            <p:strVal val="#ppt_w/10"/>
                                          </p:val>
                                        </p:tav>
                                        <p:tav tm="50000">
                                          <p:val>
                                            <p:strVal val="#ppt_w+.01"/>
                                          </p:val>
                                        </p:tav>
                                        <p:tav tm="100000">
                                          <p:val>
                                            <p:strVal val="#ppt_w"/>
                                          </p:val>
                                        </p:tav>
                                      </p:tavLst>
                                    </p:anim>
                                    <p:animEffect transition="in" filter="fade">
                                      <p:cBhvr>
                                        <p:cTn id="16" dur="500" tmFilter="0,0; .5, 1; 1, 1"/>
                                        <p:tgtEl>
                                          <p:spTgt spid="108"/>
                                        </p:tgtEl>
                                      </p:cBhvr>
                                    </p:animEffect>
                                  </p:childTnLst>
                                </p:cTn>
                              </p:par>
                            </p:childTnLst>
                          </p:cTn>
                        </p:par>
                        <p:par>
                          <p:cTn id="17" fill="hold">
                            <p:stCondLst>
                              <p:cond delay="1299"/>
                            </p:stCondLst>
                            <p:childTnLst>
                              <p:par>
                                <p:cTn id="18" presetID="1" presetClass="emph" presetSubtype="2" fill="hold" grpId="0" nodeType="afterEffect">
                                  <p:stCondLst>
                                    <p:cond delay="0"/>
                                  </p:stCondLst>
                                  <p:childTnLst>
                                    <p:animClr clrSpc="rgb" dir="cw">
                                      <p:cBhvr>
                                        <p:cTn id="19" dur="300" fill="hold"/>
                                        <p:tgtEl>
                                          <p:spTgt spid="105"/>
                                        </p:tgtEl>
                                        <p:attrNameLst>
                                          <p:attrName>fillcolor</p:attrName>
                                        </p:attrNameLst>
                                      </p:cBhvr>
                                      <p:to>
                                        <a:srgbClr val="00AEEF"/>
                                      </p:to>
                                    </p:animClr>
                                    <p:set>
                                      <p:cBhvr>
                                        <p:cTn id="20" dur="300" fill="hold"/>
                                        <p:tgtEl>
                                          <p:spTgt spid="105"/>
                                        </p:tgtEl>
                                        <p:attrNameLst>
                                          <p:attrName>fill.type</p:attrName>
                                        </p:attrNameLst>
                                      </p:cBhvr>
                                      <p:to>
                                        <p:strVal val="solid"/>
                                      </p:to>
                                    </p:set>
                                    <p:set>
                                      <p:cBhvr>
                                        <p:cTn id="21" dur="300" fill="hold"/>
                                        <p:tgtEl>
                                          <p:spTgt spid="105"/>
                                        </p:tgtEl>
                                        <p:attrNameLst>
                                          <p:attrName>fill.on</p:attrName>
                                        </p:attrNameLst>
                                      </p:cBhvr>
                                      <p:to>
                                        <p:strVal val="true"/>
                                      </p:to>
                                    </p:set>
                                  </p:childTnLst>
                                </p:cTn>
                              </p:par>
                            </p:childTnLst>
                          </p:cTn>
                        </p:par>
                        <p:par>
                          <p:cTn id="22" fill="hold">
                            <p:stCondLst>
                              <p:cond delay="1799"/>
                            </p:stCondLst>
                            <p:childTnLst>
                              <p:par>
                                <p:cTn id="23" presetID="2" presetClass="entr" presetSubtype="4" accel="50000" decel="50000" fill="hold" grpId="0" nodeType="afterEffect">
                                  <p:stCondLst>
                                    <p:cond delay="0"/>
                                  </p:stCondLst>
                                  <p:childTnLst>
                                    <p:set>
                                      <p:cBhvr>
                                        <p:cTn id="24" dur="1" fill="hold">
                                          <p:stCondLst>
                                            <p:cond delay="0"/>
                                          </p:stCondLst>
                                        </p:cTn>
                                        <p:tgtEl>
                                          <p:spTgt spid="41"/>
                                        </p:tgtEl>
                                        <p:attrNameLst>
                                          <p:attrName>style.visibility</p:attrName>
                                        </p:attrNameLst>
                                      </p:cBhvr>
                                      <p:to>
                                        <p:strVal val="visible"/>
                                      </p:to>
                                    </p:set>
                                    <p:anim calcmode="lin" valueType="num">
                                      <p:cBhvr>
                                        <p:cTn id="25" dur="500" fill="hold"/>
                                        <p:tgtEl>
                                          <p:spTgt spid="41"/>
                                        </p:tgtEl>
                                        <p:attrNameLst>
                                          <p:attrName>ppt_x</p:attrName>
                                        </p:attrNameLst>
                                      </p:cBhvr>
                                      <p:tavLst>
                                        <p:tav tm="0">
                                          <p:val>
                                            <p:strVal val="#ppt_x"/>
                                          </p:val>
                                        </p:tav>
                                        <p:tav tm="100000">
                                          <p:val>
                                            <p:strVal val="#ppt_x"/>
                                          </p:val>
                                        </p:tav>
                                      </p:tavLst>
                                    </p:anim>
                                    <p:anim calcmode="lin" valueType="num">
                                      <p:cBhvr>
                                        <p:cTn id="26" dur="500" fill="hold"/>
                                        <p:tgtEl>
                                          <p:spTgt spid="41"/>
                                        </p:tgtEl>
                                        <p:attrNameLst>
                                          <p:attrName>ppt_y</p:attrName>
                                        </p:attrNameLst>
                                      </p:cBhvr>
                                      <p:tavLst>
                                        <p:tav tm="0">
                                          <p:val>
                                            <p:strVal val="1+#ppt_h/2"/>
                                          </p:val>
                                        </p:tav>
                                        <p:tav tm="100000">
                                          <p:val>
                                            <p:strVal val="#ppt_y"/>
                                          </p:val>
                                        </p:tav>
                                      </p:tavLst>
                                    </p:anim>
                                  </p:childTnLst>
                                </p:cTn>
                              </p:par>
                            </p:childTnLst>
                          </p:cTn>
                        </p:par>
                        <p:par>
                          <p:cTn id="27" fill="hold">
                            <p:stCondLst>
                              <p:cond delay="2299"/>
                            </p:stCondLst>
                            <p:childTnLst>
                              <p:par>
                                <p:cTn id="28" presetID="53" presetClass="entr" presetSubtype="16" fill="hold" nodeType="afterEffect">
                                  <p:stCondLst>
                                    <p:cond delay="0"/>
                                  </p:stCondLst>
                                  <p:childTnLst>
                                    <p:set>
                                      <p:cBhvr>
                                        <p:cTn id="29" dur="1" fill="hold">
                                          <p:stCondLst>
                                            <p:cond delay="0"/>
                                          </p:stCondLst>
                                        </p:cTn>
                                        <p:tgtEl>
                                          <p:spTgt spid="45"/>
                                        </p:tgtEl>
                                        <p:attrNameLst>
                                          <p:attrName>style.visibility</p:attrName>
                                        </p:attrNameLst>
                                      </p:cBhvr>
                                      <p:to>
                                        <p:strVal val="visible"/>
                                      </p:to>
                                    </p:set>
                                    <p:anim calcmode="lin" valueType="num">
                                      <p:cBhvr>
                                        <p:cTn id="30" dur="500" fill="hold"/>
                                        <p:tgtEl>
                                          <p:spTgt spid="45"/>
                                        </p:tgtEl>
                                        <p:attrNameLst>
                                          <p:attrName>ppt_w</p:attrName>
                                        </p:attrNameLst>
                                      </p:cBhvr>
                                      <p:tavLst>
                                        <p:tav tm="0">
                                          <p:val>
                                            <p:fltVal val="0"/>
                                          </p:val>
                                        </p:tav>
                                        <p:tav tm="100000">
                                          <p:val>
                                            <p:strVal val="#ppt_w"/>
                                          </p:val>
                                        </p:tav>
                                      </p:tavLst>
                                    </p:anim>
                                    <p:anim calcmode="lin" valueType="num">
                                      <p:cBhvr>
                                        <p:cTn id="31" dur="500" fill="hold"/>
                                        <p:tgtEl>
                                          <p:spTgt spid="45"/>
                                        </p:tgtEl>
                                        <p:attrNameLst>
                                          <p:attrName>ppt_h</p:attrName>
                                        </p:attrNameLst>
                                      </p:cBhvr>
                                      <p:tavLst>
                                        <p:tav tm="0">
                                          <p:val>
                                            <p:fltVal val="0"/>
                                          </p:val>
                                        </p:tav>
                                        <p:tav tm="100000">
                                          <p:val>
                                            <p:strVal val="#ppt_h"/>
                                          </p:val>
                                        </p:tav>
                                      </p:tavLst>
                                    </p:anim>
                                    <p:animEffect transition="in" filter="fade">
                                      <p:cBhvr>
                                        <p:cTn id="32" dur="500"/>
                                        <p:tgtEl>
                                          <p:spTgt spid="45"/>
                                        </p:tgtEl>
                                      </p:cBhvr>
                                    </p:animEffect>
                                  </p:childTnLst>
                                </p:cTn>
                              </p:par>
                              <p:par>
                                <p:cTn id="33" presetID="2" presetClass="entr" presetSubtype="2" accel="50000" decel="50000" fill="hold" nodeType="withEffect">
                                  <p:stCondLst>
                                    <p:cond delay="0"/>
                                  </p:stCondLst>
                                  <p:childTnLst>
                                    <p:set>
                                      <p:cBhvr>
                                        <p:cTn id="34" dur="1" fill="hold">
                                          <p:stCondLst>
                                            <p:cond delay="0"/>
                                          </p:stCondLst>
                                        </p:cTn>
                                        <p:tgtEl>
                                          <p:spTgt spid="63"/>
                                        </p:tgtEl>
                                        <p:attrNameLst>
                                          <p:attrName>style.visibility</p:attrName>
                                        </p:attrNameLst>
                                      </p:cBhvr>
                                      <p:to>
                                        <p:strVal val="visible"/>
                                      </p:to>
                                    </p:set>
                                    <p:anim calcmode="lin" valueType="num">
                                      <p:cBhvr>
                                        <p:cTn id="35" dur="500" fill="hold"/>
                                        <p:tgtEl>
                                          <p:spTgt spid="63"/>
                                        </p:tgtEl>
                                        <p:attrNameLst>
                                          <p:attrName>ppt_x</p:attrName>
                                        </p:attrNameLst>
                                      </p:cBhvr>
                                      <p:tavLst>
                                        <p:tav tm="0">
                                          <p:val>
                                            <p:strVal val="1+#ppt_w/2"/>
                                          </p:val>
                                        </p:tav>
                                        <p:tav tm="100000">
                                          <p:val>
                                            <p:strVal val="#ppt_x"/>
                                          </p:val>
                                        </p:tav>
                                      </p:tavLst>
                                    </p:anim>
                                    <p:anim calcmode="lin" valueType="num">
                                      <p:cBhvr>
                                        <p:cTn id="36" dur="500" fill="hold"/>
                                        <p:tgtEl>
                                          <p:spTgt spid="63"/>
                                        </p:tgtEl>
                                        <p:attrNameLst>
                                          <p:attrName>ppt_y</p:attrName>
                                        </p:attrNameLst>
                                      </p:cBhvr>
                                      <p:tavLst>
                                        <p:tav tm="0">
                                          <p:val>
                                            <p:strVal val="#ppt_y"/>
                                          </p:val>
                                        </p:tav>
                                        <p:tav tm="100000">
                                          <p:val>
                                            <p:strVal val="#ppt_y"/>
                                          </p:val>
                                        </p:tav>
                                      </p:tavLst>
                                    </p:anim>
                                  </p:childTnLst>
                                </p:cTn>
                              </p:par>
                            </p:childTnLst>
                          </p:cTn>
                        </p:par>
                        <p:par>
                          <p:cTn id="37" fill="hold">
                            <p:stCondLst>
                              <p:cond delay="2799"/>
                            </p:stCondLst>
                            <p:childTnLst>
                              <p:par>
                                <p:cTn id="38" presetID="2" presetClass="entr" presetSubtype="4" accel="50000" decel="50000" fill="hold" grpId="0" nodeType="afterEffect">
                                  <p:stCondLst>
                                    <p:cond delay="0"/>
                                  </p:stCondLst>
                                  <p:childTnLst>
                                    <p:set>
                                      <p:cBhvr>
                                        <p:cTn id="39" dur="1" fill="hold">
                                          <p:stCondLst>
                                            <p:cond delay="0"/>
                                          </p:stCondLst>
                                        </p:cTn>
                                        <p:tgtEl>
                                          <p:spTgt spid="42"/>
                                        </p:tgtEl>
                                        <p:attrNameLst>
                                          <p:attrName>style.visibility</p:attrName>
                                        </p:attrNameLst>
                                      </p:cBhvr>
                                      <p:to>
                                        <p:strVal val="visible"/>
                                      </p:to>
                                    </p:set>
                                    <p:anim calcmode="lin" valueType="num">
                                      <p:cBhvr>
                                        <p:cTn id="40" dur="500" fill="hold"/>
                                        <p:tgtEl>
                                          <p:spTgt spid="42"/>
                                        </p:tgtEl>
                                        <p:attrNameLst>
                                          <p:attrName>ppt_x</p:attrName>
                                        </p:attrNameLst>
                                      </p:cBhvr>
                                      <p:tavLst>
                                        <p:tav tm="0">
                                          <p:val>
                                            <p:strVal val="#ppt_x"/>
                                          </p:val>
                                        </p:tav>
                                        <p:tav tm="100000">
                                          <p:val>
                                            <p:strVal val="#ppt_x"/>
                                          </p:val>
                                        </p:tav>
                                      </p:tavLst>
                                    </p:anim>
                                    <p:anim calcmode="lin" valueType="num">
                                      <p:cBhvr>
                                        <p:cTn id="41" dur="500" fill="hold"/>
                                        <p:tgtEl>
                                          <p:spTgt spid="42"/>
                                        </p:tgtEl>
                                        <p:attrNameLst>
                                          <p:attrName>ppt_y</p:attrName>
                                        </p:attrNameLst>
                                      </p:cBhvr>
                                      <p:tavLst>
                                        <p:tav tm="0">
                                          <p:val>
                                            <p:strVal val="1+#ppt_h/2"/>
                                          </p:val>
                                        </p:tav>
                                        <p:tav tm="100000">
                                          <p:val>
                                            <p:strVal val="#ppt_y"/>
                                          </p:val>
                                        </p:tav>
                                      </p:tavLst>
                                    </p:anim>
                                  </p:childTnLst>
                                </p:cTn>
                              </p:par>
                            </p:childTnLst>
                          </p:cTn>
                        </p:par>
                        <p:par>
                          <p:cTn id="42" fill="hold">
                            <p:stCondLst>
                              <p:cond delay="3299"/>
                            </p:stCondLst>
                            <p:childTnLst>
                              <p:par>
                                <p:cTn id="43" presetID="53" presetClass="entr" presetSubtype="16" fill="hold" grpId="0" nodeType="afterEffect">
                                  <p:stCondLst>
                                    <p:cond delay="0"/>
                                  </p:stCondLst>
                                  <p:childTnLst>
                                    <p:set>
                                      <p:cBhvr>
                                        <p:cTn id="44" dur="1" fill="hold">
                                          <p:stCondLst>
                                            <p:cond delay="0"/>
                                          </p:stCondLst>
                                        </p:cTn>
                                        <p:tgtEl>
                                          <p:spTgt spid="44"/>
                                        </p:tgtEl>
                                        <p:attrNameLst>
                                          <p:attrName>style.visibility</p:attrName>
                                        </p:attrNameLst>
                                      </p:cBhvr>
                                      <p:to>
                                        <p:strVal val="visible"/>
                                      </p:to>
                                    </p:set>
                                    <p:anim calcmode="lin" valueType="num">
                                      <p:cBhvr>
                                        <p:cTn id="45" dur="500" fill="hold"/>
                                        <p:tgtEl>
                                          <p:spTgt spid="44"/>
                                        </p:tgtEl>
                                        <p:attrNameLst>
                                          <p:attrName>ppt_w</p:attrName>
                                        </p:attrNameLst>
                                      </p:cBhvr>
                                      <p:tavLst>
                                        <p:tav tm="0">
                                          <p:val>
                                            <p:fltVal val="0"/>
                                          </p:val>
                                        </p:tav>
                                        <p:tav tm="100000">
                                          <p:val>
                                            <p:strVal val="#ppt_w"/>
                                          </p:val>
                                        </p:tav>
                                      </p:tavLst>
                                    </p:anim>
                                    <p:anim calcmode="lin" valueType="num">
                                      <p:cBhvr>
                                        <p:cTn id="46" dur="500" fill="hold"/>
                                        <p:tgtEl>
                                          <p:spTgt spid="44"/>
                                        </p:tgtEl>
                                        <p:attrNameLst>
                                          <p:attrName>ppt_h</p:attrName>
                                        </p:attrNameLst>
                                      </p:cBhvr>
                                      <p:tavLst>
                                        <p:tav tm="0">
                                          <p:val>
                                            <p:fltVal val="0"/>
                                          </p:val>
                                        </p:tav>
                                        <p:tav tm="100000">
                                          <p:val>
                                            <p:strVal val="#ppt_h"/>
                                          </p:val>
                                        </p:tav>
                                      </p:tavLst>
                                    </p:anim>
                                    <p:animEffect transition="in" filter="fade">
                                      <p:cBhvr>
                                        <p:cTn id="47" dur="500"/>
                                        <p:tgtEl>
                                          <p:spTgt spid="44"/>
                                        </p:tgtEl>
                                      </p:cBhvr>
                                    </p:animEffect>
                                  </p:childTnLst>
                                </p:cTn>
                              </p:par>
                              <p:par>
                                <p:cTn id="48" presetID="2" presetClass="entr" presetSubtype="2" accel="50000" decel="50000" fill="hold" nodeType="withEffect">
                                  <p:stCondLst>
                                    <p:cond delay="0"/>
                                  </p:stCondLst>
                                  <p:childTnLst>
                                    <p:set>
                                      <p:cBhvr>
                                        <p:cTn id="49" dur="1" fill="hold">
                                          <p:stCondLst>
                                            <p:cond delay="0"/>
                                          </p:stCondLst>
                                        </p:cTn>
                                        <p:tgtEl>
                                          <p:spTgt spid="66"/>
                                        </p:tgtEl>
                                        <p:attrNameLst>
                                          <p:attrName>style.visibility</p:attrName>
                                        </p:attrNameLst>
                                      </p:cBhvr>
                                      <p:to>
                                        <p:strVal val="visible"/>
                                      </p:to>
                                    </p:set>
                                    <p:anim calcmode="lin" valueType="num">
                                      <p:cBhvr>
                                        <p:cTn id="50" dur="500" fill="hold"/>
                                        <p:tgtEl>
                                          <p:spTgt spid="66"/>
                                        </p:tgtEl>
                                        <p:attrNameLst>
                                          <p:attrName>ppt_x</p:attrName>
                                        </p:attrNameLst>
                                      </p:cBhvr>
                                      <p:tavLst>
                                        <p:tav tm="0">
                                          <p:val>
                                            <p:strVal val="1+#ppt_w/2"/>
                                          </p:val>
                                        </p:tav>
                                        <p:tav tm="100000">
                                          <p:val>
                                            <p:strVal val="#ppt_x"/>
                                          </p:val>
                                        </p:tav>
                                      </p:tavLst>
                                    </p:anim>
                                    <p:anim calcmode="lin" valueType="num">
                                      <p:cBhvr>
                                        <p:cTn id="51" dur="500" fill="hold"/>
                                        <p:tgtEl>
                                          <p:spTgt spid="66"/>
                                        </p:tgtEl>
                                        <p:attrNameLst>
                                          <p:attrName>ppt_y</p:attrName>
                                        </p:attrNameLst>
                                      </p:cBhvr>
                                      <p:tavLst>
                                        <p:tav tm="0">
                                          <p:val>
                                            <p:strVal val="#ppt_y"/>
                                          </p:val>
                                        </p:tav>
                                        <p:tav tm="100000">
                                          <p:val>
                                            <p:strVal val="#ppt_y"/>
                                          </p:val>
                                        </p:tav>
                                      </p:tavLst>
                                    </p:anim>
                                  </p:childTnLst>
                                </p:cTn>
                              </p:par>
                            </p:childTnLst>
                          </p:cTn>
                        </p:par>
                        <p:par>
                          <p:cTn id="52" fill="hold">
                            <p:stCondLst>
                              <p:cond delay="3799"/>
                            </p:stCondLst>
                            <p:childTnLst>
                              <p:par>
                                <p:cTn id="53" presetID="2" presetClass="entr" presetSubtype="4" accel="50000" decel="50000" fill="hold" grpId="0" nodeType="afterEffect">
                                  <p:stCondLst>
                                    <p:cond delay="0"/>
                                  </p:stCondLst>
                                  <p:childTnLst>
                                    <p:set>
                                      <p:cBhvr>
                                        <p:cTn id="54" dur="1" fill="hold">
                                          <p:stCondLst>
                                            <p:cond delay="0"/>
                                          </p:stCondLst>
                                        </p:cTn>
                                        <p:tgtEl>
                                          <p:spTgt spid="43"/>
                                        </p:tgtEl>
                                        <p:attrNameLst>
                                          <p:attrName>style.visibility</p:attrName>
                                        </p:attrNameLst>
                                      </p:cBhvr>
                                      <p:to>
                                        <p:strVal val="visible"/>
                                      </p:to>
                                    </p:set>
                                    <p:anim calcmode="lin" valueType="num">
                                      <p:cBhvr>
                                        <p:cTn id="55" dur="500" fill="hold"/>
                                        <p:tgtEl>
                                          <p:spTgt spid="43"/>
                                        </p:tgtEl>
                                        <p:attrNameLst>
                                          <p:attrName>ppt_x</p:attrName>
                                        </p:attrNameLst>
                                      </p:cBhvr>
                                      <p:tavLst>
                                        <p:tav tm="0">
                                          <p:val>
                                            <p:strVal val="#ppt_x"/>
                                          </p:val>
                                        </p:tav>
                                        <p:tav tm="100000">
                                          <p:val>
                                            <p:strVal val="#ppt_x"/>
                                          </p:val>
                                        </p:tav>
                                      </p:tavLst>
                                    </p:anim>
                                    <p:anim calcmode="lin" valueType="num">
                                      <p:cBhvr>
                                        <p:cTn id="56" dur="500" fill="hold"/>
                                        <p:tgtEl>
                                          <p:spTgt spid="43"/>
                                        </p:tgtEl>
                                        <p:attrNameLst>
                                          <p:attrName>ppt_y</p:attrName>
                                        </p:attrNameLst>
                                      </p:cBhvr>
                                      <p:tavLst>
                                        <p:tav tm="0">
                                          <p:val>
                                            <p:strVal val="1+#ppt_h/2"/>
                                          </p:val>
                                        </p:tav>
                                        <p:tav tm="100000">
                                          <p:val>
                                            <p:strVal val="#ppt_y"/>
                                          </p:val>
                                        </p:tav>
                                      </p:tavLst>
                                    </p:anim>
                                  </p:childTnLst>
                                </p:cTn>
                              </p:par>
                            </p:childTnLst>
                          </p:cTn>
                        </p:par>
                        <p:par>
                          <p:cTn id="57" fill="hold">
                            <p:stCondLst>
                              <p:cond delay="4299"/>
                            </p:stCondLst>
                            <p:childTnLst>
                              <p:par>
                                <p:cTn id="58" presetID="53" presetClass="entr" presetSubtype="16" fill="hold" nodeType="afterEffect">
                                  <p:stCondLst>
                                    <p:cond delay="0"/>
                                  </p:stCondLst>
                                  <p:childTnLst>
                                    <p:set>
                                      <p:cBhvr>
                                        <p:cTn id="59" dur="1" fill="hold">
                                          <p:stCondLst>
                                            <p:cond delay="0"/>
                                          </p:stCondLst>
                                        </p:cTn>
                                        <p:tgtEl>
                                          <p:spTgt spid="48"/>
                                        </p:tgtEl>
                                        <p:attrNameLst>
                                          <p:attrName>style.visibility</p:attrName>
                                        </p:attrNameLst>
                                      </p:cBhvr>
                                      <p:to>
                                        <p:strVal val="visible"/>
                                      </p:to>
                                    </p:set>
                                    <p:anim calcmode="lin" valueType="num">
                                      <p:cBhvr>
                                        <p:cTn id="60" dur="500" fill="hold"/>
                                        <p:tgtEl>
                                          <p:spTgt spid="48"/>
                                        </p:tgtEl>
                                        <p:attrNameLst>
                                          <p:attrName>ppt_w</p:attrName>
                                        </p:attrNameLst>
                                      </p:cBhvr>
                                      <p:tavLst>
                                        <p:tav tm="0">
                                          <p:val>
                                            <p:fltVal val="0"/>
                                          </p:val>
                                        </p:tav>
                                        <p:tav tm="100000">
                                          <p:val>
                                            <p:strVal val="#ppt_w"/>
                                          </p:val>
                                        </p:tav>
                                      </p:tavLst>
                                    </p:anim>
                                    <p:anim calcmode="lin" valueType="num">
                                      <p:cBhvr>
                                        <p:cTn id="61" dur="500" fill="hold"/>
                                        <p:tgtEl>
                                          <p:spTgt spid="48"/>
                                        </p:tgtEl>
                                        <p:attrNameLst>
                                          <p:attrName>ppt_h</p:attrName>
                                        </p:attrNameLst>
                                      </p:cBhvr>
                                      <p:tavLst>
                                        <p:tav tm="0">
                                          <p:val>
                                            <p:fltVal val="0"/>
                                          </p:val>
                                        </p:tav>
                                        <p:tav tm="100000">
                                          <p:val>
                                            <p:strVal val="#ppt_h"/>
                                          </p:val>
                                        </p:tav>
                                      </p:tavLst>
                                    </p:anim>
                                    <p:animEffect transition="in" filter="fade">
                                      <p:cBhvr>
                                        <p:cTn id="62" dur="500"/>
                                        <p:tgtEl>
                                          <p:spTgt spid="48"/>
                                        </p:tgtEl>
                                      </p:cBhvr>
                                    </p:animEffect>
                                  </p:childTnLst>
                                </p:cTn>
                              </p:par>
                              <p:par>
                                <p:cTn id="63" presetID="2" presetClass="entr" presetSubtype="2" accel="50000" decel="50000" fill="hold" nodeType="withEffect">
                                  <p:stCondLst>
                                    <p:cond delay="0"/>
                                  </p:stCondLst>
                                  <p:childTnLst>
                                    <p:set>
                                      <p:cBhvr>
                                        <p:cTn id="64" dur="1" fill="hold">
                                          <p:stCondLst>
                                            <p:cond delay="0"/>
                                          </p:stCondLst>
                                        </p:cTn>
                                        <p:tgtEl>
                                          <p:spTgt spid="69"/>
                                        </p:tgtEl>
                                        <p:attrNameLst>
                                          <p:attrName>style.visibility</p:attrName>
                                        </p:attrNameLst>
                                      </p:cBhvr>
                                      <p:to>
                                        <p:strVal val="visible"/>
                                      </p:to>
                                    </p:set>
                                    <p:anim calcmode="lin" valueType="num">
                                      <p:cBhvr>
                                        <p:cTn id="65" dur="500" fill="hold"/>
                                        <p:tgtEl>
                                          <p:spTgt spid="69"/>
                                        </p:tgtEl>
                                        <p:attrNameLst>
                                          <p:attrName>ppt_x</p:attrName>
                                        </p:attrNameLst>
                                      </p:cBhvr>
                                      <p:tavLst>
                                        <p:tav tm="0">
                                          <p:val>
                                            <p:strVal val="1+#ppt_w/2"/>
                                          </p:val>
                                        </p:tav>
                                        <p:tav tm="100000">
                                          <p:val>
                                            <p:strVal val="#ppt_x"/>
                                          </p:val>
                                        </p:tav>
                                      </p:tavLst>
                                    </p:anim>
                                    <p:anim calcmode="lin" valueType="num">
                                      <p:cBhvr>
                                        <p:cTn id="66" dur="500" fill="hold"/>
                                        <p:tgtEl>
                                          <p:spTgt spid="69"/>
                                        </p:tgtEl>
                                        <p:attrNameLst>
                                          <p:attrName>ppt_y</p:attrName>
                                        </p:attrNameLst>
                                      </p:cBhvr>
                                      <p:tavLst>
                                        <p:tav tm="0">
                                          <p:val>
                                            <p:strVal val="#ppt_y"/>
                                          </p:val>
                                        </p:tav>
                                        <p:tav tm="100000">
                                          <p:val>
                                            <p:strVal val="#ppt_y"/>
                                          </p:val>
                                        </p:tav>
                                      </p:tavLst>
                                    </p:anim>
                                  </p:childTnLst>
                                </p:cTn>
                              </p:par>
                            </p:childTnLst>
                          </p:cTn>
                        </p:par>
                        <p:par>
                          <p:cTn id="67" fill="hold">
                            <p:stCondLst>
                              <p:cond delay="4799"/>
                            </p:stCondLst>
                            <p:childTnLst>
                              <p:par>
                                <p:cTn id="68" presetID="2" presetClass="entr" presetSubtype="4" accel="50000" decel="50000" fill="hold" grpId="0" nodeType="afterEffect">
                                  <p:stCondLst>
                                    <p:cond delay="0"/>
                                  </p:stCondLst>
                                  <p:childTnLst>
                                    <p:set>
                                      <p:cBhvr>
                                        <p:cTn id="69" dur="1" fill="hold">
                                          <p:stCondLst>
                                            <p:cond delay="0"/>
                                          </p:stCondLst>
                                        </p:cTn>
                                        <p:tgtEl>
                                          <p:spTgt spid="72"/>
                                        </p:tgtEl>
                                        <p:attrNameLst>
                                          <p:attrName>style.visibility</p:attrName>
                                        </p:attrNameLst>
                                      </p:cBhvr>
                                      <p:to>
                                        <p:strVal val="visible"/>
                                      </p:to>
                                    </p:set>
                                    <p:anim calcmode="lin" valueType="num">
                                      <p:cBhvr>
                                        <p:cTn id="70" dur="500" fill="hold"/>
                                        <p:tgtEl>
                                          <p:spTgt spid="72"/>
                                        </p:tgtEl>
                                        <p:attrNameLst>
                                          <p:attrName>ppt_x</p:attrName>
                                        </p:attrNameLst>
                                      </p:cBhvr>
                                      <p:tavLst>
                                        <p:tav tm="0">
                                          <p:val>
                                            <p:strVal val="#ppt_x"/>
                                          </p:val>
                                        </p:tav>
                                        <p:tav tm="100000">
                                          <p:val>
                                            <p:strVal val="#ppt_x"/>
                                          </p:val>
                                        </p:tav>
                                      </p:tavLst>
                                    </p:anim>
                                    <p:anim calcmode="lin" valueType="num">
                                      <p:cBhvr>
                                        <p:cTn id="71" dur="500" fill="hold"/>
                                        <p:tgtEl>
                                          <p:spTgt spid="72"/>
                                        </p:tgtEl>
                                        <p:attrNameLst>
                                          <p:attrName>ppt_y</p:attrName>
                                        </p:attrNameLst>
                                      </p:cBhvr>
                                      <p:tavLst>
                                        <p:tav tm="0">
                                          <p:val>
                                            <p:strVal val="1+#ppt_h/2"/>
                                          </p:val>
                                        </p:tav>
                                        <p:tav tm="100000">
                                          <p:val>
                                            <p:strVal val="#ppt_y"/>
                                          </p:val>
                                        </p:tav>
                                      </p:tavLst>
                                    </p:anim>
                                  </p:childTnLst>
                                </p:cTn>
                              </p:par>
                            </p:childTnLst>
                          </p:cTn>
                        </p:par>
                        <p:par>
                          <p:cTn id="72" fill="hold">
                            <p:stCondLst>
                              <p:cond delay="5299"/>
                            </p:stCondLst>
                            <p:childTnLst>
                              <p:par>
                                <p:cTn id="73" presetID="53" presetClass="entr" presetSubtype="16" fill="hold" nodeType="afterEffect">
                                  <p:stCondLst>
                                    <p:cond delay="0"/>
                                  </p:stCondLst>
                                  <p:childTnLst>
                                    <p:set>
                                      <p:cBhvr>
                                        <p:cTn id="74" dur="1" fill="hold">
                                          <p:stCondLst>
                                            <p:cond delay="0"/>
                                          </p:stCondLst>
                                        </p:cTn>
                                        <p:tgtEl>
                                          <p:spTgt spid="84"/>
                                        </p:tgtEl>
                                        <p:attrNameLst>
                                          <p:attrName>style.visibility</p:attrName>
                                        </p:attrNameLst>
                                      </p:cBhvr>
                                      <p:to>
                                        <p:strVal val="visible"/>
                                      </p:to>
                                    </p:set>
                                    <p:anim calcmode="lin" valueType="num">
                                      <p:cBhvr>
                                        <p:cTn id="75" dur="500" fill="hold"/>
                                        <p:tgtEl>
                                          <p:spTgt spid="84"/>
                                        </p:tgtEl>
                                        <p:attrNameLst>
                                          <p:attrName>ppt_w</p:attrName>
                                        </p:attrNameLst>
                                      </p:cBhvr>
                                      <p:tavLst>
                                        <p:tav tm="0">
                                          <p:val>
                                            <p:fltVal val="0"/>
                                          </p:val>
                                        </p:tav>
                                        <p:tav tm="100000">
                                          <p:val>
                                            <p:strVal val="#ppt_w"/>
                                          </p:val>
                                        </p:tav>
                                      </p:tavLst>
                                    </p:anim>
                                    <p:anim calcmode="lin" valueType="num">
                                      <p:cBhvr>
                                        <p:cTn id="76" dur="500" fill="hold"/>
                                        <p:tgtEl>
                                          <p:spTgt spid="84"/>
                                        </p:tgtEl>
                                        <p:attrNameLst>
                                          <p:attrName>ppt_h</p:attrName>
                                        </p:attrNameLst>
                                      </p:cBhvr>
                                      <p:tavLst>
                                        <p:tav tm="0">
                                          <p:val>
                                            <p:fltVal val="0"/>
                                          </p:val>
                                        </p:tav>
                                        <p:tav tm="100000">
                                          <p:val>
                                            <p:strVal val="#ppt_h"/>
                                          </p:val>
                                        </p:tav>
                                      </p:tavLst>
                                    </p:anim>
                                    <p:animEffect transition="in" filter="fade">
                                      <p:cBhvr>
                                        <p:cTn id="77" dur="500"/>
                                        <p:tgtEl>
                                          <p:spTgt spid="84"/>
                                        </p:tgtEl>
                                      </p:cBhvr>
                                    </p:animEffect>
                                  </p:childTnLst>
                                </p:cTn>
                              </p:par>
                              <p:par>
                                <p:cTn id="78" presetID="2" presetClass="entr" presetSubtype="2" accel="50000" decel="50000" fill="hold" nodeType="withEffect">
                                  <p:stCondLst>
                                    <p:cond delay="0"/>
                                  </p:stCondLst>
                                  <p:childTnLst>
                                    <p:set>
                                      <p:cBhvr>
                                        <p:cTn id="79" dur="1" fill="hold">
                                          <p:stCondLst>
                                            <p:cond delay="0"/>
                                          </p:stCondLst>
                                        </p:cTn>
                                        <p:tgtEl>
                                          <p:spTgt spid="75"/>
                                        </p:tgtEl>
                                        <p:attrNameLst>
                                          <p:attrName>style.visibility</p:attrName>
                                        </p:attrNameLst>
                                      </p:cBhvr>
                                      <p:to>
                                        <p:strVal val="visible"/>
                                      </p:to>
                                    </p:set>
                                    <p:anim calcmode="lin" valueType="num">
                                      <p:cBhvr>
                                        <p:cTn id="80" dur="500" fill="hold"/>
                                        <p:tgtEl>
                                          <p:spTgt spid="75"/>
                                        </p:tgtEl>
                                        <p:attrNameLst>
                                          <p:attrName>ppt_x</p:attrName>
                                        </p:attrNameLst>
                                      </p:cBhvr>
                                      <p:tavLst>
                                        <p:tav tm="0">
                                          <p:val>
                                            <p:strVal val="1+#ppt_w/2"/>
                                          </p:val>
                                        </p:tav>
                                        <p:tav tm="100000">
                                          <p:val>
                                            <p:strVal val="#ppt_x"/>
                                          </p:val>
                                        </p:tav>
                                      </p:tavLst>
                                    </p:anim>
                                    <p:anim calcmode="lin" valueType="num">
                                      <p:cBhvr>
                                        <p:cTn id="81" dur="500" fill="hold"/>
                                        <p:tgtEl>
                                          <p:spTgt spid="75"/>
                                        </p:tgtEl>
                                        <p:attrNameLst>
                                          <p:attrName>ppt_y</p:attrName>
                                        </p:attrNameLst>
                                      </p:cBhvr>
                                      <p:tavLst>
                                        <p:tav tm="0">
                                          <p:val>
                                            <p:strVal val="#ppt_y"/>
                                          </p:val>
                                        </p:tav>
                                        <p:tav tm="100000">
                                          <p:val>
                                            <p:strVal val="#ppt_y"/>
                                          </p:val>
                                        </p:tav>
                                      </p:tavLst>
                                    </p:anim>
                                  </p:childTnLst>
                                </p:cTn>
                              </p:par>
                            </p:childTnLst>
                          </p:cTn>
                        </p:par>
                        <p:par>
                          <p:cTn id="82" fill="hold">
                            <p:stCondLst>
                              <p:cond delay="5799"/>
                            </p:stCondLst>
                            <p:childTnLst>
                              <p:par>
                                <p:cTn id="83" presetID="2" presetClass="entr" presetSubtype="4" accel="50000" decel="50000" fill="hold" grpId="0" nodeType="afterEffect">
                                  <p:stCondLst>
                                    <p:cond delay="0"/>
                                  </p:stCondLst>
                                  <p:childTnLst>
                                    <p:set>
                                      <p:cBhvr>
                                        <p:cTn id="84" dur="1" fill="hold">
                                          <p:stCondLst>
                                            <p:cond delay="0"/>
                                          </p:stCondLst>
                                        </p:cTn>
                                        <p:tgtEl>
                                          <p:spTgt spid="73"/>
                                        </p:tgtEl>
                                        <p:attrNameLst>
                                          <p:attrName>style.visibility</p:attrName>
                                        </p:attrNameLst>
                                      </p:cBhvr>
                                      <p:to>
                                        <p:strVal val="visible"/>
                                      </p:to>
                                    </p:set>
                                    <p:anim calcmode="lin" valueType="num">
                                      <p:cBhvr>
                                        <p:cTn id="85" dur="500" fill="hold"/>
                                        <p:tgtEl>
                                          <p:spTgt spid="73"/>
                                        </p:tgtEl>
                                        <p:attrNameLst>
                                          <p:attrName>ppt_x</p:attrName>
                                        </p:attrNameLst>
                                      </p:cBhvr>
                                      <p:tavLst>
                                        <p:tav tm="0">
                                          <p:val>
                                            <p:strVal val="#ppt_x"/>
                                          </p:val>
                                        </p:tav>
                                        <p:tav tm="100000">
                                          <p:val>
                                            <p:strVal val="#ppt_x"/>
                                          </p:val>
                                        </p:tav>
                                      </p:tavLst>
                                    </p:anim>
                                    <p:anim calcmode="lin" valueType="num">
                                      <p:cBhvr>
                                        <p:cTn id="86" dur="500" fill="hold"/>
                                        <p:tgtEl>
                                          <p:spTgt spid="73"/>
                                        </p:tgtEl>
                                        <p:attrNameLst>
                                          <p:attrName>ppt_y</p:attrName>
                                        </p:attrNameLst>
                                      </p:cBhvr>
                                      <p:tavLst>
                                        <p:tav tm="0">
                                          <p:val>
                                            <p:strVal val="1+#ppt_h/2"/>
                                          </p:val>
                                        </p:tav>
                                        <p:tav tm="100000">
                                          <p:val>
                                            <p:strVal val="#ppt_y"/>
                                          </p:val>
                                        </p:tav>
                                      </p:tavLst>
                                    </p:anim>
                                  </p:childTnLst>
                                </p:cTn>
                              </p:par>
                            </p:childTnLst>
                          </p:cTn>
                        </p:par>
                        <p:par>
                          <p:cTn id="87" fill="hold">
                            <p:stCondLst>
                              <p:cond delay="6299"/>
                            </p:stCondLst>
                            <p:childTnLst>
                              <p:par>
                                <p:cTn id="88" presetID="53" presetClass="entr" presetSubtype="16" fill="hold" nodeType="afterEffect">
                                  <p:stCondLst>
                                    <p:cond delay="0"/>
                                  </p:stCondLst>
                                  <p:childTnLst>
                                    <p:set>
                                      <p:cBhvr>
                                        <p:cTn id="89" dur="1" fill="hold">
                                          <p:stCondLst>
                                            <p:cond delay="0"/>
                                          </p:stCondLst>
                                        </p:cTn>
                                        <p:tgtEl>
                                          <p:spTgt spid="88"/>
                                        </p:tgtEl>
                                        <p:attrNameLst>
                                          <p:attrName>style.visibility</p:attrName>
                                        </p:attrNameLst>
                                      </p:cBhvr>
                                      <p:to>
                                        <p:strVal val="visible"/>
                                      </p:to>
                                    </p:set>
                                    <p:anim calcmode="lin" valueType="num">
                                      <p:cBhvr>
                                        <p:cTn id="90" dur="500" fill="hold"/>
                                        <p:tgtEl>
                                          <p:spTgt spid="88"/>
                                        </p:tgtEl>
                                        <p:attrNameLst>
                                          <p:attrName>ppt_w</p:attrName>
                                        </p:attrNameLst>
                                      </p:cBhvr>
                                      <p:tavLst>
                                        <p:tav tm="0">
                                          <p:val>
                                            <p:fltVal val="0"/>
                                          </p:val>
                                        </p:tav>
                                        <p:tav tm="100000">
                                          <p:val>
                                            <p:strVal val="#ppt_w"/>
                                          </p:val>
                                        </p:tav>
                                      </p:tavLst>
                                    </p:anim>
                                    <p:anim calcmode="lin" valueType="num">
                                      <p:cBhvr>
                                        <p:cTn id="91" dur="500" fill="hold"/>
                                        <p:tgtEl>
                                          <p:spTgt spid="88"/>
                                        </p:tgtEl>
                                        <p:attrNameLst>
                                          <p:attrName>ppt_h</p:attrName>
                                        </p:attrNameLst>
                                      </p:cBhvr>
                                      <p:tavLst>
                                        <p:tav tm="0">
                                          <p:val>
                                            <p:fltVal val="0"/>
                                          </p:val>
                                        </p:tav>
                                        <p:tav tm="100000">
                                          <p:val>
                                            <p:strVal val="#ppt_h"/>
                                          </p:val>
                                        </p:tav>
                                      </p:tavLst>
                                    </p:anim>
                                    <p:animEffect transition="in" filter="fade">
                                      <p:cBhvr>
                                        <p:cTn id="92" dur="500"/>
                                        <p:tgtEl>
                                          <p:spTgt spid="88"/>
                                        </p:tgtEl>
                                      </p:cBhvr>
                                    </p:animEffect>
                                  </p:childTnLst>
                                </p:cTn>
                              </p:par>
                              <p:par>
                                <p:cTn id="93" presetID="2" presetClass="entr" presetSubtype="2" accel="50000" decel="50000" fill="hold" nodeType="withEffect">
                                  <p:stCondLst>
                                    <p:cond delay="0"/>
                                  </p:stCondLst>
                                  <p:childTnLst>
                                    <p:set>
                                      <p:cBhvr>
                                        <p:cTn id="94" dur="1" fill="hold">
                                          <p:stCondLst>
                                            <p:cond delay="0"/>
                                          </p:stCondLst>
                                        </p:cTn>
                                        <p:tgtEl>
                                          <p:spTgt spid="78"/>
                                        </p:tgtEl>
                                        <p:attrNameLst>
                                          <p:attrName>style.visibility</p:attrName>
                                        </p:attrNameLst>
                                      </p:cBhvr>
                                      <p:to>
                                        <p:strVal val="visible"/>
                                      </p:to>
                                    </p:set>
                                    <p:anim calcmode="lin" valueType="num">
                                      <p:cBhvr>
                                        <p:cTn id="95" dur="500" fill="hold"/>
                                        <p:tgtEl>
                                          <p:spTgt spid="78"/>
                                        </p:tgtEl>
                                        <p:attrNameLst>
                                          <p:attrName>ppt_x</p:attrName>
                                        </p:attrNameLst>
                                      </p:cBhvr>
                                      <p:tavLst>
                                        <p:tav tm="0">
                                          <p:val>
                                            <p:strVal val="1+#ppt_w/2"/>
                                          </p:val>
                                        </p:tav>
                                        <p:tav tm="100000">
                                          <p:val>
                                            <p:strVal val="#ppt_x"/>
                                          </p:val>
                                        </p:tav>
                                      </p:tavLst>
                                    </p:anim>
                                    <p:anim calcmode="lin" valueType="num">
                                      <p:cBhvr>
                                        <p:cTn id="96" dur="500" fill="hold"/>
                                        <p:tgtEl>
                                          <p:spTgt spid="78"/>
                                        </p:tgtEl>
                                        <p:attrNameLst>
                                          <p:attrName>ppt_y</p:attrName>
                                        </p:attrNameLst>
                                      </p:cBhvr>
                                      <p:tavLst>
                                        <p:tav tm="0">
                                          <p:val>
                                            <p:strVal val="#ppt_y"/>
                                          </p:val>
                                        </p:tav>
                                        <p:tav tm="100000">
                                          <p:val>
                                            <p:strVal val="#ppt_y"/>
                                          </p:val>
                                        </p:tav>
                                      </p:tavLst>
                                    </p:anim>
                                  </p:childTnLst>
                                </p:cTn>
                              </p:par>
                            </p:childTnLst>
                          </p:cTn>
                        </p:par>
                        <p:par>
                          <p:cTn id="97" fill="hold">
                            <p:stCondLst>
                              <p:cond delay="6799"/>
                            </p:stCondLst>
                            <p:childTnLst>
                              <p:par>
                                <p:cTn id="98" presetID="2" presetClass="entr" presetSubtype="4" accel="50000" decel="50000" fill="hold" grpId="0" nodeType="afterEffect">
                                  <p:stCondLst>
                                    <p:cond delay="0"/>
                                  </p:stCondLst>
                                  <p:childTnLst>
                                    <p:set>
                                      <p:cBhvr>
                                        <p:cTn id="99" dur="1" fill="hold">
                                          <p:stCondLst>
                                            <p:cond delay="0"/>
                                          </p:stCondLst>
                                        </p:cTn>
                                        <p:tgtEl>
                                          <p:spTgt spid="74"/>
                                        </p:tgtEl>
                                        <p:attrNameLst>
                                          <p:attrName>style.visibility</p:attrName>
                                        </p:attrNameLst>
                                      </p:cBhvr>
                                      <p:to>
                                        <p:strVal val="visible"/>
                                      </p:to>
                                    </p:set>
                                    <p:anim calcmode="lin" valueType="num">
                                      <p:cBhvr>
                                        <p:cTn id="100" dur="500" fill="hold"/>
                                        <p:tgtEl>
                                          <p:spTgt spid="74"/>
                                        </p:tgtEl>
                                        <p:attrNameLst>
                                          <p:attrName>ppt_x</p:attrName>
                                        </p:attrNameLst>
                                      </p:cBhvr>
                                      <p:tavLst>
                                        <p:tav tm="0">
                                          <p:val>
                                            <p:strVal val="#ppt_x"/>
                                          </p:val>
                                        </p:tav>
                                        <p:tav tm="100000">
                                          <p:val>
                                            <p:strVal val="#ppt_x"/>
                                          </p:val>
                                        </p:tav>
                                      </p:tavLst>
                                    </p:anim>
                                    <p:anim calcmode="lin" valueType="num">
                                      <p:cBhvr>
                                        <p:cTn id="101" dur="500" fill="hold"/>
                                        <p:tgtEl>
                                          <p:spTgt spid="74"/>
                                        </p:tgtEl>
                                        <p:attrNameLst>
                                          <p:attrName>ppt_y</p:attrName>
                                        </p:attrNameLst>
                                      </p:cBhvr>
                                      <p:tavLst>
                                        <p:tav tm="0">
                                          <p:val>
                                            <p:strVal val="1+#ppt_h/2"/>
                                          </p:val>
                                        </p:tav>
                                        <p:tav tm="100000">
                                          <p:val>
                                            <p:strVal val="#ppt_y"/>
                                          </p:val>
                                        </p:tav>
                                      </p:tavLst>
                                    </p:anim>
                                  </p:childTnLst>
                                </p:cTn>
                              </p:par>
                            </p:childTnLst>
                          </p:cTn>
                        </p:par>
                        <p:par>
                          <p:cTn id="102" fill="hold">
                            <p:stCondLst>
                              <p:cond delay="7299"/>
                            </p:stCondLst>
                            <p:childTnLst>
                              <p:par>
                                <p:cTn id="103" presetID="53" presetClass="entr" presetSubtype="16" fill="hold" nodeType="afterEffect">
                                  <p:stCondLst>
                                    <p:cond delay="0"/>
                                  </p:stCondLst>
                                  <p:childTnLst>
                                    <p:set>
                                      <p:cBhvr>
                                        <p:cTn id="104" dur="1" fill="hold">
                                          <p:stCondLst>
                                            <p:cond delay="0"/>
                                          </p:stCondLst>
                                        </p:cTn>
                                        <p:tgtEl>
                                          <p:spTgt spid="100"/>
                                        </p:tgtEl>
                                        <p:attrNameLst>
                                          <p:attrName>style.visibility</p:attrName>
                                        </p:attrNameLst>
                                      </p:cBhvr>
                                      <p:to>
                                        <p:strVal val="visible"/>
                                      </p:to>
                                    </p:set>
                                    <p:anim calcmode="lin" valueType="num">
                                      <p:cBhvr>
                                        <p:cTn id="105" dur="500" fill="hold"/>
                                        <p:tgtEl>
                                          <p:spTgt spid="100"/>
                                        </p:tgtEl>
                                        <p:attrNameLst>
                                          <p:attrName>ppt_w</p:attrName>
                                        </p:attrNameLst>
                                      </p:cBhvr>
                                      <p:tavLst>
                                        <p:tav tm="0">
                                          <p:val>
                                            <p:fltVal val="0"/>
                                          </p:val>
                                        </p:tav>
                                        <p:tav tm="100000">
                                          <p:val>
                                            <p:strVal val="#ppt_w"/>
                                          </p:val>
                                        </p:tav>
                                      </p:tavLst>
                                    </p:anim>
                                    <p:anim calcmode="lin" valueType="num">
                                      <p:cBhvr>
                                        <p:cTn id="106" dur="500" fill="hold"/>
                                        <p:tgtEl>
                                          <p:spTgt spid="100"/>
                                        </p:tgtEl>
                                        <p:attrNameLst>
                                          <p:attrName>ppt_h</p:attrName>
                                        </p:attrNameLst>
                                      </p:cBhvr>
                                      <p:tavLst>
                                        <p:tav tm="0">
                                          <p:val>
                                            <p:fltVal val="0"/>
                                          </p:val>
                                        </p:tav>
                                        <p:tav tm="100000">
                                          <p:val>
                                            <p:strVal val="#ppt_h"/>
                                          </p:val>
                                        </p:tav>
                                      </p:tavLst>
                                    </p:anim>
                                    <p:animEffect transition="in" filter="fade">
                                      <p:cBhvr>
                                        <p:cTn id="107" dur="500"/>
                                        <p:tgtEl>
                                          <p:spTgt spid="100"/>
                                        </p:tgtEl>
                                      </p:cBhvr>
                                    </p:animEffect>
                                  </p:childTnLst>
                                </p:cTn>
                              </p:par>
                              <p:par>
                                <p:cTn id="108" presetID="2" presetClass="entr" presetSubtype="2" accel="50000" decel="50000" fill="hold" nodeType="withEffect">
                                  <p:stCondLst>
                                    <p:cond delay="0"/>
                                  </p:stCondLst>
                                  <p:childTnLst>
                                    <p:set>
                                      <p:cBhvr>
                                        <p:cTn id="109" dur="1" fill="hold">
                                          <p:stCondLst>
                                            <p:cond delay="0"/>
                                          </p:stCondLst>
                                        </p:cTn>
                                        <p:tgtEl>
                                          <p:spTgt spid="81"/>
                                        </p:tgtEl>
                                        <p:attrNameLst>
                                          <p:attrName>style.visibility</p:attrName>
                                        </p:attrNameLst>
                                      </p:cBhvr>
                                      <p:to>
                                        <p:strVal val="visible"/>
                                      </p:to>
                                    </p:set>
                                    <p:anim calcmode="lin" valueType="num">
                                      <p:cBhvr>
                                        <p:cTn id="110" dur="500" fill="hold"/>
                                        <p:tgtEl>
                                          <p:spTgt spid="81"/>
                                        </p:tgtEl>
                                        <p:attrNameLst>
                                          <p:attrName>ppt_x</p:attrName>
                                        </p:attrNameLst>
                                      </p:cBhvr>
                                      <p:tavLst>
                                        <p:tav tm="0">
                                          <p:val>
                                            <p:strVal val="1+#ppt_w/2"/>
                                          </p:val>
                                        </p:tav>
                                        <p:tav tm="100000">
                                          <p:val>
                                            <p:strVal val="#ppt_x"/>
                                          </p:val>
                                        </p:tav>
                                      </p:tavLst>
                                    </p:anim>
                                    <p:anim calcmode="lin" valueType="num">
                                      <p:cBhvr>
                                        <p:cTn id="111" dur="500" fill="hold"/>
                                        <p:tgtEl>
                                          <p:spTgt spid="8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2" grpId="0"/>
      <p:bldP spid="43" grpId="0"/>
      <p:bldP spid="44" grpId="0" animBg="1"/>
      <p:bldP spid="72" grpId="0"/>
      <p:bldP spid="73" grpId="0"/>
      <p:bldP spid="74" grpId="0"/>
      <p:bldP spid="105" grpId="0" animBg="1"/>
      <p:bldP spid="10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295376">
            <a:off x="3231895" y="-3391568"/>
            <a:ext cx="12281658" cy="6783135"/>
          </a:xfrm>
          <a:prstGeom prst="rect">
            <a:avLst/>
          </a:prstGeom>
        </p:spPr>
      </p:pic>
      <p:sp>
        <p:nvSpPr>
          <p:cNvPr id="6" name="TextBox 10"/>
          <p:cNvSpPr txBox="1"/>
          <p:nvPr/>
        </p:nvSpPr>
        <p:spPr>
          <a:xfrm>
            <a:off x="1188194" y="3005020"/>
            <a:ext cx="2569934" cy="523220"/>
          </a:xfrm>
          <a:prstGeom prst="rect">
            <a:avLst/>
          </a:prstGeom>
          <a:noFill/>
        </p:spPr>
        <p:txBody>
          <a:bodyPr wrap="none" rtlCol="0">
            <a:spAutoFit/>
          </a:bodyPr>
          <a:lstStyle/>
          <a:p>
            <a:r>
              <a:rPr lang="zh-CN" altLang="en-US" sz="2800" spc="300" dirty="0">
                <a:solidFill>
                  <a:srgbClr val="0070C0"/>
                </a:solidFill>
                <a:latin typeface="黑体" panose="02010609060101010101" pitchFamily="2" charset="-122"/>
                <a:ea typeface="黑体" panose="02010609060101010101" pitchFamily="2" charset="-122"/>
              </a:rPr>
              <a:t>单击添加标题</a:t>
            </a:r>
          </a:p>
        </p:txBody>
      </p:sp>
      <p:sp>
        <p:nvSpPr>
          <p:cNvPr id="7" name="TextBox 11"/>
          <p:cNvSpPr txBox="1"/>
          <p:nvPr/>
        </p:nvSpPr>
        <p:spPr>
          <a:xfrm>
            <a:off x="1260292" y="3564725"/>
            <a:ext cx="3025187" cy="430887"/>
          </a:xfrm>
          <a:prstGeom prst="rect">
            <a:avLst/>
          </a:prstGeom>
          <a:noFill/>
        </p:spPr>
        <p:txBody>
          <a:bodyPr wrap="none" rtlCol="0">
            <a:spAutoFit/>
          </a:bodyPr>
          <a:lstStyle/>
          <a:p>
            <a:r>
              <a:rPr lang="en-US" altLang="zh-CN" sz="1100" dirty="0">
                <a:solidFill>
                  <a:schemeClr val="bg1"/>
                </a:solidFill>
                <a:latin typeface="汉仪细等线" panose="01010104010101010101" pitchFamily="2" charset="-122"/>
                <a:ea typeface="汉仪细等线" panose="01010104010101010101" pitchFamily="2" charset="-122"/>
              </a:rPr>
              <a:t>Please click enter to Please click enter add</a:t>
            </a:r>
          </a:p>
          <a:p>
            <a:r>
              <a:rPr lang="en-US" altLang="zh-CN" sz="1100" dirty="0">
                <a:solidFill>
                  <a:schemeClr val="bg1"/>
                </a:solidFill>
                <a:latin typeface="汉仪细等线" panose="01010104010101010101" pitchFamily="2" charset="-122"/>
                <a:ea typeface="汉仪细等线" panose="01010104010101010101" pitchFamily="2" charset="-122"/>
              </a:rPr>
              <a:t>text content Please click enter </a:t>
            </a:r>
            <a:endParaRPr lang="zh-CN" altLang="en-US" sz="1100" dirty="0">
              <a:solidFill>
                <a:schemeClr val="bg1"/>
              </a:solidFill>
              <a:latin typeface="汉仪细等线" panose="01010104010101010101" pitchFamily="2" charset="-122"/>
              <a:ea typeface="汉仪细等线" panose="01010104010101010101" pitchFamily="2" charset="-122"/>
            </a:endParaRPr>
          </a:p>
        </p:txBody>
      </p:sp>
      <p:sp>
        <p:nvSpPr>
          <p:cNvPr id="8" name="TextBox 21"/>
          <p:cNvSpPr txBox="1"/>
          <p:nvPr/>
        </p:nvSpPr>
        <p:spPr>
          <a:xfrm>
            <a:off x="1188194" y="1306180"/>
            <a:ext cx="2512226" cy="1862048"/>
          </a:xfrm>
          <a:prstGeom prst="rect">
            <a:avLst/>
          </a:prstGeom>
          <a:noFill/>
        </p:spPr>
        <p:txBody>
          <a:bodyPr wrap="none" rtlCol="0">
            <a:spAutoFit/>
          </a:bodyPr>
          <a:lstStyle/>
          <a:p>
            <a:r>
              <a:rPr lang="en-US" altLang="zh-CN" sz="11500" spc="300" dirty="0">
                <a:solidFill>
                  <a:srgbClr val="0070C0"/>
                </a:solidFill>
                <a:latin typeface="黑体" panose="02010609060101010101" pitchFamily="2" charset="-122"/>
                <a:ea typeface="黑体" panose="02010609060101010101" pitchFamily="2" charset="-122"/>
              </a:rPr>
              <a:t>02.</a:t>
            </a:r>
            <a:endParaRPr lang="zh-CN" altLang="en-US" sz="11500" spc="300" dirty="0">
              <a:solidFill>
                <a:srgbClr val="0070C0"/>
              </a:solidFill>
              <a:latin typeface="黑体" panose="02010609060101010101" pitchFamily="2" charset="-122"/>
              <a:ea typeface="黑体" panose="02010609060101010101" pitchFamily="2" charset="-122"/>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3250">
        <p15:prstTrans prst="origami"/>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2"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35" presetClass="emph" presetSubtype="0" fill="hold" grpId="0" nodeType="afterEffect">
                                  <p:stCondLst>
                                    <p:cond delay="0"/>
                                  </p:stCondLst>
                                  <p:childTnLst>
                                    <p:anim calcmode="discrete" valueType="str">
                                      <p:cBhvr>
                                        <p:cTn id="10"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1" fill="hold">
                            <p:stCondLst>
                              <p:cond delay="1500"/>
                            </p:stCondLst>
                            <p:childTnLst>
                              <p:par>
                                <p:cTn id="12" presetID="35" presetClass="emph" presetSubtype="0" fill="hold" grpId="1" nodeType="afterEffect">
                                  <p:stCondLst>
                                    <p:cond delay="0"/>
                                  </p:stCondLst>
                                  <p:childTnLst>
                                    <p:anim calcmode="discrete" valueType="str">
                                      <p:cBhvr>
                                        <p:cTn id="13" dur="1000" fill="hold"/>
                                        <p:tgtEl>
                                          <p:spTgt spid="8"/>
                                        </p:tgtEl>
                                        <p:attrNameLst>
                                          <p:attrName>style.visibility</p:attrName>
                                        </p:attrNameLst>
                                      </p:cBhvr>
                                      <p:tavLst>
                                        <p:tav tm="0">
                                          <p:val>
                                            <p:strVal val="hidden"/>
                                          </p:val>
                                        </p:tav>
                                        <p:tav tm="50000">
                                          <p:val>
                                            <p:strVal val="visible"/>
                                          </p:val>
                                        </p:tav>
                                      </p:tavLst>
                                    </p:anim>
                                  </p:childTnLst>
                                </p:cTn>
                              </p:par>
                            </p:childTnLst>
                          </p:cTn>
                        </p:par>
                        <p:par>
                          <p:cTn id="14" fill="hold">
                            <p:stCondLst>
                              <p:cond delay="25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par>
                          <p:cTn id="18" fill="hold">
                            <p:stCondLst>
                              <p:cond delay="3000"/>
                            </p:stCondLst>
                            <p:childTnLst>
                              <p:par>
                                <p:cTn id="19" presetID="26" presetClass="emph" presetSubtype="0" fill="hold" grpId="1" nodeType="afterEffect">
                                  <p:stCondLst>
                                    <p:cond delay="0"/>
                                  </p:stCondLst>
                                  <p:childTnLst>
                                    <p:animEffect transition="out" filter="fade">
                                      <p:cBhvr>
                                        <p:cTn id="20" dur="500" tmFilter="0, 0; .2, .5; .8, .5; 1, 0"/>
                                        <p:tgtEl>
                                          <p:spTgt spid="6"/>
                                        </p:tgtEl>
                                      </p:cBhvr>
                                    </p:animEffect>
                                    <p:animScale>
                                      <p:cBhvr>
                                        <p:cTn id="21" dur="250" autoRev="1" fill="hold"/>
                                        <p:tgtEl>
                                          <p:spTgt spid="6"/>
                                        </p:tgtEl>
                                      </p:cBhvr>
                                      <p:by x="105000" y="105000"/>
                                    </p:animScale>
                                  </p:childTnLst>
                                </p:cTn>
                              </p:par>
                            </p:childTnLst>
                          </p:cTn>
                        </p:par>
                        <p:par>
                          <p:cTn id="22" fill="hold">
                            <p:stCondLst>
                              <p:cond delay="3500"/>
                            </p:stCondLst>
                            <p:childTnLst>
                              <p:par>
                                <p:cTn id="23" presetID="41" presetClass="entr" presetSubtype="0" fill="hold" grpId="0" nodeType="afterEffect">
                                  <p:stCondLst>
                                    <p:cond delay="0"/>
                                  </p:stCondLst>
                                  <p:iterate type="lt">
                                    <p:tmPct val="10000"/>
                                  </p:iterate>
                                  <p:childTnLst>
                                    <p:set>
                                      <p:cBhvr>
                                        <p:cTn id="24" dur="1" fill="hold">
                                          <p:stCondLst>
                                            <p:cond delay="0"/>
                                          </p:stCondLst>
                                        </p:cTn>
                                        <p:tgtEl>
                                          <p:spTgt spid="7"/>
                                        </p:tgtEl>
                                        <p:attrNameLst>
                                          <p:attrName>style.visibility</p:attrName>
                                        </p:attrNameLst>
                                      </p:cBhvr>
                                      <p:to>
                                        <p:strVal val="visible"/>
                                      </p:to>
                                    </p:set>
                                    <p:anim calcmode="lin" valueType="num">
                                      <p:cBhvr>
                                        <p:cTn id="25" dur="2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26" dur="200" fill="hold"/>
                                        <p:tgtEl>
                                          <p:spTgt spid="7"/>
                                        </p:tgtEl>
                                        <p:attrNameLst>
                                          <p:attrName>ppt_y</p:attrName>
                                        </p:attrNameLst>
                                      </p:cBhvr>
                                      <p:tavLst>
                                        <p:tav tm="0">
                                          <p:val>
                                            <p:strVal val="#ppt_y"/>
                                          </p:val>
                                        </p:tav>
                                        <p:tav tm="100000">
                                          <p:val>
                                            <p:strVal val="#ppt_y"/>
                                          </p:val>
                                        </p:tav>
                                      </p:tavLst>
                                    </p:anim>
                                    <p:anim calcmode="lin" valueType="num">
                                      <p:cBhvr>
                                        <p:cTn id="27" dur="2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28" dur="2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29" dur="200" tmFilter="0,0; .5, 1; 1, 1"/>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8" grpId="0"/>
      <p:bldP spid="8" grpId="1"/>
      <p:bldP spid="8" grpId="2"/>
    </p:bldLst>
  </p:timing>
</p:sld>
</file>

<file path=ppt/tags/tag1.xml><?xml version="1.0" encoding="utf-8"?>
<p:tagLst xmlns:a="http://schemas.openxmlformats.org/drawingml/2006/main" xmlns:r="http://schemas.openxmlformats.org/officeDocument/2006/relationships" xmlns:p="http://schemas.openxmlformats.org/presentationml/2006/main">
  <p:tag name="ISPRING_PRESENTATION_TITLE" val="bt578455"/>
</p:tagLst>
</file>

<file path=ppt/tags/tag2.xml><?xml version="1.0" encoding="utf-8"?>
<p:tagLst xmlns:a="http://schemas.openxmlformats.org/drawingml/2006/main" xmlns:r="http://schemas.openxmlformats.org/officeDocument/2006/relationships" xmlns:p="http://schemas.openxmlformats.org/presentationml/2006/main">
  <p:tag name="TIMING" val="|3.5"/>
</p:tagLst>
</file>

<file path=ppt/tags/tag3.xml><?xml version="1.0" encoding="utf-8"?>
<p:tagLst xmlns:a="http://schemas.openxmlformats.org/drawingml/2006/main" xmlns:r="http://schemas.openxmlformats.org/officeDocument/2006/relationships" xmlns:p="http://schemas.openxmlformats.org/presentationml/2006/main">
  <p:tag name="TIMING" val="|4.1"/>
</p:tagLst>
</file>

<file path=ppt/tags/tag4.xml><?xml version="1.0" encoding="utf-8"?>
<p:tagLst xmlns:a="http://schemas.openxmlformats.org/drawingml/2006/main" xmlns:r="http://schemas.openxmlformats.org/officeDocument/2006/relationships" xmlns:p="http://schemas.openxmlformats.org/presentationml/2006/main">
  <p:tag name="TIMING" val="|3.4|1.1|0.8|0.9|1|0.8|1.3|1.2|1|1.4|0.8|0.5|0.7|0.4|0.6|0.6|0.7"/>
</p:tagLst>
</file>

<file path=ppt/tags/tag5.xml><?xml version="1.0" encoding="utf-8"?>
<p:tagLst xmlns:a="http://schemas.openxmlformats.org/drawingml/2006/main" xmlns:r="http://schemas.openxmlformats.org/officeDocument/2006/relationships" xmlns:p="http://schemas.openxmlformats.org/presentationml/2006/main">
  <p:tag name="TIMING" val="|3.3|1.3|1.8|1.6|1.6|1.6|1.2"/>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heme/theme1.xml><?xml version="1.0" encoding="utf-8"?>
<a:theme xmlns:a="http://schemas.openxmlformats.org/drawingml/2006/main" name="Office Theme">
  <a:themeElements>
    <a:clrScheme name="自定义 353">
      <a:dk1>
        <a:sysClr val="windowText" lastClr="000000"/>
      </a:dk1>
      <a:lt1>
        <a:sysClr val="window" lastClr="FFFFFF"/>
      </a:lt1>
      <a:dk2>
        <a:srgbClr val="34833F"/>
      </a:dk2>
      <a:lt2>
        <a:srgbClr val="E7E6E6"/>
      </a:lt2>
      <a:accent1>
        <a:srgbClr val="34833F"/>
      </a:accent1>
      <a:accent2>
        <a:srgbClr val="D24977"/>
      </a:accent2>
      <a:accent3>
        <a:srgbClr val="34833F"/>
      </a:accent3>
      <a:accent4>
        <a:srgbClr val="D24977"/>
      </a:accent4>
      <a:accent5>
        <a:srgbClr val="34833F"/>
      </a:accent5>
      <a:accent6>
        <a:srgbClr val="D24977"/>
      </a:accent6>
      <a:hlink>
        <a:srgbClr val="34833F"/>
      </a:hlink>
      <a:folHlink>
        <a:srgbClr val="D24977"/>
      </a:folHlink>
    </a:clrScheme>
    <a:fontScheme name="Office 主题">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2975</Words>
  <Application>Microsoft Office PowerPoint</Application>
  <PresentationFormat>自定义</PresentationFormat>
  <Paragraphs>311</Paragraphs>
  <Slides>28</Slides>
  <Notes>28</Notes>
  <HiddenSlides>0</HiddenSlides>
  <MMClips>16</MMClips>
  <ScaleCrop>false</ScaleCrop>
  <HeadingPairs>
    <vt:vector size="6" baseType="variant">
      <vt:variant>
        <vt:lpstr>已用的字体</vt:lpstr>
      </vt:variant>
      <vt:variant>
        <vt:i4>14</vt:i4>
      </vt:variant>
      <vt:variant>
        <vt:lpstr>主题</vt:lpstr>
      </vt:variant>
      <vt:variant>
        <vt:i4>1</vt:i4>
      </vt:variant>
      <vt:variant>
        <vt:lpstr>幻灯片标题</vt:lpstr>
      </vt:variant>
      <vt:variant>
        <vt:i4>28</vt:i4>
      </vt:variant>
    </vt:vector>
  </HeadingPairs>
  <TitlesOfParts>
    <vt:vector size="43" baseType="lpstr">
      <vt:lpstr>Batang</vt:lpstr>
      <vt:lpstr>Gill Sans</vt:lpstr>
      <vt:lpstr>Helvetica Light</vt:lpstr>
      <vt:lpstr>Lato</vt:lpstr>
      <vt:lpstr>Lato Regular</vt:lpstr>
      <vt:lpstr>汉仪细等线</vt:lpstr>
      <vt:lpstr>黑体</vt:lpstr>
      <vt:lpstr>宋体</vt:lpstr>
      <vt:lpstr>微软雅黑</vt:lpstr>
      <vt:lpstr>微软雅黑 Light</vt:lpstr>
      <vt:lpstr>Arial</vt:lpstr>
      <vt:lpstr>Calibri</vt:lpstr>
      <vt:lpstr>Calibri Light</vt:lpstr>
      <vt:lpstr>Helvetica</vt:lpstr>
      <vt:lpstr>Office Them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http:/www.ypppt.com</cp:keywords>
  <cp:lastModifiedBy/>
  <cp:revision>2</cp:revision>
  <dcterms:created xsi:type="dcterms:W3CDTF">2017-05-21T03:30:00Z</dcterms:created>
  <dcterms:modified xsi:type="dcterms:W3CDTF">2021-01-05T12:15: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9022</vt:lpwstr>
  </property>
</Properties>
</file>